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 id="2147483672" r:id="rId6"/>
  </p:sldMasterIdLst>
  <p:notesMasterIdLst>
    <p:notesMasterId r:id="rId29"/>
  </p:notesMasterIdLst>
  <p:sldIdLst>
    <p:sldId id="375" r:id="rId7"/>
    <p:sldId id="2147375693" r:id="rId8"/>
    <p:sldId id="1563" r:id="rId9"/>
    <p:sldId id="2147375694" r:id="rId10"/>
    <p:sldId id="2147375696" r:id="rId11"/>
    <p:sldId id="2147375692" r:id="rId12"/>
    <p:sldId id="2147375695" r:id="rId13"/>
    <p:sldId id="2147375709" r:id="rId14"/>
    <p:sldId id="2147375697" r:id="rId15"/>
    <p:sldId id="2147375698" r:id="rId16"/>
    <p:sldId id="2147375710" r:id="rId17"/>
    <p:sldId id="2147375699" r:id="rId18"/>
    <p:sldId id="2147375700" r:id="rId19"/>
    <p:sldId id="2147375701" r:id="rId20"/>
    <p:sldId id="2147375704" r:id="rId21"/>
    <p:sldId id="2147375705" r:id="rId22"/>
    <p:sldId id="2147375708" r:id="rId23"/>
    <p:sldId id="2147375707" r:id="rId24"/>
    <p:sldId id="2147375706" r:id="rId25"/>
    <p:sldId id="629" r:id="rId26"/>
    <p:sldId id="2146847050" r:id="rId27"/>
    <p:sldId id="2147375703" r:id="rId28"/>
  </p:sldIdLst>
  <p:sldSz cx="9144000" cy="6858000" type="screen4x3"/>
  <p:notesSz cx="6797675" cy="9926638"/>
  <p:custDataLst>
    <p:tags r:id="rId30"/>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userDrawn="1">
          <p15:clr>
            <a:srgbClr val="A4A3A4"/>
          </p15:clr>
        </p15:guide>
        <p15:guide id="2" pos="5556" userDrawn="1">
          <p15:clr>
            <a:srgbClr val="A4A3A4"/>
          </p15:clr>
        </p15:guide>
        <p15:guide id="3" pos="204" userDrawn="1">
          <p15:clr>
            <a:srgbClr val="A4A3A4"/>
          </p15:clr>
        </p15:guide>
        <p15:guide id="4" orient="horz" pos="40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4BE565-5A42-D027-FA50-6878BA2CC226}" name="Cyprien DE CHAMBURE" initials="CDC" userId="S::cyprien.dechambure@sia-partners.com::954ca6a6-7c37-422b-ae6a-3f5a5fea4b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URMAUD Jean Yves" initials="BJY" lastIdx="40" clrIdx="0">
    <p:extLst>
      <p:ext uri="{19B8F6BF-5375-455C-9EA6-DF929625EA0E}">
        <p15:presenceInfo xmlns:p15="http://schemas.microsoft.com/office/powerpoint/2012/main" userId="S-1-5-21-4259057330-4288948267-3856653855-1147" providerId="AD"/>
      </p:ext>
    </p:extLst>
  </p:cmAuthor>
  <p:cmAuthor id="2" name="RTE" initials="RTE" lastIdx="2" clrIdx="1">
    <p:extLst>
      <p:ext uri="{19B8F6BF-5375-455C-9EA6-DF929625EA0E}">
        <p15:presenceInfo xmlns:p15="http://schemas.microsoft.com/office/powerpoint/2012/main" userId="RTE" providerId="None"/>
      </p:ext>
    </p:extLst>
  </p:cmAuthor>
  <p:cmAuthor id="3" name="Alexei Blokhine" initials="AB" lastIdx="16" clrIdx="2">
    <p:extLst>
      <p:ext uri="{19B8F6BF-5375-455C-9EA6-DF929625EA0E}">
        <p15:presenceInfo xmlns:p15="http://schemas.microsoft.com/office/powerpoint/2012/main" userId="S-1-5-21-1134531974-743595899-4145354257-2619" providerId="AD"/>
      </p:ext>
    </p:extLst>
  </p:cmAuthor>
  <p:cmAuthor id="4" name="Antoine de Veyrac" initials="AdV" lastIdx="2" clrIdx="3">
    <p:extLst>
      <p:ext uri="{19B8F6BF-5375-455C-9EA6-DF929625EA0E}">
        <p15:presenceInfo xmlns:p15="http://schemas.microsoft.com/office/powerpoint/2012/main" userId="ba8aa0bfaaaf33bc" providerId="Windows Live"/>
      </p:ext>
    </p:extLst>
  </p:cmAuthor>
  <p:cmAuthor id="5" name="Puchel Michal" initials="PM" lastIdx="14" clrIdx="4">
    <p:extLst>
      <p:ext uri="{19B8F6BF-5375-455C-9EA6-DF929625EA0E}">
        <p15:presenceInfo xmlns:p15="http://schemas.microsoft.com/office/powerpoint/2012/main" userId="S-1-5-21-2733292141-944319808-1953232315-15792" providerId="AD"/>
      </p:ext>
    </p:extLst>
  </p:cmAuthor>
  <p:cmAuthor id="6" name="andy spiceley" initials="as" lastIdx="2" clrIdx="5">
    <p:extLst>
      <p:ext uri="{19B8F6BF-5375-455C-9EA6-DF929625EA0E}">
        <p15:presenceInfo xmlns:p15="http://schemas.microsoft.com/office/powerpoint/2012/main" userId="e7f041fe6fcb0d54" providerId="Windows Live"/>
      </p:ext>
    </p:extLst>
  </p:cmAuthor>
  <p:cmAuthor id="7" name="Antoine de VEYRAC" initials="AdV" lastIdx="9" clrIdx="6">
    <p:extLst>
      <p:ext uri="{19B8F6BF-5375-455C-9EA6-DF929625EA0E}">
        <p15:presenceInfo xmlns:p15="http://schemas.microsoft.com/office/powerpoint/2012/main" userId="S-1-5-21-3010591805-147995467-422279899-7651" providerId="AD"/>
      </p:ext>
    </p:extLst>
  </p:cmAuthor>
  <p:cmAuthor id="8" name="Alexandra QUEIROLO" initials="AQ" lastIdx="36" clrIdx="7">
    <p:extLst>
      <p:ext uri="{19B8F6BF-5375-455C-9EA6-DF929625EA0E}">
        <p15:presenceInfo xmlns:p15="http://schemas.microsoft.com/office/powerpoint/2012/main" userId="S::alexandra.queirolo@siapartners0.onmicrosoft.com::aa5f229c-606e-4cab-81d6-1be9f1122b29" providerId="AD"/>
      </p:ext>
    </p:extLst>
  </p:cmAuthor>
  <p:cmAuthor id="9" name="Puchel Michal" initials="PM [2]" lastIdx="3" clrIdx="8">
    <p:extLst>
      <p:ext uri="{19B8F6BF-5375-455C-9EA6-DF929625EA0E}">
        <p15:presenceInfo xmlns:p15="http://schemas.microsoft.com/office/powerpoint/2012/main" userId="S::puchel@ceps.cz::2b7c6636-e114-477c-9401-884251d9967a" providerId="AD"/>
      </p:ext>
    </p:extLst>
  </p:cmAuthor>
  <p:cmAuthor id="10" name="Dębski Paweł" initials="DP" lastIdx="1" clrIdx="9">
    <p:extLst>
      <p:ext uri="{19B8F6BF-5375-455C-9EA6-DF929625EA0E}">
        <p15:presenceInfo xmlns:p15="http://schemas.microsoft.com/office/powerpoint/2012/main" userId="S::pawel.debski@pse.pl::1292435c-c3cc-4309-a322-6a00928c25f4" providerId="AD"/>
      </p:ext>
    </p:extLst>
  </p:cmAuthor>
  <p:cmAuthor id="11" name="Smolira Kamil" initials="SK" lastIdx="1" clrIdx="10">
    <p:extLst>
      <p:ext uri="{19B8F6BF-5375-455C-9EA6-DF929625EA0E}">
        <p15:presenceInfo xmlns:p15="http://schemas.microsoft.com/office/powerpoint/2012/main" userId="S-1-5-21-2361265742-293840967-3830639147-8579" providerId="AD"/>
      </p:ext>
    </p:extLst>
  </p:cmAuthor>
  <p:cmAuthor id="12" name="BRUN Vanessa" initials="BV" lastIdx="3" clrIdx="11">
    <p:extLst>
      <p:ext uri="{19B8F6BF-5375-455C-9EA6-DF929625EA0E}">
        <p15:presenceInfo xmlns:p15="http://schemas.microsoft.com/office/powerpoint/2012/main" userId="S-1-5-21-3617687895-3840901543-188507473-160497" providerId="AD"/>
      </p:ext>
    </p:extLst>
  </p:cmAuthor>
  <p:cmAuthor id="13" name="Elordi Irene 100624" initials="E1" lastIdx="1" clrIdx="12">
    <p:extLst>
      <p:ext uri="{19B8F6BF-5375-455C-9EA6-DF929625EA0E}">
        <p15:presenceInfo xmlns:p15="http://schemas.microsoft.com/office/powerpoint/2012/main" userId="S-1-5-21-2733292141-944319808-1953232315-39135" providerId="AD"/>
      </p:ext>
    </p:extLst>
  </p:cmAuthor>
  <p:cmAuthor id="14" name="Deveyra Antoine 100477" initials="D1" lastIdx="3" clrIdx="13">
    <p:extLst>
      <p:ext uri="{19B8F6BF-5375-455C-9EA6-DF929625EA0E}">
        <p15:presenceInfo xmlns:p15="http://schemas.microsoft.com/office/powerpoint/2012/main" userId="S-1-5-21-2733292141-944319808-1953232315-389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F2F2F2"/>
    <a:srgbClr val="C00000"/>
    <a:srgbClr val="FFFFFF"/>
    <a:srgbClr val="FFC7CE"/>
    <a:srgbClr val="DCE6F2"/>
    <a:srgbClr val="F9F9F9"/>
    <a:srgbClr val="DDE9F7"/>
    <a:srgbClr val="F71DA9"/>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730139-F878-4112-BA36-D2E64262AAE3}" v="55" dt="2023-05-29T15:45:18.57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337" autoAdjust="0"/>
  </p:normalViewPr>
  <p:slideViewPr>
    <p:cSldViewPr>
      <p:cViewPr varScale="1">
        <p:scale>
          <a:sx n="107" d="100"/>
          <a:sy n="107" d="100"/>
        </p:scale>
        <p:origin x="1944" y="114"/>
      </p:cViewPr>
      <p:guideLst>
        <p:guide orient="horz" pos="618"/>
        <p:guide pos="5556"/>
        <p:guide pos="204"/>
        <p:guide orient="horz" pos="4020"/>
      </p:guideLst>
    </p:cSldViewPr>
  </p:slid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yprien DE CHAMBURE" userId="954ca6a6-7c37-422b-ae6a-3f5a5fea4ba3" providerId="ADAL" clId="{A16AEA09-13DC-461C-ABD4-3B602A30B7CA}"/>
    <pc:docChg chg="undo custSel addSld delSld modSld">
      <pc:chgData name="Cyprien DE CHAMBURE" userId="954ca6a6-7c37-422b-ae6a-3f5a5fea4ba3" providerId="ADAL" clId="{A16AEA09-13DC-461C-ABD4-3B602A30B7CA}" dt="2023-04-11T14:26:39.168" v="6420" actId="20577"/>
      <pc:docMkLst>
        <pc:docMk/>
      </pc:docMkLst>
      <pc:sldChg chg="addSp delSp modSp mod">
        <pc:chgData name="Cyprien DE CHAMBURE" userId="954ca6a6-7c37-422b-ae6a-3f5a5fea4ba3" providerId="ADAL" clId="{A16AEA09-13DC-461C-ABD4-3B602A30B7CA}" dt="2023-04-06T08:15:38.697" v="32" actId="1076"/>
        <pc:sldMkLst>
          <pc:docMk/>
          <pc:sldMk cId="3663286578" sldId="375"/>
        </pc:sldMkLst>
        <pc:spChg chg="mod">
          <ac:chgData name="Cyprien DE CHAMBURE" userId="954ca6a6-7c37-422b-ae6a-3f5a5fea4ba3" providerId="ADAL" clId="{A16AEA09-13DC-461C-ABD4-3B602A30B7CA}" dt="2023-04-06T08:14:49.874" v="24" actId="6549"/>
          <ac:spMkLst>
            <pc:docMk/>
            <pc:sldMk cId="3663286578" sldId="375"/>
            <ac:spMk id="5" creationId="{00000000-0000-0000-0000-000000000000}"/>
          </ac:spMkLst>
        </pc:spChg>
        <pc:picChg chg="del">
          <ac:chgData name="Cyprien DE CHAMBURE" userId="954ca6a6-7c37-422b-ae6a-3f5a5fea4ba3" providerId="ADAL" clId="{A16AEA09-13DC-461C-ABD4-3B602A30B7CA}" dt="2023-04-06T08:15:23.701" v="27" actId="478"/>
          <ac:picMkLst>
            <pc:docMk/>
            <pc:sldMk cId="3663286578" sldId="375"/>
            <ac:picMk id="6" creationId="{00000000-0000-0000-0000-000000000000}"/>
          </ac:picMkLst>
        </pc:picChg>
        <pc:picChg chg="mod">
          <ac:chgData name="Cyprien DE CHAMBURE" userId="954ca6a6-7c37-422b-ae6a-3f5a5fea4ba3" providerId="ADAL" clId="{A16AEA09-13DC-461C-ABD4-3B602A30B7CA}" dt="2023-04-06T08:15:22.509" v="26" actId="14100"/>
          <ac:picMkLst>
            <pc:docMk/>
            <pc:sldMk cId="3663286578" sldId="375"/>
            <ac:picMk id="14" creationId="{01EDCB41-C90E-45ED-9EC1-6ED588B31459}"/>
          </ac:picMkLst>
        </pc:picChg>
        <pc:picChg chg="mod">
          <ac:chgData name="Cyprien DE CHAMBURE" userId="954ca6a6-7c37-422b-ae6a-3f5a5fea4ba3" providerId="ADAL" clId="{A16AEA09-13DC-461C-ABD4-3B602A30B7CA}" dt="2023-04-06T08:15:35.255" v="31" actId="1076"/>
          <ac:picMkLst>
            <pc:docMk/>
            <pc:sldMk cId="3663286578" sldId="375"/>
            <ac:picMk id="18" creationId="{4E657C7E-DD74-4BE5-B3F1-555FB978A87A}"/>
          </ac:picMkLst>
        </pc:picChg>
        <pc:picChg chg="add mod">
          <ac:chgData name="Cyprien DE CHAMBURE" userId="954ca6a6-7c37-422b-ae6a-3f5a5fea4ba3" providerId="ADAL" clId="{A16AEA09-13DC-461C-ABD4-3B602A30B7CA}" dt="2023-04-06T08:15:38.697" v="32" actId="1076"/>
          <ac:picMkLst>
            <pc:docMk/>
            <pc:sldMk cId="3663286578" sldId="375"/>
            <ac:picMk id="1026" creationId="{4C0A34EB-1481-6275-761D-116D171F7024}"/>
          </ac:picMkLst>
        </pc:picChg>
      </pc:sldChg>
      <pc:sldChg chg="addSp delSp modSp mod">
        <pc:chgData name="Cyprien DE CHAMBURE" userId="954ca6a6-7c37-422b-ae6a-3f5a5fea4ba3" providerId="ADAL" clId="{A16AEA09-13DC-461C-ABD4-3B602A30B7CA}" dt="2023-04-06T13:17:23.878" v="4730" actId="20577"/>
        <pc:sldMkLst>
          <pc:docMk/>
          <pc:sldMk cId="1238462846" sldId="1484"/>
        </pc:sldMkLst>
        <pc:spChg chg="mod">
          <ac:chgData name="Cyprien DE CHAMBURE" userId="954ca6a6-7c37-422b-ae6a-3f5a5fea4ba3" providerId="ADAL" clId="{A16AEA09-13DC-461C-ABD4-3B602A30B7CA}" dt="2023-04-06T10:09:05.414" v="3271" actId="20577"/>
          <ac:spMkLst>
            <pc:docMk/>
            <pc:sldMk cId="1238462846" sldId="1484"/>
            <ac:spMk id="2" creationId="{03E910DD-E9FD-4C3F-9BED-560FC5A688DB}"/>
          </ac:spMkLst>
        </pc:spChg>
        <pc:spChg chg="add mod">
          <ac:chgData name="Cyprien DE CHAMBURE" userId="954ca6a6-7c37-422b-ae6a-3f5a5fea4ba3" providerId="ADAL" clId="{A16AEA09-13DC-461C-ABD4-3B602A30B7CA}" dt="2023-04-06T13:12:26.722" v="4719" actId="20577"/>
          <ac:spMkLst>
            <pc:docMk/>
            <pc:sldMk cId="1238462846" sldId="1484"/>
            <ac:spMk id="4" creationId="{CE45EE54-FDA9-84CB-217F-B09183157E88}"/>
          </ac:spMkLst>
        </pc:spChg>
        <pc:graphicFrameChg chg="add mod modGraphic">
          <ac:chgData name="Cyprien DE CHAMBURE" userId="954ca6a6-7c37-422b-ae6a-3f5a5fea4ba3" providerId="ADAL" clId="{A16AEA09-13DC-461C-ABD4-3B602A30B7CA}" dt="2023-04-06T13:17:23.878" v="4730" actId="20577"/>
          <ac:graphicFrameMkLst>
            <pc:docMk/>
            <pc:sldMk cId="1238462846" sldId="1484"/>
            <ac:graphicFrameMk id="3" creationId="{5F08AF27-1CB0-FDA9-1280-9C0D68DC2885}"/>
          </ac:graphicFrameMkLst>
        </pc:graphicFrameChg>
        <pc:graphicFrameChg chg="del">
          <ac:chgData name="Cyprien DE CHAMBURE" userId="954ca6a6-7c37-422b-ae6a-3f5a5fea4ba3" providerId="ADAL" clId="{A16AEA09-13DC-461C-ABD4-3B602A30B7CA}" dt="2023-04-06T10:09:34.160" v="3275" actId="478"/>
          <ac:graphicFrameMkLst>
            <pc:docMk/>
            <pc:sldMk cId="1238462846" sldId="1484"/>
            <ac:graphicFrameMk id="7" creationId="{07863B29-CBEE-47BE-8E20-6E27F1796450}"/>
          </ac:graphicFrameMkLst>
        </pc:graphicFrameChg>
        <pc:picChg chg="add del mod">
          <ac:chgData name="Cyprien DE CHAMBURE" userId="954ca6a6-7c37-422b-ae6a-3f5a5fea4ba3" providerId="ADAL" clId="{A16AEA09-13DC-461C-ABD4-3B602A30B7CA}" dt="2023-04-06T13:13:04.328" v="4725" actId="21"/>
          <ac:picMkLst>
            <pc:docMk/>
            <pc:sldMk cId="1238462846" sldId="1484"/>
            <ac:picMk id="8" creationId="{E4C118FF-7DD8-13CF-4932-95DFAE601B15}"/>
          </ac:picMkLst>
        </pc:picChg>
      </pc:sldChg>
      <pc:sldChg chg="modSp mod">
        <pc:chgData name="Cyprien DE CHAMBURE" userId="954ca6a6-7c37-422b-ae6a-3f5a5fea4ba3" providerId="ADAL" clId="{A16AEA09-13DC-461C-ABD4-3B602A30B7CA}" dt="2023-04-06T10:08:55.665" v="3267" actId="20577"/>
        <pc:sldMkLst>
          <pc:docMk/>
          <pc:sldMk cId="3674650708" sldId="1553"/>
        </pc:sldMkLst>
        <pc:spChg chg="mod">
          <ac:chgData name="Cyprien DE CHAMBURE" userId="954ca6a6-7c37-422b-ae6a-3f5a5fea4ba3" providerId="ADAL" clId="{A16AEA09-13DC-461C-ABD4-3B602A30B7CA}" dt="2023-04-06T10:08:55.665" v="3267" actId="20577"/>
          <ac:spMkLst>
            <pc:docMk/>
            <pc:sldMk cId="3674650708" sldId="1553"/>
            <ac:spMk id="4" creationId="{00000000-0000-0000-0000-000000000000}"/>
          </ac:spMkLst>
        </pc:spChg>
      </pc:sldChg>
      <pc:sldChg chg="modSp mod">
        <pc:chgData name="Cyprien DE CHAMBURE" userId="954ca6a6-7c37-422b-ae6a-3f5a5fea4ba3" providerId="ADAL" clId="{A16AEA09-13DC-461C-ABD4-3B602A30B7CA}" dt="2023-04-06T12:42:51.619" v="3451" actId="20577"/>
        <pc:sldMkLst>
          <pc:docMk/>
          <pc:sldMk cId="1503955307" sldId="1592"/>
        </pc:sldMkLst>
        <pc:graphicFrameChg chg="mod modGraphic">
          <ac:chgData name="Cyprien DE CHAMBURE" userId="954ca6a6-7c37-422b-ae6a-3f5a5fea4ba3" providerId="ADAL" clId="{A16AEA09-13DC-461C-ABD4-3B602A30B7CA}" dt="2023-04-06T12:42:51.619" v="3451" actId="20577"/>
          <ac:graphicFrameMkLst>
            <pc:docMk/>
            <pc:sldMk cId="1503955307" sldId="1592"/>
            <ac:graphicFrameMk id="9" creationId="{CDC9FDFF-A554-4A17-A430-F2579BE1A7C8}"/>
          </ac:graphicFrameMkLst>
        </pc:graphicFrameChg>
      </pc:sldChg>
      <pc:sldChg chg="modSp mod">
        <pc:chgData name="Cyprien DE CHAMBURE" userId="954ca6a6-7c37-422b-ae6a-3f5a5fea4ba3" providerId="ADAL" clId="{A16AEA09-13DC-461C-ABD4-3B602A30B7CA}" dt="2023-04-06T08:27:03.620" v="303" actId="313"/>
        <pc:sldMkLst>
          <pc:docMk/>
          <pc:sldMk cId="2714787426" sldId="1624"/>
        </pc:sldMkLst>
        <pc:spChg chg="mod">
          <ac:chgData name="Cyprien DE CHAMBURE" userId="954ca6a6-7c37-422b-ae6a-3f5a5fea4ba3" providerId="ADAL" clId="{A16AEA09-13DC-461C-ABD4-3B602A30B7CA}" dt="2023-04-06T08:27:03.620" v="303" actId="313"/>
          <ac:spMkLst>
            <pc:docMk/>
            <pc:sldMk cId="2714787426" sldId="1624"/>
            <ac:spMk id="10" creationId="{87DE51B1-5052-4085-BCC6-D3474C0C80CF}"/>
          </ac:spMkLst>
        </pc:spChg>
      </pc:sldChg>
      <pc:sldChg chg="addSp delSp modSp mod">
        <pc:chgData name="Cyprien DE CHAMBURE" userId="954ca6a6-7c37-422b-ae6a-3f5a5fea4ba3" providerId="ADAL" clId="{A16AEA09-13DC-461C-ABD4-3B602A30B7CA}" dt="2023-04-06T13:48:21.280" v="5996" actId="20577"/>
        <pc:sldMkLst>
          <pc:docMk/>
          <pc:sldMk cId="573581300" sldId="1627"/>
        </pc:sldMkLst>
        <pc:spChg chg="add del mod">
          <ac:chgData name="Cyprien DE CHAMBURE" userId="954ca6a6-7c37-422b-ae6a-3f5a5fea4ba3" providerId="ADAL" clId="{A16AEA09-13DC-461C-ABD4-3B602A30B7CA}" dt="2023-04-06T13:39:00.112" v="5169" actId="478"/>
          <ac:spMkLst>
            <pc:docMk/>
            <pc:sldMk cId="573581300" sldId="1627"/>
            <ac:spMk id="3" creationId="{8AB74DB2-2D5F-053F-4041-ED2612AC8F43}"/>
          </ac:spMkLst>
        </pc:spChg>
        <pc:spChg chg="mod">
          <ac:chgData name="Cyprien DE CHAMBURE" userId="954ca6a6-7c37-422b-ae6a-3f5a5fea4ba3" providerId="ADAL" clId="{A16AEA09-13DC-461C-ABD4-3B602A30B7CA}" dt="2023-04-06T13:48:21.280" v="5996" actId="20577"/>
          <ac:spMkLst>
            <pc:docMk/>
            <pc:sldMk cId="573581300" sldId="1627"/>
            <ac:spMk id="10" creationId="{6CCD590B-B70F-4EE7-BE01-5D30F8226878}"/>
          </ac:spMkLst>
        </pc:spChg>
        <pc:spChg chg="mod">
          <ac:chgData name="Cyprien DE CHAMBURE" userId="954ca6a6-7c37-422b-ae6a-3f5a5fea4ba3" providerId="ADAL" clId="{A16AEA09-13DC-461C-ABD4-3B602A30B7CA}" dt="2023-04-06T13:47:58.598" v="5970" actId="20577"/>
          <ac:spMkLst>
            <pc:docMk/>
            <pc:sldMk cId="573581300" sldId="1627"/>
            <ac:spMk id="16" creationId="{13F21443-9B2D-4729-A0F2-4E09892C9114}"/>
          </ac:spMkLst>
        </pc:spChg>
      </pc:sldChg>
      <pc:sldChg chg="modSp mod">
        <pc:chgData name="Cyprien DE CHAMBURE" userId="954ca6a6-7c37-422b-ae6a-3f5a5fea4ba3" providerId="ADAL" clId="{A16AEA09-13DC-461C-ABD4-3B602A30B7CA}" dt="2023-04-06T08:23:23.027" v="135" actId="207"/>
        <pc:sldMkLst>
          <pc:docMk/>
          <pc:sldMk cId="3015061511" sldId="1628"/>
        </pc:sldMkLst>
        <pc:graphicFrameChg chg="mod modGraphic">
          <ac:chgData name="Cyprien DE CHAMBURE" userId="954ca6a6-7c37-422b-ae6a-3f5a5fea4ba3" providerId="ADAL" clId="{A16AEA09-13DC-461C-ABD4-3B602A30B7CA}" dt="2023-04-06T08:23:23.027" v="135" actId="207"/>
          <ac:graphicFrameMkLst>
            <pc:docMk/>
            <pc:sldMk cId="3015061511" sldId="1628"/>
            <ac:graphicFrameMk id="3" creationId="{475DC004-A18E-40A2-91BD-0F0AA309CC83}"/>
          </ac:graphicFrameMkLst>
        </pc:graphicFrameChg>
      </pc:sldChg>
      <pc:sldChg chg="modSp mod">
        <pc:chgData name="Cyprien DE CHAMBURE" userId="954ca6a6-7c37-422b-ae6a-3f5a5fea4ba3" providerId="ADAL" clId="{A16AEA09-13DC-461C-ABD4-3B602A30B7CA}" dt="2023-04-06T10:07:07.640" v="3131" actId="20577"/>
        <pc:sldMkLst>
          <pc:docMk/>
          <pc:sldMk cId="4086594777" sldId="2146847021"/>
        </pc:sldMkLst>
        <pc:spChg chg="mod">
          <ac:chgData name="Cyprien DE CHAMBURE" userId="954ca6a6-7c37-422b-ae6a-3f5a5fea4ba3" providerId="ADAL" clId="{A16AEA09-13DC-461C-ABD4-3B602A30B7CA}" dt="2023-04-06T10:07:07.640" v="3131" actId="20577"/>
          <ac:spMkLst>
            <pc:docMk/>
            <pc:sldMk cId="4086594777" sldId="2146847021"/>
            <ac:spMk id="9" creationId="{AF0B4955-EBD1-469E-B6CB-0E7DFC9CA2CD}"/>
          </ac:spMkLst>
        </pc:spChg>
      </pc:sldChg>
      <pc:sldChg chg="modSp mod">
        <pc:chgData name="Cyprien DE CHAMBURE" userId="954ca6a6-7c37-422b-ae6a-3f5a5fea4ba3" providerId="ADAL" clId="{A16AEA09-13DC-461C-ABD4-3B602A30B7CA}" dt="2023-04-06T13:30:53.907" v="4834" actId="20577"/>
        <pc:sldMkLst>
          <pc:docMk/>
          <pc:sldMk cId="4208128481" sldId="2146847028"/>
        </pc:sldMkLst>
        <pc:spChg chg="mod">
          <ac:chgData name="Cyprien DE CHAMBURE" userId="954ca6a6-7c37-422b-ae6a-3f5a5fea4ba3" providerId="ADAL" clId="{A16AEA09-13DC-461C-ABD4-3B602A30B7CA}" dt="2023-04-06T10:09:02.510" v="3269" actId="20577"/>
          <ac:spMkLst>
            <pc:docMk/>
            <pc:sldMk cId="4208128481" sldId="2146847028"/>
            <ac:spMk id="2" creationId="{03E910DD-E9FD-4C3F-9BED-560FC5A688DB}"/>
          </ac:spMkLst>
        </pc:spChg>
        <pc:spChg chg="mod">
          <ac:chgData name="Cyprien DE CHAMBURE" userId="954ca6a6-7c37-422b-ae6a-3f5a5fea4ba3" providerId="ADAL" clId="{A16AEA09-13DC-461C-ABD4-3B602A30B7CA}" dt="2023-04-06T13:30:53.907" v="4834" actId="20577"/>
          <ac:spMkLst>
            <pc:docMk/>
            <pc:sldMk cId="4208128481" sldId="2146847028"/>
            <ac:spMk id="7" creationId="{5A6E50BE-9601-8E41-1683-EA26EA3EBBD0}"/>
          </ac:spMkLst>
        </pc:spChg>
      </pc:sldChg>
      <pc:sldChg chg="addSp delSp modSp mod">
        <pc:chgData name="Cyprien DE CHAMBURE" userId="954ca6a6-7c37-422b-ae6a-3f5a5fea4ba3" providerId="ADAL" clId="{A16AEA09-13DC-461C-ABD4-3B602A30B7CA}" dt="2023-04-06T13:35:16.583" v="5168" actId="20577"/>
        <pc:sldMkLst>
          <pc:docMk/>
          <pc:sldMk cId="3689621063" sldId="2146847033"/>
        </pc:sldMkLst>
        <pc:spChg chg="add mod">
          <ac:chgData name="Cyprien DE CHAMBURE" userId="954ca6a6-7c37-422b-ae6a-3f5a5fea4ba3" providerId="ADAL" clId="{A16AEA09-13DC-461C-ABD4-3B602A30B7CA}" dt="2023-04-06T13:35:16.583" v="5168" actId="20577"/>
          <ac:spMkLst>
            <pc:docMk/>
            <pc:sldMk cId="3689621063" sldId="2146847033"/>
            <ac:spMk id="3" creationId="{E30371AE-BD9D-BF9E-7954-51FB05FE64D9}"/>
          </ac:spMkLst>
        </pc:spChg>
        <pc:spChg chg="del mod">
          <ac:chgData name="Cyprien DE CHAMBURE" userId="954ca6a6-7c37-422b-ae6a-3f5a5fea4ba3" providerId="ADAL" clId="{A16AEA09-13DC-461C-ABD4-3B602A30B7CA}" dt="2023-04-06T13:33:44.660" v="4835" actId="478"/>
          <ac:spMkLst>
            <pc:docMk/>
            <pc:sldMk cId="3689621063" sldId="2146847033"/>
            <ac:spMk id="4" creationId="{0BE1CC12-4C4B-6CDC-F0D0-3141C23DE212}"/>
          </ac:spMkLst>
        </pc:spChg>
        <pc:spChg chg="del mod">
          <ac:chgData name="Cyprien DE CHAMBURE" userId="954ca6a6-7c37-422b-ae6a-3f5a5fea4ba3" providerId="ADAL" clId="{A16AEA09-13DC-461C-ABD4-3B602A30B7CA}" dt="2023-04-06T09:55:38.257" v="2325" actId="478"/>
          <ac:spMkLst>
            <pc:docMk/>
            <pc:sldMk cId="3689621063" sldId="2146847033"/>
            <ac:spMk id="6" creationId="{9DEC73FC-3FC3-008C-6424-4EDB83D16E16}"/>
          </ac:spMkLst>
        </pc:spChg>
      </pc:sldChg>
      <pc:sldChg chg="addSp modSp mod">
        <pc:chgData name="Cyprien DE CHAMBURE" userId="954ca6a6-7c37-422b-ae6a-3f5a5fea4ba3" providerId="ADAL" clId="{A16AEA09-13DC-461C-ABD4-3B602A30B7CA}" dt="2023-04-06T09:59:17.019" v="2503" actId="1038"/>
        <pc:sldMkLst>
          <pc:docMk/>
          <pc:sldMk cId="1222101992" sldId="2146847036"/>
        </pc:sldMkLst>
        <pc:spChg chg="mod">
          <ac:chgData name="Cyprien DE CHAMBURE" userId="954ca6a6-7c37-422b-ae6a-3f5a5fea4ba3" providerId="ADAL" clId="{A16AEA09-13DC-461C-ABD4-3B602A30B7CA}" dt="2023-04-06T09:57:51.730" v="2447" actId="1038"/>
          <ac:spMkLst>
            <pc:docMk/>
            <pc:sldMk cId="1222101992" sldId="2146847036"/>
            <ac:spMk id="12" creationId="{13C4DB73-5541-515B-3A66-315EB0C15C5B}"/>
          </ac:spMkLst>
        </pc:spChg>
        <pc:spChg chg="mod">
          <ac:chgData name="Cyprien DE CHAMBURE" userId="954ca6a6-7c37-422b-ae6a-3f5a5fea4ba3" providerId="ADAL" clId="{A16AEA09-13DC-461C-ABD4-3B602A30B7CA}" dt="2023-04-06T09:57:51.730" v="2447" actId="1038"/>
          <ac:spMkLst>
            <pc:docMk/>
            <pc:sldMk cId="1222101992" sldId="2146847036"/>
            <ac:spMk id="13" creationId="{C6BB8DEC-DF71-31CD-2990-402963A84FBD}"/>
          </ac:spMkLst>
        </pc:spChg>
        <pc:spChg chg="add mod">
          <ac:chgData name="Cyprien DE CHAMBURE" userId="954ca6a6-7c37-422b-ae6a-3f5a5fea4ba3" providerId="ADAL" clId="{A16AEA09-13DC-461C-ABD4-3B602A30B7CA}" dt="2023-04-06T09:58:56.872" v="2484" actId="20577"/>
          <ac:spMkLst>
            <pc:docMk/>
            <pc:sldMk cId="1222101992" sldId="2146847036"/>
            <ac:spMk id="26" creationId="{2B035482-51B3-7D7D-BEAF-7DFD9F5199B8}"/>
          </ac:spMkLst>
        </pc:spChg>
        <pc:spChg chg="mod">
          <ac:chgData name="Cyprien DE CHAMBURE" userId="954ca6a6-7c37-422b-ae6a-3f5a5fea4ba3" providerId="ADAL" clId="{A16AEA09-13DC-461C-ABD4-3B602A30B7CA}" dt="2023-04-06T09:59:10.595" v="2487" actId="1038"/>
          <ac:spMkLst>
            <pc:docMk/>
            <pc:sldMk cId="1222101992" sldId="2146847036"/>
            <ac:spMk id="34" creationId="{5D1A8EA2-AF9D-B75A-874C-F8913F8B4BA2}"/>
          </ac:spMkLst>
        </pc:spChg>
        <pc:spChg chg="mod">
          <ac:chgData name="Cyprien DE CHAMBURE" userId="954ca6a6-7c37-422b-ae6a-3f5a5fea4ba3" providerId="ADAL" clId="{A16AEA09-13DC-461C-ABD4-3B602A30B7CA}" dt="2023-04-06T09:58:09.848" v="2448" actId="14100"/>
          <ac:spMkLst>
            <pc:docMk/>
            <pc:sldMk cId="1222101992" sldId="2146847036"/>
            <ac:spMk id="38" creationId="{0619E68E-EB29-C3B2-0FAC-97E1EA7BCA33}"/>
          </ac:spMkLst>
        </pc:spChg>
        <pc:spChg chg="mod">
          <ac:chgData name="Cyprien DE CHAMBURE" userId="954ca6a6-7c37-422b-ae6a-3f5a5fea4ba3" providerId="ADAL" clId="{A16AEA09-13DC-461C-ABD4-3B602A30B7CA}" dt="2023-04-06T09:59:17.019" v="2503" actId="1038"/>
          <ac:spMkLst>
            <pc:docMk/>
            <pc:sldMk cId="1222101992" sldId="2146847036"/>
            <ac:spMk id="40" creationId="{6444DF25-FA68-083F-D206-C03EC47BF8FB}"/>
          </ac:spMkLst>
        </pc:spChg>
        <pc:cxnChg chg="mod">
          <ac:chgData name="Cyprien DE CHAMBURE" userId="954ca6a6-7c37-422b-ae6a-3f5a5fea4ba3" providerId="ADAL" clId="{A16AEA09-13DC-461C-ABD4-3B602A30B7CA}" dt="2023-04-06T09:57:46.368" v="2443" actId="1038"/>
          <ac:cxnSpMkLst>
            <pc:docMk/>
            <pc:sldMk cId="1222101992" sldId="2146847036"/>
            <ac:cxnSpMk id="14" creationId="{DAC82A32-1F44-5C3B-7327-973E8565E4A9}"/>
          </ac:cxnSpMkLst>
        </pc:cxnChg>
      </pc:sldChg>
      <pc:sldChg chg="del">
        <pc:chgData name="Cyprien DE CHAMBURE" userId="954ca6a6-7c37-422b-ae6a-3f5a5fea4ba3" providerId="ADAL" clId="{A16AEA09-13DC-461C-ABD4-3B602A30B7CA}" dt="2023-04-06T10:02:06.071" v="2691" actId="47"/>
        <pc:sldMkLst>
          <pc:docMk/>
          <pc:sldMk cId="1803395661" sldId="2146847040"/>
        </pc:sldMkLst>
      </pc:sldChg>
      <pc:sldChg chg="modSp mod">
        <pc:chgData name="Cyprien DE CHAMBURE" userId="954ca6a6-7c37-422b-ae6a-3f5a5fea4ba3" providerId="ADAL" clId="{A16AEA09-13DC-461C-ABD4-3B602A30B7CA}" dt="2023-04-07T14:23:57.727" v="6375" actId="20577"/>
        <pc:sldMkLst>
          <pc:docMk/>
          <pc:sldMk cId="527443829" sldId="2146847051"/>
        </pc:sldMkLst>
        <pc:spChg chg="mod">
          <ac:chgData name="Cyprien DE CHAMBURE" userId="954ca6a6-7c37-422b-ae6a-3f5a5fea4ba3" providerId="ADAL" clId="{A16AEA09-13DC-461C-ABD4-3B602A30B7CA}" dt="2023-04-07T14:23:57.727" v="6375" actId="20577"/>
          <ac:spMkLst>
            <pc:docMk/>
            <pc:sldMk cId="527443829" sldId="2146847051"/>
            <ac:spMk id="10" creationId="{87DE51B1-5052-4085-BCC6-D3474C0C80CF}"/>
          </ac:spMkLst>
        </pc:spChg>
      </pc:sldChg>
      <pc:sldChg chg="delSp modSp mod">
        <pc:chgData name="Cyprien DE CHAMBURE" userId="954ca6a6-7c37-422b-ae6a-3f5a5fea4ba3" providerId="ADAL" clId="{A16AEA09-13DC-461C-ABD4-3B602A30B7CA}" dt="2023-04-06T13:21:12.554" v="4732" actId="1036"/>
        <pc:sldMkLst>
          <pc:docMk/>
          <pc:sldMk cId="2270800957" sldId="2146847053"/>
        </pc:sldMkLst>
        <pc:spChg chg="mod">
          <ac:chgData name="Cyprien DE CHAMBURE" userId="954ca6a6-7c37-422b-ae6a-3f5a5fea4ba3" providerId="ADAL" clId="{A16AEA09-13DC-461C-ABD4-3B602A30B7CA}" dt="2023-04-06T13:21:12.554" v="4732" actId="1036"/>
          <ac:spMkLst>
            <pc:docMk/>
            <pc:sldMk cId="2270800957" sldId="2146847053"/>
            <ac:spMk id="4" creationId="{EC1BF19C-B97B-B720-2AAD-78E83A462F2A}"/>
          </ac:spMkLst>
        </pc:spChg>
        <pc:spChg chg="del">
          <ac:chgData name="Cyprien DE CHAMBURE" userId="954ca6a6-7c37-422b-ae6a-3f5a5fea4ba3" providerId="ADAL" clId="{A16AEA09-13DC-461C-ABD4-3B602A30B7CA}" dt="2023-04-06T09:57:16.157" v="2438" actId="478"/>
          <ac:spMkLst>
            <pc:docMk/>
            <pc:sldMk cId="2270800957" sldId="2146847053"/>
            <ac:spMk id="6" creationId="{C2F6BEAF-9C8F-AB61-1F18-73E388200B02}"/>
          </ac:spMkLst>
        </pc:spChg>
      </pc:sldChg>
      <pc:sldChg chg="modSp mod">
        <pc:chgData name="Cyprien DE CHAMBURE" userId="954ca6a6-7c37-422b-ae6a-3f5a5fea4ba3" providerId="ADAL" clId="{A16AEA09-13DC-461C-ABD4-3B602A30B7CA}" dt="2023-04-06T09:54:25.658" v="2303" actId="20577"/>
        <pc:sldMkLst>
          <pc:docMk/>
          <pc:sldMk cId="4246732626" sldId="2146847054"/>
        </pc:sldMkLst>
        <pc:spChg chg="mod">
          <ac:chgData name="Cyprien DE CHAMBURE" userId="954ca6a6-7c37-422b-ae6a-3f5a5fea4ba3" providerId="ADAL" clId="{A16AEA09-13DC-461C-ABD4-3B602A30B7CA}" dt="2023-04-06T09:54:25.658" v="2303" actId="20577"/>
          <ac:spMkLst>
            <pc:docMk/>
            <pc:sldMk cId="4246732626" sldId="2146847054"/>
            <ac:spMk id="3" creationId="{DE2435D4-B6C5-DB11-0FF5-5620A3B371E1}"/>
          </ac:spMkLst>
        </pc:spChg>
      </pc:sldChg>
      <pc:sldChg chg="delSp modSp mod">
        <pc:chgData name="Cyprien DE CHAMBURE" userId="954ca6a6-7c37-422b-ae6a-3f5a5fea4ba3" providerId="ADAL" clId="{A16AEA09-13DC-461C-ABD4-3B602A30B7CA}" dt="2023-04-06T10:00:16.464" v="2649" actId="20577"/>
        <pc:sldMkLst>
          <pc:docMk/>
          <pc:sldMk cId="753387726" sldId="2147375666"/>
        </pc:sldMkLst>
        <pc:spChg chg="mod">
          <ac:chgData name="Cyprien DE CHAMBURE" userId="954ca6a6-7c37-422b-ae6a-3f5a5fea4ba3" providerId="ADAL" clId="{A16AEA09-13DC-461C-ABD4-3B602A30B7CA}" dt="2023-04-06T10:00:16.464" v="2649" actId="20577"/>
          <ac:spMkLst>
            <pc:docMk/>
            <pc:sldMk cId="753387726" sldId="2147375666"/>
            <ac:spMk id="3" creationId="{9AD034A3-FB05-7402-B48D-C23F41CD87D9}"/>
          </ac:spMkLst>
        </pc:spChg>
        <pc:spChg chg="del">
          <ac:chgData name="Cyprien DE CHAMBURE" userId="954ca6a6-7c37-422b-ae6a-3f5a5fea4ba3" providerId="ADAL" clId="{A16AEA09-13DC-461C-ABD4-3B602A30B7CA}" dt="2023-04-06T09:59:47.955" v="2522" actId="478"/>
          <ac:spMkLst>
            <pc:docMk/>
            <pc:sldMk cId="753387726" sldId="2147375666"/>
            <ac:spMk id="4" creationId="{E46A566C-6534-A19C-1C31-AC44708D248D}"/>
          </ac:spMkLst>
        </pc:spChg>
      </pc:sldChg>
      <pc:sldChg chg="del">
        <pc:chgData name="Cyprien DE CHAMBURE" userId="954ca6a6-7c37-422b-ae6a-3f5a5fea4ba3" providerId="ADAL" clId="{A16AEA09-13DC-461C-ABD4-3B602A30B7CA}" dt="2023-04-06T10:07:18.297" v="3132" actId="47"/>
        <pc:sldMkLst>
          <pc:docMk/>
          <pc:sldMk cId="31713600" sldId="2147375667"/>
        </pc:sldMkLst>
      </pc:sldChg>
      <pc:sldChg chg="modSp mod">
        <pc:chgData name="Cyprien DE CHAMBURE" userId="954ca6a6-7c37-422b-ae6a-3f5a5fea4ba3" providerId="ADAL" clId="{A16AEA09-13DC-461C-ABD4-3B602A30B7CA}" dt="2023-04-06T13:49:36.891" v="6057" actId="20577"/>
        <pc:sldMkLst>
          <pc:docMk/>
          <pc:sldMk cId="3392503864" sldId="2147375668"/>
        </pc:sldMkLst>
        <pc:spChg chg="mod">
          <ac:chgData name="Cyprien DE CHAMBURE" userId="954ca6a6-7c37-422b-ae6a-3f5a5fea4ba3" providerId="ADAL" clId="{A16AEA09-13DC-461C-ABD4-3B602A30B7CA}" dt="2023-04-06T13:49:36.891" v="6057" actId="20577"/>
          <ac:spMkLst>
            <pc:docMk/>
            <pc:sldMk cId="3392503864" sldId="2147375668"/>
            <ac:spMk id="8" creationId="{A1D54523-6D95-7FF5-253F-E1BBAFB2D930}"/>
          </ac:spMkLst>
        </pc:spChg>
      </pc:sldChg>
      <pc:sldChg chg="add del">
        <pc:chgData name="Cyprien DE CHAMBURE" userId="954ca6a6-7c37-422b-ae6a-3f5a5fea4ba3" providerId="ADAL" clId="{A16AEA09-13DC-461C-ABD4-3B602A30B7CA}" dt="2023-04-06T08:32:54.294" v="549" actId="47"/>
        <pc:sldMkLst>
          <pc:docMk/>
          <pc:sldMk cId="1660121287" sldId="2147375672"/>
        </pc:sldMkLst>
      </pc:sldChg>
      <pc:sldChg chg="del">
        <pc:chgData name="Cyprien DE CHAMBURE" userId="954ca6a6-7c37-422b-ae6a-3f5a5fea4ba3" providerId="ADAL" clId="{A16AEA09-13DC-461C-ABD4-3B602A30B7CA}" dt="2023-04-06T08:42:19.021" v="889" actId="47"/>
        <pc:sldMkLst>
          <pc:docMk/>
          <pc:sldMk cId="4108006048" sldId="2147375673"/>
        </pc:sldMkLst>
      </pc:sldChg>
      <pc:sldChg chg="addSp delSp modSp mod">
        <pc:chgData name="Cyprien DE CHAMBURE" userId="954ca6a6-7c37-422b-ae6a-3f5a5fea4ba3" providerId="ADAL" clId="{A16AEA09-13DC-461C-ABD4-3B602A30B7CA}" dt="2023-04-07T08:38:11.703" v="6355" actId="20577"/>
        <pc:sldMkLst>
          <pc:docMk/>
          <pc:sldMk cId="1478713363" sldId="2147375688"/>
        </pc:sldMkLst>
        <pc:spChg chg="add del mod">
          <ac:chgData name="Cyprien DE CHAMBURE" userId="954ca6a6-7c37-422b-ae6a-3f5a5fea4ba3" providerId="ADAL" clId="{A16AEA09-13DC-461C-ABD4-3B602A30B7CA}" dt="2023-04-07T08:35:55.364" v="6063" actId="478"/>
          <ac:spMkLst>
            <pc:docMk/>
            <pc:sldMk cId="1478713363" sldId="2147375688"/>
            <ac:spMk id="3" creationId="{28FFCE40-77BD-95E4-7DE7-4BD99E76D30D}"/>
          </ac:spMkLst>
        </pc:spChg>
        <pc:spChg chg="mod">
          <ac:chgData name="Cyprien DE CHAMBURE" userId="954ca6a6-7c37-422b-ae6a-3f5a5fea4ba3" providerId="ADAL" clId="{A16AEA09-13DC-461C-ABD4-3B602A30B7CA}" dt="2023-04-07T08:38:11.703" v="6355" actId="20577"/>
          <ac:spMkLst>
            <pc:docMk/>
            <pc:sldMk cId="1478713363" sldId="2147375688"/>
            <ac:spMk id="4" creationId="{F70DFF4A-0C11-A2B5-3D68-F738965BF93C}"/>
          </ac:spMkLst>
        </pc:spChg>
        <pc:spChg chg="del">
          <ac:chgData name="Cyprien DE CHAMBURE" userId="954ca6a6-7c37-422b-ae6a-3f5a5fea4ba3" providerId="ADAL" clId="{A16AEA09-13DC-461C-ABD4-3B602A30B7CA}" dt="2023-04-06T08:43:16.478" v="900" actId="478"/>
          <ac:spMkLst>
            <pc:docMk/>
            <pc:sldMk cId="1478713363" sldId="2147375688"/>
            <ac:spMk id="7" creationId="{623B8ED9-4D36-BE98-A538-20529F958756}"/>
          </ac:spMkLst>
        </pc:spChg>
        <pc:spChg chg="del">
          <ac:chgData name="Cyprien DE CHAMBURE" userId="954ca6a6-7c37-422b-ae6a-3f5a5fea4ba3" providerId="ADAL" clId="{A16AEA09-13DC-461C-ABD4-3B602A30B7CA}" dt="2023-04-06T08:43:21.824" v="902" actId="478"/>
          <ac:spMkLst>
            <pc:docMk/>
            <pc:sldMk cId="1478713363" sldId="2147375688"/>
            <ac:spMk id="8" creationId="{4B08067A-7F4E-165A-9BA5-D0E67707A884}"/>
          </ac:spMkLst>
        </pc:spChg>
        <pc:spChg chg="mod">
          <ac:chgData name="Cyprien DE CHAMBURE" userId="954ca6a6-7c37-422b-ae6a-3f5a5fea4ba3" providerId="ADAL" clId="{A16AEA09-13DC-461C-ABD4-3B602A30B7CA}" dt="2023-04-06T09:48:50.425" v="2203" actId="20577"/>
          <ac:spMkLst>
            <pc:docMk/>
            <pc:sldMk cId="1478713363" sldId="2147375688"/>
            <ac:spMk id="15" creationId="{6ECE80BD-44BA-4FB4-B913-655627A2F712}"/>
          </ac:spMkLst>
        </pc:spChg>
      </pc:sldChg>
      <pc:sldChg chg="modSp mod">
        <pc:chgData name="Cyprien DE CHAMBURE" userId="954ca6a6-7c37-422b-ae6a-3f5a5fea4ba3" providerId="ADAL" clId="{A16AEA09-13DC-461C-ABD4-3B602A30B7CA}" dt="2023-04-06T10:05:36.948" v="3107" actId="20577"/>
        <pc:sldMkLst>
          <pc:docMk/>
          <pc:sldMk cId="4259021300" sldId="2147375691"/>
        </pc:sldMkLst>
        <pc:spChg chg="mod">
          <ac:chgData name="Cyprien DE CHAMBURE" userId="954ca6a6-7c37-422b-ae6a-3f5a5fea4ba3" providerId="ADAL" clId="{A16AEA09-13DC-461C-ABD4-3B602A30B7CA}" dt="2023-04-06T10:05:36.948" v="3107" actId="20577"/>
          <ac:spMkLst>
            <pc:docMk/>
            <pc:sldMk cId="4259021300" sldId="2147375691"/>
            <ac:spMk id="8" creationId="{A1D54523-6D95-7FF5-253F-E1BBAFB2D930}"/>
          </ac:spMkLst>
        </pc:spChg>
      </pc:sldChg>
      <pc:sldChg chg="modSp mod">
        <pc:chgData name="Cyprien DE CHAMBURE" userId="954ca6a6-7c37-422b-ae6a-3f5a5fea4ba3" providerId="ADAL" clId="{A16AEA09-13DC-461C-ABD4-3B602A30B7CA}" dt="2023-04-06T08:31:04.787" v="546" actId="20577"/>
        <pc:sldMkLst>
          <pc:docMk/>
          <pc:sldMk cId="1950768040" sldId="2147375692"/>
        </pc:sldMkLst>
        <pc:spChg chg="mod">
          <ac:chgData name="Cyprien DE CHAMBURE" userId="954ca6a6-7c37-422b-ae6a-3f5a5fea4ba3" providerId="ADAL" clId="{A16AEA09-13DC-461C-ABD4-3B602A30B7CA}" dt="2023-04-06T08:31:04.787" v="546" actId="20577"/>
          <ac:spMkLst>
            <pc:docMk/>
            <pc:sldMk cId="1950768040" sldId="2147375692"/>
            <ac:spMk id="10" creationId="{87DE51B1-5052-4085-BCC6-D3474C0C80CF}"/>
          </ac:spMkLst>
        </pc:spChg>
        <pc:spChg chg="mod">
          <ac:chgData name="Cyprien DE CHAMBURE" userId="954ca6a6-7c37-422b-ae6a-3f5a5fea4ba3" providerId="ADAL" clId="{A16AEA09-13DC-461C-ABD4-3B602A30B7CA}" dt="2023-04-06T08:27:32.804" v="334" actId="20577"/>
          <ac:spMkLst>
            <pc:docMk/>
            <pc:sldMk cId="1950768040" sldId="2147375692"/>
            <ac:spMk id="15" creationId="{6ECE80BD-44BA-4FB4-B913-655627A2F712}"/>
          </ac:spMkLst>
        </pc:spChg>
      </pc:sldChg>
      <pc:sldChg chg="modSp mod">
        <pc:chgData name="Cyprien DE CHAMBURE" userId="954ca6a6-7c37-422b-ae6a-3f5a5fea4ba3" providerId="ADAL" clId="{A16AEA09-13DC-461C-ABD4-3B602A30B7CA}" dt="2023-04-11T14:26:39.168" v="6420" actId="20577"/>
        <pc:sldMkLst>
          <pc:docMk/>
          <pc:sldMk cId="2673920977" sldId="2147375693"/>
        </pc:sldMkLst>
        <pc:spChg chg="mod">
          <ac:chgData name="Cyprien DE CHAMBURE" userId="954ca6a6-7c37-422b-ae6a-3f5a5fea4ba3" providerId="ADAL" clId="{A16AEA09-13DC-461C-ABD4-3B602A30B7CA}" dt="2023-04-11T14:26:39.168" v="6420" actId="20577"/>
          <ac:spMkLst>
            <pc:docMk/>
            <pc:sldMk cId="2673920977" sldId="2147375693"/>
            <ac:spMk id="8" creationId="{4B08067A-7F4E-165A-9BA5-D0E67707A884}"/>
          </ac:spMkLst>
        </pc:spChg>
        <pc:spChg chg="mod">
          <ac:chgData name="Cyprien DE CHAMBURE" userId="954ca6a6-7c37-422b-ae6a-3f5a5fea4ba3" providerId="ADAL" clId="{A16AEA09-13DC-461C-ABD4-3B602A30B7CA}" dt="2023-04-06T09:49:10.293" v="2215" actId="20577"/>
          <ac:spMkLst>
            <pc:docMk/>
            <pc:sldMk cId="2673920977" sldId="2147375693"/>
            <ac:spMk id="15" creationId="{6ECE80BD-44BA-4FB4-B913-655627A2F712}"/>
          </ac:spMkLst>
        </pc:spChg>
      </pc:sldChg>
      <pc:sldChg chg="del">
        <pc:chgData name="Cyprien DE CHAMBURE" userId="954ca6a6-7c37-422b-ae6a-3f5a5fea4ba3" providerId="ADAL" clId="{A16AEA09-13DC-461C-ABD4-3B602A30B7CA}" dt="2023-04-06T10:09:12.109" v="3272" actId="47"/>
        <pc:sldMkLst>
          <pc:docMk/>
          <pc:sldMk cId="914884057" sldId="2147375694"/>
        </pc:sldMkLst>
      </pc:sldChg>
      <pc:sldChg chg="del">
        <pc:chgData name="Cyprien DE CHAMBURE" userId="954ca6a6-7c37-422b-ae6a-3f5a5fea4ba3" providerId="ADAL" clId="{A16AEA09-13DC-461C-ABD4-3B602A30B7CA}" dt="2023-04-06T10:09:12.334" v="3273" actId="47"/>
        <pc:sldMkLst>
          <pc:docMk/>
          <pc:sldMk cId="3926683070" sldId="2147375695"/>
        </pc:sldMkLst>
      </pc:sldChg>
      <pc:sldChg chg="del">
        <pc:chgData name="Cyprien DE CHAMBURE" userId="954ca6a6-7c37-422b-ae6a-3f5a5fea4ba3" providerId="ADAL" clId="{A16AEA09-13DC-461C-ABD4-3B602A30B7CA}" dt="2023-04-06T09:49:13.731" v="2216" actId="47"/>
        <pc:sldMkLst>
          <pc:docMk/>
          <pc:sldMk cId="2547718653" sldId="2147375697"/>
        </pc:sldMkLst>
      </pc:sldChg>
      <pc:sldChg chg="del">
        <pc:chgData name="Cyprien DE CHAMBURE" userId="954ca6a6-7c37-422b-ae6a-3f5a5fea4ba3" providerId="ADAL" clId="{A16AEA09-13DC-461C-ABD4-3B602A30B7CA}" dt="2023-04-06T10:09:16.869" v="3274" actId="47"/>
        <pc:sldMkLst>
          <pc:docMk/>
          <pc:sldMk cId="3033865899" sldId="2147375698"/>
        </pc:sldMkLst>
      </pc:sldChg>
      <pc:sldChg chg="addSp delSp modSp add mod">
        <pc:chgData name="Cyprien DE CHAMBURE" userId="954ca6a6-7c37-422b-ae6a-3f5a5fea4ba3" providerId="ADAL" clId="{A16AEA09-13DC-461C-ABD4-3B602A30B7CA}" dt="2023-04-06T09:48:58.718" v="2209" actId="20577"/>
        <pc:sldMkLst>
          <pc:docMk/>
          <pc:sldMk cId="1168833458" sldId="2147375699"/>
        </pc:sldMkLst>
        <pc:spChg chg="add del">
          <ac:chgData name="Cyprien DE CHAMBURE" userId="954ca6a6-7c37-422b-ae6a-3f5a5fea4ba3" providerId="ADAL" clId="{A16AEA09-13DC-461C-ABD4-3B602A30B7CA}" dt="2023-04-06T09:30:14.887" v="1473" actId="478"/>
          <ac:spMkLst>
            <pc:docMk/>
            <pc:sldMk cId="1168833458" sldId="2147375699"/>
            <ac:spMk id="3" creationId="{DAA383D6-6560-5E75-6962-2372C2919844}"/>
          </ac:spMkLst>
        </pc:spChg>
        <pc:spChg chg="mod">
          <ac:chgData name="Cyprien DE CHAMBURE" userId="954ca6a6-7c37-422b-ae6a-3f5a5fea4ba3" providerId="ADAL" clId="{A16AEA09-13DC-461C-ABD4-3B602A30B7CA}" dt="2023-04-06T09:31:07.736" v="1612" actId="20577"/>
          <ac:spMkLst>
            <pc:docMk/>
            <pc:sldMk cId="1168833458" sldId="2147375699"/>
            <ac:spMk id="4" creationId="{F70DFF4A-0C11-A2B5-3D68-F738965BF93C}"/>
          </ac:spMkLst>
        </pc:spChg>
        <pc:spChg chg="mod">
          <ac:chgData name="Cyprien DE CHAMBURE" userId="954ca6a6-7c37-422b-ae6a-3f5a5fea4ba3" providerId="ADAL" clId="{A16AEA09-13DC-461C-ABD4-3B602A30B7CA}" dt="2023-04-06T09:48:58.718" v="2209" actId="20577"/>
          <ac:spMkLst>
            <pc:docMk/>
            <pc:sldMk cId="1168833458" sldId="2147375699"/>
            <ac:spMk id="15" creationId="{6ECE80BD-44BA-4FB4-B913-655627A2F712}"/>
          </ac:spMkLst>
        </pc:spChg>
      </pc:sldChg>
      <pc:sldChg chg="delSp modSp add mod">
        <pc:chgData name="Cyprien DE CHAMBURE" userId="954ca6a6-7c37-422b-ae6a-3f5a5fea4ba3" providerId="ADAL" clId="{A16AEA09-13DC-461C-ABD4-3B602A30B7CA}" dt="2023-04-06T09:49:04.304" v="2211" actId="20577"/>
        <pc:sldMkLst>
          <pc:docMk/>
          <pc:sldMk cId="595804974" sldId="2147375700"/>
        </pc:sldMkLst>
        <pc:spChg chg="del">
          <ac:chgData name="Cyprien DE CHAMBURE" userId="954ca6a6-7c37-422b-ae6a-3f5a5fea4ba3" providerId="ADAL" clId="{A16AEA09-13DC-461C-ABD4-3B602A30B7CA}" dt="2023-04-06T09:46:30.569" v="2104" actId="478"/>
          <ac:spMkLst>
            <pc:docMk/>
            <pc:sldMk cId="595804974" sldId="2147375700"/>
            <ac:spMk id="3" creationId="{28FFCE40-77BD-95E4-7DE7-4BD99E76D30D}"/>
          </ac:spMkLst>
        </pc:spChg>
        <pc:spChg chg="mod">
          <ac:chgData name="Cyprien DE CHAMBURE" userId="954ca6a6-7c37-422b-ae6a-3f5a5fea4ba3" providerId="ADAL" clId="{A16AEA09-13DC-461C-ABD4-3B602A30B7CA}" dt="2023-04-06T09:47:54.934" v="2201" actId="404"/>
          <ac:spMkLst>
            <pc:docMk/>
            <pc:sldMk cId="595804974" sldId="2147375700"/>
            <ac:spMk id="4" creationId="{F70DFF4A-0C11-A2B5-3D68-F738965BF93C}"/>
          </ac:spMkLst>
        </pc:spChg>
        <pc:spChg chg="mod">
          <ac:chgData name="Cyprien DE CHAMBURE" userId="954ca6a6-7c37-422b-ae6a-3f5a5fea4ba3" providerId="ADAL" clId="{A16AEA09-13DC-461C-ABD4-3B602A30B7CA}" dt="2023-04-06T09:49:04.304" v="2211" actId="20577"/>
          <ac:spMkLst>
            <pc:docMk/>
            <pc:sldMk cId="595804974" sldId="2147375700"/>
            <ac:spMk id="15" creationId="{6ECE80BD-44BA-4FB4-B913-655627A2F712}"/>
          </ac:spMkLst>
        </pc:spChg>
      </pc:sldChg>
      <pc:sldChg chg="addSp delSp modSp add mod">
        <pc:chgData name="Cyprien DE CHAMBURE" userId="954ca6a6-7c37-422b-ae6a-3f5a5fea4ba3" providerId="ADAL" clId="{A16AEA09-13DC-461C-ABD4-3B602A30B7CA}" dt="2023-04-06T13:13:10.769" v="4729" actId="1076"/>
        <pc:sldMkLst>
          <pc:docMk/>
          <pc:sldMk cId="824557985" sldId="2147375701"/>
        </pc:sldMkLst>
        <pc:spChg chg="del">
          <ac:chgData name="Cyprien DE CHAMBURE" userId="954ca6a6-7c37-422b-ae6a-3f5a5fea4ba3" providerId="ADAL" clId="{A16AEA09-13DC-461C-ABD4-3B602A30B7CA}" dt="2023-04-06T13:12:58.892" v="4724" actId="478"/>
          <ac:spMkLst>
            <pc:docMk/>
            <pc:sldMk cId="824557985" sldId="2147375701"/>
            <ac:spMk id="4" creationId="{CE45EE54-FDA9-84CB-217F-B09183157E88}"/>
          </ac:spMkLst>
        </pc:spChg>
        <pc:graphicFrameChg chg="del">
          <ac:chgData name="Cyprien DE CHAMBURE" userId="954ca6a6-7c37-422b-ae6a-3f5a5fea4ba3" providerId="ADAL" clId="{A16AEA09-13DC-461C-ABD4-3B602A30B7CA}" dt="2023-04-06T13:12:57.037" v="4723" actId="478"/>
          <ac:graphicFrameMkLst>
            <pc:docMk/>
            <pc:sldMk cId="824557985" sldId="2147375701"/>
            <ac:graphicFrameMk id="3" creationId="{5F08AF27-1CB0-FDA9-1280-9C0D68DC2885}"/>
          </ac:graphicFrameMkLst>
        </pc:graphicFrameChg>
        <pc:picChg chg="add mod">
          <ac:chgData name="Cyprien DE CHAMBURE" userId="954ca6a6-7c37-422b-ae6a-3f5a5fea4ba3" providerId="ADAL" clId="{A16AEA09-13DC-461C-ABD4-3B602A30B7CA}" dt="2023-04-06T13:13:10.769" v="4729" actId="1076"/>
          <ac:picMkLst>
            <pc:docMk/>
            <pc:sldMk cId="824557985" sldId="2147375701"/>
            <ac:picMk id="7" creationId="{B2D14D0F-ADE5-5EFA-02DB-069303F422E6}"/>
          </ac:picMkLst>
        </pc:picChg>
        <pc:picChg chg="del">
          <ac:chgData name="Cyprien DE CHAMBURE" userId="954ca6a6-7c37-422b-ae6a-3f5a5fea4ba3" providerId="ADAL" clId="{A16AEA09-13DC-461C-ABD4-3B602A30B7CA}" dt="2023-04-06T13:12:53.975" v="4722" actId="478"/>
          <ac:picMkLst>
            <pc:docMk/>
            <pc:sldMk cId="824557985" sldId="2147375701"/>
            <ac:picMk id="8" creationId="{E4C118FF-7DD8-13CF-4932-95DFAE601B15}"/>
          </ac:picMkLst>
        </pc:picChg>
      </pc:sldChg>
    </pc:docChg>
  </pc:docChgLst>
  <pc:docChgLst>
    <pc:chgData name="Cyprien DE CHAMBURE" userId="954ca6a6-7c37-422b-ae6a-3f5a5fea4ba3" providerId="ADAL" clId="{F5730139-F878-4112-BA36-D2E64262AAE3}"/>
    <pc:docChg chg="undo custSel addSld delSld modSld sldOrd">
      <pc:chgData name="Cyprien DE CHAMBURE" userId="954ca6a6-7c37-422b-ae6a-3f5a5fea4ba3" providerId="ADAL" clId="{F5730139-F878-4112-BA36-D2E64262AAE3}" dt="2023-06-07T09:29:21.169" v="2821" actId="1036"/>
      <pc:docMkLst>
        <pc:docMk/>
      </pc:docMkLst>
      <pc:sldChg chg="modSp mod">
        <pc:chgData name="Cyprien DE CHAMBURE" userId="954ca6a6-7c37-422b-ae6a-3f5a5fea4ba3" providerId="ADAL" clId="{F5730139-F878-4112-BA36-D2E64262AAE3}" dt="2023-05-29T14:18:28.726" v="543" actId="20577"/>
        <pc:sldMkLst>
          <pc:docMk/>
          <pc:sldMk cId="3663286578" sldId="375"/>
        </pc:sldMkLst>
        <pc:spChg chg="mod">
          <ac:chgData name="Cyprien DE CHAMBURE" userId="954ca6a6-7c37-422b-ae6a-3f5a5fea4ba3" providerId="ADAL" clId="{F5730139-F878-4112-BA36-D2E64262AAE3}" dt="2023-05-29T14:18:28.726" v="543" actId="20577"/>
          <ac:spMkLst>
            <pc:docMk/>
            <pc:sldMk cId="3663286578" sldId="375"/>
            <ac:spMk id="5" creationId="{00000000-0000-0000-0000-000000000000}"/>
          </ac:spMkLst>
        </pc:spChg>
      </pc:sldChg>
      <pc:sldChg chg="del">
        <pc:chgData name="Cyprien DE CHAMBURE" userId="954ca6a6-7c37-422b-ae6a-3f5a5fea4ba3" providerId="ADAL" clId="{F5730139-F878-4112-BA36-D2E64262AAE3}" dt="2023-05-29T13:38:09.939" v="3" actId="47"/>
        <pc:sldMkLst>
          <pc:docMk/>
          <pc:sldMk cId="4147437518" sldId="584"/>
        </pc:sldMkLst>
      </pc:sldChg>
      <pc:sldChg chg="del">
        <pc:chgData name="Cyprien DE CHAMBURE" userId="954ca6a6-7c37-422b-ae6a-3f5a5fea4ba3" providerId="ADAL" clId="{F5730139-F878-4112-BA36-D2E64262AAE3}" dt="2023-05-29T13:37:47.002" v="0" actId="47"/>
        <pc:sldMkLst>
          <pc:docMk/>
          <pc:sldMk cId="2900409527" sldId="748"/>
        </pc:sldMkLst>
      </pc:sldChg>
      <pc:sldChg chg="del">
        <pc:chgData name="Cyprien DE CHAMBURE" userId="954ca6a6-7c37-422b-ae6a-3f5a5fea4ba3" providerId="ADAL" clId="{F5730139-F878-4112-BA36-D2E64262AAE3}" dt="2023-05-29T13:37:55.870" v="1" actId="47"/>
        <pc:sldMkLst>
          <pc:docMk/>
          <pc:sldMk cId="1238462846" sldId="1484"/>
        </pc:sldMkLst>
      </pc:sldChg>
      <pc:sldChg chg="del">
        <pc:chgData name="Cyprien DE CHAMBURE" userId="954ca6a6-7c37-422b-ae6a-3f5a5fea4ba3" providerId="ADAL" clId="{F5730139-F878-4112-BA36-D2E64262AAE3}" dt="2023-05-29T13:37:55.870" v="1" actId="47"/>
        <pc:sldMkLst>
          <pc:docMk/>
          <pc:sldMk cId="602562009" sldId="1499"/>
        </pc:sldMkLst>
      </pc:sldChg>
      <pc:sldChg chg="del">
        <pc:chgData name="Cyprien DE CHAMBURE" userId="954ca6a6-7c37-422b-ae6a-3f5a5fea4ba3" providerId="ADAL" clId="{F5730139-F878-4112-BA36-D2E64262AAE3}" dt="2023-05-29T13:37:55.870" v="1" actId="47"/>
        <pc:sldMkLst>
          <pc:docMk/>
          <pc:sldMk cId="3674650708" sldId="1553"/>
        </pc:sldMkLst>
      </pc:sldChg>
      <pc:sldChg chg="del">
        <pc:chgData name="Cyprien DE CHAMBURE" userId="954ca6a6-7c37-422b-ae6a-3f5a5fea4ba3" providerId="ADAL" clId="{F5730139-F878-4112-BA36-D2E64262AAE3}" dt="2023-05-29T13:37:55.870" v="1" actId="47"/>
        <pc:sldMkLst>
          <pc:docMk/>
          <pc:sldMk cId="567370757" sldId="1557"/>
        </pc:sldMkLst>
      </pc:sldChg>
      <pc:sldChg chg="modSp add del mod">
        <pc:chgData name="Cyprien DE CHAMBURE" userId="954ca6a6-7c37-422b-ae6a-3f5a5fea4ba3" providerId="ADAL" clId="{F5730139-F878-4112-BA36-D2E64262AAE3}" dt="2023-05-29T14:20:30.768" v="583" actId="47"/>
        <pc:sldMkLst>
          <pc:docMk/>
          <pc:sldMk cId="2662798992" sldId="1563"/>
        </pc:sldMkLst>
        <pc:spChg chg="mod">
          <ac:chgData name="Cyprien DE CHAMBURE" userId="954ca6a6-7c37-422b-ae6a-3f5a5fea4ba3" providerId="ADAL" clId="{F5730139-F878-4112-BA36-D2E64262AAE3}" dt="2023-05-29T14:00:25.267" v="521" actId="20577"/>
          <ac:spMkLst>
            <pc:docMk/>
            <pc:sldMk cId="2662798992" sldId="1563"/>
            <ac:spMk id="4" creationId="{00000000-0000-0000-0000-000000000000}"/>
          </ac:spMkLst>
        </pc:spChg>
      </pc:sldChg>
      <pc:sldChg chg="del">
        <pc:chgData name="Cyprien DE CHAMBURE" userId="954ca6a6-7c37-422b-ae6a-3f5a5fea4ba3" providerId="ADAL" clId="{F5730139-F878-4112-BA36-D2E64262AAE3}" dt="2023-05-29T13:37:55.870" v="1" actId="47"/>
        <pc:sldMkLst>
          <pc:docMk/>
          <pc:sldMk cId="1196489256" sldId="1586"/>
        </pc:sldMkLst>
      </pc:sldChg>
      <pc:sldChg chg="del">
        <pc:chgData name="Cyprien DE CHAMBURE" userId="954ca6a6-7c37-422b-ae6a-3f5a5fea4ba3" providerId="ADAL" clId="{F5730139-F878-4112-BA36-D2E64262AAE3}" dt="2023-05-29T13:37:55.870" v="1" actId="47"/>
        <pc:sldMkLst>
          <pc:docMk/>
          <pc:sldMk cId="3668464009" sldId="1587"/>
        </pc:sldMkLst>
      </pc:sldChg>
      <pc:sldChg chg="del">
        <pc:chgData name="Cyprien DE CHAMBURE" userId="954ca6a6-7c37-422b-ae6a-3f5a5fea4ba3" providerId="ADAL" clId="{F5730139-F878-4112-BA36-D2E64262AAE3}" dt="2023-05-29T13:37:55.870" v="1" actId="47"/>
        <pc:sldMkLst>
          <pc:docMk/>
          <pc:sldMk cId="1503955307" sldId="1592"/>
        </pc:sldMkLst>
      </pc:sldChg>
      <pc:sldChg chg="del">
        <pc:chgData name="Cyprien DE CHAMBURE" userId="954ca6a6-7c37-422b-ae6a-3f5a5fea4ba3" providerId="ADAL" clId="{F5730139-F878-4112-BA36-D2E64262AAE3}" dt="2023-05-29T13:37:47.002" v="0" actId="47"/>
        <pc:sldMkLst>
          <pc:docMk/>
          <pc:sldMk cId="573581300" sldId="1627"/>
        </pc:sldMkLst>
      </pc:sldChg>
      <pc:sldChg chg="del">
        <pc:chgData name="Cyprien DE CHAMBURE" userId="954ca6a6-7c37-422b-ae6a-3f5a5fea4ba3" providerId="ADAL" clId="{F5730139-F878-4112-BA36-D2E64262AAE3}" dt="2023-05-29T13:37:47.002" v="0" actId="47"/>
        <pc:sldMkLst>
          <pc:docMk/>
          <pc:sldMk cId="3015061511" sldId="1628"/>
        </pc:sldMkLst>
      </pc:sldChg>
      <pc:sldChg chg="del">
        <pc:chgData name="Cyprien DE CHAMBURE" userId="954ca6a6-7c37-422b-ae6a-3f5a5fea4ba3" providerId="ADAL" clId="{F5730139-F878-4112-BA36-D2E64262AAE3}" dt="2023-05-29T13:37:55.870" v="1" actId="47"/>
        <pc:sldMkLst>
          <pc:docMk/>
          <pc:sldMk cId="2894063069" sldId="2146847019"/>
        </pc:sldMkLst>
      </pc:sldChg>
      <pc:sldChg chg="del">
        <pc:chgData name="Cyprien DE CHAMBURE" userId="954ca6a6-7c37-422b-ae6a-3f5a5fea4ba3" providerId="ADAL" clId="{F5730139-F878-4112-BA36-D2E64262AAE3}" dt="2023-05-29T13:37:55.870" v="1" actId="47"/>
        <pc:sldMkLst>
          <pc:docMk/>
          <pc:sldMk cId="4086594777" sldId="2146847021"/>
        </pc:sldMkLst>
      </pc:sldChg>
      <pc:sldChg chg="del">
        <pc:chgData name="Cyprien DE CHAMBURE" userId="954ca6a6-7c37-422b-ae6a-3f5a5fea4ba3" providerId="ADAL" clId="{F5730139-F878-4112-BA36-D2E64262AAE3}" dt="2023-05-29T13:37:55.870" v="1" actId="47"/>
        <pc:sldMkLst>
          <pc:docMk/>
          <pc:sldMk cId="4208128481" sldId="2146847028"/>
        </pc:sldMkLst>
      </pc:sldChg>
      <pc:sldChg chg="del">
        <pc:chgData name="Cyprien DE CHAMBURE" userId="954ca6a6-7c37-422b-ae6a-3f5a5fea4ba3" providerId="ADAL" clId="{F5730139-F878-4112-BA36-D2E64262AAE3}" dt="2023-05-29T13:37:55.870" v="1" actId="47"/>
        <pc:sldMkLst>
          <pc:docMk/>
          <pc:sldMk cId="3689621063" sldId="2146847033"/>
        </pc:sldMkLst>
      </pc:sldChg>
      <pc:sldChg chg="del">
        <pc:chgData name="Cyprien DE CHAMBURE" userId="954ca6a6-7c37-422b-ae6a-3f5a5fea4ba3" providerId="ADAL" clId="{F5730139-F878-4112-BA36-D2E64262AAE3}" dt="2023-05-29T13:37:55.870" v="1" actId="47"/>
        <pc:sldMkLst>
          <pc:docMk/>
          <pc:sldMk cId="1222101992" sldId="2146847036"/>
        </pc:sldMkLst>
      </pc:sldChg>
      <pc:sldChg chg="del">
        <pc:chgData name="Cyprien DE CHAMBURE" userId="954ca6a6-7c37-422b-ae6a-3f5a5fea4ba3" providerId="ADAL" clId="{F5730139-F878-4112-BA36-D2E64262AAE3}" dt="2023-05-29T13:37:55.870" v="1" actId="47"/>
        <pc:sldMkLst>
          <pc:docMk/>
          <pc:sldMk cId="527443829" sldId="2146847051"/>
        </pc:sldMkLst>
      </pc:sldChg>
      <pc:sldChg chg="del">
        <pc:chgData name="Cyprien DE CHAMBURE" userId="954ca6a6-7c37-422b-ae6a-3f5a5fea4ba3" providerId="ADAL" clId="{F5730139-F878-4112-BA36-D2E64262AAE3}" dt="2023-05-29T13:37:55.870" v="1" actId="47"/>
        <pc:sldMkLst>
          <pc:docMk/>
          <pc:sldMk cId="4246732626" sldId="2146847054"/>
        </pc:sldMkLst>
      </pc:sldChg>
      <pc:sldChg chg="add del">
        <pc:chgData name="Cyprien DE CHAMBURE" userId="954ca6a6-7c37-422b-ae6a-3f5a5fea4ba3" providerId="ADAL" clId="{F5730139-F878-4112-BA36-D2E64262AAE3}" dt="2023-05-29T13:41:16.635" v="5"/>
        <pc:sldMkLst>
          <pc:docMk/>
          <pc:sldMk cId="4203714148" sldId="2146847101"/>
        </pc:sldMkLst>
      </pc:sldChg>
      <pc:sldChg chg="add del">
        <pc:chgData name="Cyprien DE CHAMBURE" userId="954ca6a6-7c37-422b-ae6a-3f5a5fea4ba3" providerId="ADAL" clId="{F5730139-F878-4112-BA36-D2E64262AAE3}" dt="2023-05-29T13:41:16.635" v="5"/>
        <pc:sldMkLst>
          <pc:docMk/>
          <pc:sldMk cId="3243807124" sldId="2146847102"/>
        </pc:sldMkLst>
      </pc:sldChg>
      <pc:sldChg chg="add del">
        <pc:chgData name="Cyprien DE CHAMBURE" userId="954ca6a6-7c37-422b-ae6a-3f5a5fea4ba3" providerId="ADAL" clId="{F5730139-F878-4112-BA36-D2E64262AAE3}" dt="2023-05-29T13:41:16.635" v="5"/>
        <pc:sldMkLst>
          <pc:docMk/>
          <pc:sldMk cId="1005950417" sldId="2146847130"/>
        </pc:sldMkLst>
      </pc:sldChg>
      <pc:sldChg chg="del">
        <pc:chgData name="Cyprien DE CHAMBURE" userId="954ca6a6-7c37-422b-ae6a-3f5a5fea4ba3" providerId="ADAL" clId="{F5730139-F878-4112-BA36-D2E64262AAE3}" dt="2023-05-29T13:37:55.870" v="1" actId="47"/>
        <pc:sldMkLst>
          <pc:docMk/>
          <pc:sldMk cId="753387726" sldId="2147375666"/>
        </pc:sldMkLst>
      </pc:sldChg>
      <pc:sldChg chg="del">
        <pc:chgData name="Cyprien DE CHAMBURE" userId="954ca6a6-7c37-422b-ae6a-3f5a5fea4ba3" providerId="ADAL" clId="{F5730139-F878-4112-BA36-D2E64262AAE3}" dt="2023-05-29T13:37:55.870" v="1" actId="47"/>
        <pc:sldMkLst>
          <pc:docMk/>
          <pc:sldMk cId="3392503864" sldId="2147375668"/>
        </pc:sldMkLst>
      </pc:sldChg>
      <pc:sldChg chg="del">
        <pc:chgData name="Cyprien DE CHAMBURE" userId="954ca6a6-7c37-422b-ae6a-3f5a5fea4ba3" providerId="ADAL" clId="{F5730139-F878-4112-BA36-D2E64262AAE3}" dt="2023-05-29T13:37:55.870" v="1" actId="47"/>
        <pc:sldMkLst>
          <pc:docMk/>
          <pc:sldMk cId="1478713363" sldId="2147375688"/>
        </pc:sldMkLst>
      </pc:sldChg>
      <pc:sldChg chg="del">
        <pc:chgData name="Cyprien DE CHAMBURE" userId="954ca6a6-7c37-422b-ae6a-3f5a5fea4ba3" providerId="ADAL" clId="{F5730139-F878-4112-BA36-D2E64262AAE3}" dt="2023-05-29T13:37:55.870" v="1" actId="47"/>
        <pc:sldMkLst>
          <pc:docMk/>
          <pc:sldMk cId="546997005" sldId="2147375689"/>
        </pc:sldMkLst>
      </pc:sldChg>
      <pc:sldChg chg="del">
        <pc:chgData name="Cyprien DE CHAMBURE" userId="954ca6a6-7c37-422b-ae6a-3f5a5fea4ba3" providerId="ADAL" clId="{F5730139-F878-4112-BA36-D2E64262AAE3}" dt="2023-05-29T13:37:55.870" v="1" actId="47"/>
        <pc:sldMkLst>
          <pc:docMk/>
          <pc:sldMk cId="1301428030" sldId="2147375690"/>
        </pc:sldMkLst>
      </pc:sldChg>
      <pc:sldChg chg="del">
        <pc:chgData name="Cyprien DE CHAMBURE" userId="954ca6a6-7c37-422b-ae6a-3f5a5fea4ba3" providerId="ADAL" clId="{F5730139-F878-4112-BA36-D2E64262AAE3}" dt="2023-05-29T13:37:55.870" v="1" actId="47"/>
        <pc:sldMkLst>
          <pc:docMk/>
          <pc:sldMk cId="4259021300" sldId="2147375691"/>
        </pc:sldMkLst>
      </pc:sldChg>
      <pc:sldChg chg="addSp delSp modSp mod">
        <pc:chgData name="Cyprien DE CHAMBURE" userId="954ca6a6-7c37-422b-ae6a-3f5a5fea4ba3" providerId="ADAL" clId="{F5730139-F878-4112-BA36-D2E64262AAE3}" dt="2023-05-29T14:23:07.235" v="705" actId="20577"/>
        <pc:sldMkLst>
          <pc:docMk/>
          <pc:sldMk cId="1950768040" sldId="2147375692"/>
        </pc:sldMkLst>
        <pc:spChg chg="mod">
          <ac:chgData name="Cyprien DE CHAMBURE" userId="954ca6a6-7c37-422b-ae6a-3f5a5fea4ba3" providerId="ADAL" clId="{F5730139-F878-4112-BA36-D2E64262AAE3}" dt="2023-05-29T14:23:02.864" v="692" actId="20577"/>
          <ac:spMkLst>
            <pc:docMk/>
            <pc:sldMk cId="1950768040" sldId="2147375692"/>
            <ac:spMk id="2" creationId="{00000000-0000-0000-0000-000000000000}"/>
          </ac:spMkLst>
        </pc:spChg>
        <pc:spChg chg="del">
          <ac:chgData name="Cyprien DE CHAMBURE" userId="954ca6a6-7c37-422b-ae6a-3f5a5fea4ba3" providerId="ADAL" clId="{F5730139-F878-4112-BA36-D2E64262AAE3}" dt="2023-05-29T13:50:35.020" v="80" actId="478"/>
          <ac:spMkLst>
            <pc:docMk/>
            <pc:sldMk cId="1950768040" sldId="2147375692"/>
            <ac:spMk id="3" creationId="{2ED28C4D-0D2D-4C6F-DE43-A623B4CE7012}"/>
          </ac:spMkLst>
        </pc:spChg>
        <pc:spChg chg="add del mod">
          <ac:chgData name="Cyprien DE CHAMBURE" userId="954ca6a6-7c37-422b-ae6a-3f5a5fea4ba3" providerId="ADAL" clId="{F5730139-F878-4112-BA36-D2E64262AAE3}" dt="2023-05-29T13:50:33.087" v="79" actId="478"/>
          <ac:spMkLst>
            <pc:docMk/>
            <pc:sldMk cId="1950768040" sldId="2147375692"/>
            <ac:spMk id="6" creationId="{C37F66C1-2F24-6D3D-D0CD-2B86B3787EAE}"/>
          </ac:spMkLst>
        </pc:spChg>
        <pc:spChg chg="add mod">
          <ac:chgData name="Cyprien DE CHAMBURE" userId="954ca6a6-7c37-422b-ae6a-3f5a5fea4ba3" providerId="ADAL" clId="{F5730139-F878-4112-BA36-D2E64262AAE3}" dt="2023-05-29T14:22:10.799" v="678" actId="20577"/>
          <ac:spMkLst>
            <pc:docMk/>
            <pc:sldMk cId="1950768040" sldId="2147375692"/>
            <ac:spMk id="7" creationId="{7FE6DD3C-0288-5259-0148-67ED3543170F}"/>
          </ac:spMkLst>
        </pc:spChg>
        <pc:spChg chg="del">
          <ac:chgData name="Cyprien DE CHAMBURE" userId="954ca6a6-7c37-422b-ae6a-3f5a5fea4ba3" providerId="ADAL" clId="{F5730139-F878-4112-BA36-D2E64262AAE3}" dt="2023-05-29T13:50:30.263" v="78" actId="478"/>
          <ac:spMkLst>
            <pc:docMk/>
            <pc:sldMk cId="1950768040" sldId="2147375692"/>
            <ac:spMk id="10" creationId="{87DE51B1-5052-4085-BCC6-D3474C0C80CF}"/>
          </ac:spMkLst>
        </pc:spChg>
        <pc:spChg chg="mod">
          <ac:chgData name="Cyprien DE CHAMBURE" userId="954ca6a6-7c37-422b-ae6a-3f5a5fea4ba3" providerId="ADAL" clId="{F5730139-F878-4112-BA36-D2E64262AAE3}" dt="2023-05-29T14:23:07.235" v="705" actId="20577"/>
          <ac:spMkLst>
            <pc:docMk/>
            <pc:sldMk cId="1950768040" sldId="2147375692"/>
            <ac:spMk id="15" creationId="{6ECE80BD-44BA-4FB4-B913-655627A2F712}"/>
          </ac:spMkLst>
        </pc:spChg>
        <pc:picChg chg="add mod">
          <ac:chgData name="Cyprien DE CHAMBURE" userId="954ca6a6-7c37-422b-ae6a-3f5a5fea4ba3" providerId="ADAL" clId="{F5730139-F878-4112-BA36-D2E64262AAE3}" dt="2023-05-29T14:22:08.605" v="677" actId="1035"/>
          <ac:picMkLst>
            <pc:docMk/>
            <pc:sldMk cId="1950768040" sldId="2147375692"/>
            <ac:picMk id="8" creationId="{51ECB133-EA6C-87C2-7BEA-F523F7A8C45A}"/>
          </ac:picMkLst>
        </pc:picChg>
        <pc:picChg chg="add mod">
          <ac:chgData name="Cyprien DE CHAMBURE" userId="954ca6a6-7c37-422b-ae6a-3f5a5fea4ba3" providerId="ADAL" clId="{F5730139-F878-4112-BA36-D2E64262AAE3}" dt="2023-05-29T13:52:28.657" v="154" actId="1035"/>
          <ac:picMkLst>
            <pc:docMk/>
            <pc:sldMk cId="1950768040" sldId="2147375692"/>
            <ac:picMk id="9" creationId="{0A791278-8CA1-51EC-8FF6-68EC3421E2ED}"/>
          </ac:picMkLst>
        </pc:picChg>
      </pc:sldChg>
      <pc:sldChg chg="modSp add mod">
        <pc:chgData name="Cyprien DE CHAMBURE" userId="954ca6a6-7c37-422b-ae6a-3f5a5fea4ba3" providerId="ADAL" clId="{F5730139-F878-4112-BA36-D2E64262AAE3}" dt="2023-05-29T16:03:02.053" v="2792" actId="20577"/>
        <pc:sldMkLst>
          <pc:docMk/>
          <pc:sldMk cId="493369888" sldId="2147375693"/>
        </pc:sldMkLst>
        <pc:spChg chg="mod">
          <ac:chgData name="Cyprien DE CHAMBURE" userId="954ca6a6-7c37-422b-ae6a-3f5a5fea4ba3" providerId="ADAL" clId="{F5730139-F878-4112-BA36-D2E64262AAE3}" dt="2023-05-29T14:18:34.758" v="550" actId="20577"/>
          <ac:spMkLst>
            <pc:docMk/>
            <pc:sldMk cId="493369888" sldId="2147375693"/>
            <ac:spMk id="3" creationId="{00000000-0000-0000-0000-000000000000}"/>
          </ac:spMkLst>
        </pc:spChg>
        <pc:spChg chg="mod">
          <ac:chgData name="Cyprien DE CHAMBURE" userId="954ca6a6-7c37-422b-ae6a-3f5a5fea4ba3" providerId="ADAL" clId="{F5730139-F878-4112-BA36-D2E64262AAE3}" dt="2023-05-29T14:12:18.935" v="524" actId="6549"/>
          <ac:spMkLst>
            <pc:docMk/>
            <pc:sldMk cId="493369888" sldId="2147375693"/>
            <ac:spMk id="4" creationId="{00000000-0000-0000-0000-000000000000}"/>
          </ac:spMkLst>
        </pc:spChg>
        <pc:graphicFrameChg chg="mod modGraphic">
          <ac:chgData name="Cyprien DE CHAMBURE" userId="954ca6a6-7c37-422b-ae6a-3f5a5fea4ba3" providerId="ADAL" clId="{F5730139-F878-4112-BA36-D2E64262AAE3}" dt="2023-05-29T16:03:02.053" v="2792" actId="20577"/>
          <ac:graphicFrameMkLst>
            <pc:docMk/>
            <pc:sldMk cId="493369888" sldId="2147375693"/>
            <ac:graphicFrameMk id="7" creationId="{A80EBAAF-8127-4349-A381-0C93836B57D6}"/>
          </ac:graphicFrameMkLst>
        </pc:graphicFrameChg>
      </pc:sldChg>
      <pc:sldChg chg="addSp delSp modSp new mod ord">
        <pc:chgData name="Cyprien DE CHAMBURE" userId="954ca6a6-7c37-422b-ae6a-3f5a5fea4ba3" providerId="ADAL" clId="{F5730139-F878-4112-BA36-D2E64262AAE3}" dt="2023-05-29T15:55:28.308" v="2769" actId="207"/>
        <pc:sldMkLst>
          <pc:docMk/>
          <pc:sldMk cId="2442605291" sldId="2147375694"/>
        </pc:sldMkLst>
        <pc:spChg chg="mod">
          <ac:chgData name="Cyprien DE CHAMBURE" userId="954ca6a6-7c37-422b-ae6a-3f5a5fea4ba3" providerId="ADAL" clId="{F5730139-F878-4112-BA36-D2E64262AAE3}" dt="2023-05-29T14:20:29.814" v="582" actId="20577"/>
          <ac:spMkLst>
            <pc:docMk/>
            <pc:sldMk cId="2442605291" sldId="2147375694"/>
            <ac:spMk id="2" creationId="{A639C8B2-3639-40A4-4C88-77F79F9DA77C}"/>
          </ac:spMkLst>
        </pc:spChg>
        <pc:spChg chg="del">
          <ac:chgData name="Cyprien DE CHAMBURE" userId="954ca6a6-7c37-422b-ae6a-3f5a5fea4ba3" providerId="ADAL" clId="{F5730139-F878-4112-BA36-D2E64262AAE3}" dt="2023-05-29T13:48:36.747" v="9" actId="478"/>
          <ac:spMkLst>
            <pc:docMk/>
            <pc:sldMk cId="2442605291" sldId="2147375694"/>
            <ac:spMk id="3" creationId="{FE5BFED7-0810-9DD3-AD16-2E5E7BC1F82F}"/>
          </ac:spMkLst>
        </pc:spChg>
        <pc:spChg chg="mod">
          <ac:chgData name="Cyprien DE CHAMBURE" userId="954ca6a6-7c37-422b-ae6a-3f5a5fea4ba3" providerId="ADAL" clId="{F5730139-F878-4112-BA36-D2E64262AAE3}" dt="2023-05-29T14:00:44.033" v="522" actId="790"/>
          <ac:spMkLst>
            <pc:docMk/>
            <pc:sldMk cId="2442605291" sldId="2147375694"/>
            <ac:spMk id="4" creationId="{561245C1-F491-F5F2-6C74-DC405E6C69A0}"/>
          </ac:spMkLst>
        </pc:spChg>
        <pc:spChg chg="mod">
          <ac:chgData name="Cyprien DE CHAMBURE" userId="954ca6a6-7c37-422b-ae6a-3f5a5fea4ba3" providerId="ADAL" clId="{F5730139-F878-4112-BA36-D2E64262AAE3}" dt="2023-05-29T14:00:44.033" v="522" actId="790"/>
          <ac:spMkLst>
            <pc:docMk/>
            <pc:sldMk cId="2442605291" sldId="2147375694"/>
            <ac:spMk id="5" creationId="{B6DD872A-941D-25F4-ABA1-9AF06BD12AED}"/>
          </ac:spMkLst>
        </pc:spChg>
        <pc:spChg chg="mod">
          <ac:chgData name="Cyprien DE CHAMBURE" userId="954ca6a6-7c37-422b-ae6a-3f5a5fea4ba3" providerId="ADAL" clId="{F5730139-F878-4112-BA36-D2E64262AAE3}" dt="2023-05-29T14:00:44.033" v="522" actId="790"/>
          <ac:spMkLst>
            <pc:docMk/>
            <pc:sldMk cId="2442605291" sldId="2147375694"/>
            <ac:spMk id="6" creationId="{951191C7-4D22-74F0-98BF-618CE9C66F00}"/>
          </ac:spMkLst>
        </pc:spChg>
        <pc:spChg chg="add del mod">
          <ac:chgData name="Cyprien DE CHAMBURE" userId="954ca6a6-7c37-422b-ae6a-3f5a5fea4ba3" providerId="ADAL" clId="{F5730139-F878-4112-BA36-D2E64262AAE3}" dt="2023-05-29T13:48:39.748" v="11"/>
          <ac:spMkLst>
            <pc:docMk/>
            <pc:sldMk cId="2442605291" sldId="2147375694"/>
            <ac:spMk id="7" creationId="{FB8B679D-5F55-ECD7-F6B6-7DB2263F0AF5}"/>
          </ac:spMkLst>
        </pc:spChg>
        <pc:spChg chg="add mod">
          <ac:chgData name="Cyprien DE CHAMBURE" userId="954ca6a6-7c37-422b-ae6a-3f5a5fea4ba3" providerId="ADAL" clId="{F5730139-F878-4112-BA36-D2E64262AAE3}" dt="2023-05-29T15:55:28.308" v="2769" actId="207"/>
          <ac:spMkLst>
            <pc:docMk/>
            <pc:sldMk cId="2442605291" sldId="2147375694"/>
            <ac:spMk id="8" creationId="{C2EB3E9C-3260-8335-719B-DD371F5E4AA7}"/>
          </ac:spMkLst>
        </pc:spChg>
        <pc:picChg chg="add del mod">
          <ac:chgData name="Cyprien DE CHAMBURE" userId="954ca6a6-7c37-422b-ae6a-3f5a5fea4ba3" providerId="ADAL" clId="{F5730139-F878-4112-BA36-D2E64262AAE3}" dt="2023-05-29T13:58:00.240" v="274" actId="478"/>
          <ac:picMkLst>
            <pc:docMk/>
            <pc:sldMk cId="2442605291" sldId="2147375694"/>
            <ac:picMk id="9" creationId="{7BBAB2E4-7FE0-311A-0C8B-71C90C1B9DDF}"/>
          </ac:picMkLst>
        </pc:picChg>
        <pc:picChg chg="add del mod">
          <ac:chgData name="Cyprien DE CHAMBURE" userId="954ca6a6-7c37-422b-ae6a-3f5a5fea4ba3" providerId="ADAL" clId="{F5730139-F878-4112-BA36-D2E64262AAE3}" dt="2023-05-29T13:58:01.014" v="275" actId="478"/>
          <ac:picMkLst>
            <pc:docMk/>
            <pc:sldMk cId="2442605291" sldId="2147375694"/>
            <ac:picMk id="10" creationId="{3A130546-6938-7977-E4AF-90182DE78106}"/>
          </ac:picMkLst>
        </pc:picChg>
      </pc:sldChg>
      <pc:sldChg chg="addSp delSp modSp add mod">
        <pc:chgData name="Cyprien DE CHAMBURE" userId="954ca6a6-7c37-422b-ae6a-3f5a5fea4ba3" providerId="ADAL" clId="{F5730139-F878-4112-BA36-D2E64262AAE3}" dt="2023-05-29T15:56:12.629" v="2780" actId="20577"/>
        <pc:sldMkLst>
          <pc:docMk/>
          <pc:sldMk cId="3640888331" sldId="2147375695"/>
        </pc:sldMkLst>
        <pc:spChg chg="mod">
          <ac:chgData name="Cyprien DE CHAMBURE" userId="954ca6a6-7c37-422b-ae6a-3f5a5fea4ba3" providerId="ADAL" clId="{F5730139-F878-4112-BA36-D2E64262AAE3}" dt="2023-05-29T15:55:55.311" v="2770" actId="20577"/>
          <ac:spMkLst>
            <pc:docMk/>
            <pc:sldMk cId="3640888331" sldId="2147375695"/>
            <ac:spMk id="2" creationId="{00000000-0000-0000-0000-000000000000}"/>
          </ac:spMkLst>
        </pc:spChg>
        <pc:spChg chg="add mod">
          <ac:chgData name="Cyprien DE CHAMBURE" userId="954ca6a6-7c37-422b-ae6a-3f5a5fea4ba3" providerId="ADAL" clId="{F5730139-F878-4112-BA36-D2E64262AAE3}" dt="2023-05-29T15:43:42.878" v="2672" actId="1035"/>
          <ac:spMkLst>
            <pc:docMk/>
            <pc:sldMk cId="3640888331" sldId="2147375695"/>
            <ac:spMk id="3" creationId="{AC0673EE-905E-799F-D663-BB5487C5545A}"/>
          </ac:spMkLst>
        </pc:spChg>
        <pc:spChg chg="mod">
          <ac:chgData name="Cyprien DE CHAMBURE" userId="954ca6a6-7c37-422b-ae6a-3f5a5fea4ba3" providerId="ADAL" clId="{F5730139-F878-4112-BA36-D2E64262AAE3}" dt="2023-05-29T15:38:07.544" v="2489" actId="790"/>
          <ac:spMkLst>
            <pc:docMk/>
            <pc:sldMk cId="3640888331" sldId="2147375695"/>
            <ac:spMk id="5" creationId="{00000000-0000-0000-0000-000000000000}"/>
          </ac:spMkLst>
        </pc:spChg>
        <pc:spChg chg="add mod">
          <ac:chgData name="Cyprien DE CHAMBURE" userId="954ca6a6-7c37-422b-ae6a-3f5a5fea4ba3" providerId="ADAL" clId="{F5730139-F878-4112-BA36-D2E64262AAE3}" dt="2023-05-29T15:38:07.544" v="2489" actId="790"/>
          <ac:spMkLst>
            <pc:docMk/>
            <pc:sldMk cId="3640888331" sldId="2147375695"/>
            <ac:spMk id="6" creationId="{691B54C5-2F95-593B-D594-A946B4B90516}"/>
          </ac:spMkLst>
        </pc:spChg>
        <pc:spChg chg="del mod">
          <ac:chgData name="Cyprien DE CHAMBURE" userId="954ca6a6-7c37-422b-ae6a-3f5a5fea4ba3" providerId="ADAL" clId="{F5730139-F878-4112-BA36-D2E64262AAE3}" dt="2023-05-29T14:23:21.143" v="737" actId="478"/>
          <ac:spMkLst>
            <pc:docMk/>
            <pc:sldMk cId="3640888331" sldId="2147375695"/>
            <ac:spMk id="7" creationId="{7FE6DD3C-0288-5259-0148-67ED3543170F}"/>
          </ac:spMkLst>
        </pc:spChg>
        <pc:spChg chg="add mod">
          <ac:chgData name="Cyprien DE CHAMBURE" userId="954ca6a6-7c37-422b-ae6a-3f5a5fea4ba3" providerId="ADAL" clId="{F5730139-F878-4112-BA36-D2E64262AAE3}" dt="2023-05-29T15:43:42.878" v="2672" actId="1035"/>
          <ac:spMkLst>
            <pc:docMk/>
            <pc:sldMk cId="3640888331" sldId="2147375695"/>
            <ac:spMk id="10" creationId="{185094D7-955B-209E-BEFB-89F67FD43C65}"/>
          </ac:spMkLst>
        </pc:spChg>
        <pc:spChg chg="mod">
          <ac:chgData name="Cyprien DE CHAMBURE" userId="954ca6a6-7c37-422b-ae6a-3f5a5fea4ba3" providerId="ADAL" clId="{F5730139-F878-4112-BA36-D2E64262AAE3}" dt="2023-05-29T15:38:07.544" v="2489" actId="790"/>
          <ac:spMkLst>
            <pc:docMk/>
            <pc:sldMk cId="3640888331" sldId="2147375695"/>
            <ac:spMk id="15" creationId="{6ECE80BD-44BA-4FB4-B913-655627A2F712}"/>
          </ac:spMkLst>
        </pc:spChg>
        <pc:spChg chg="add mod">
          <ac:chgData name="Cyprien DE CHAMBURE" userId="954ca6a6-7c37-422b-ae6a-3f5a5fea4ba3" providerId="ADAL" clId="{F5730139-F878-4112-BA36-D2E64262AAE3}" dt="2023-05-29T15:43:42.878" v="2672" actId="1035"/>
          <ac:spMkLst>
            <pc:docMk/>
            <pc:sldMk cId="3640888331" sldId="2147375695"/>
            <ac:spMk id="20" creationId="{4FA360AB-D0F6-E5F4-1AE9-C8C2BFA563E2}"/>
          </ac:spMkLst>
        </pc:spChg>
        <pc:spChg chg="add mod">
          <ac:chgData name="Cyprien DE CHAMBURE" userId="954ca6a6-7c37-422b-ae6a-3f5a5fea4ba3" providerId="ADAL" clId="{F5730139-F878-4112-BA36-D2E64262AAE3}" dt="2023-05-29T15:43:42.878" v="2672" actId="1035"/>
          <ac:spMkLst>
            <pc:docMk/>
            <pc:sldMk cId="3640888331" sldId="2147375695"/>
            <ac:spMk id="22" creationId="{279B4446-0ADA-FCC9-A019-8776FEF503C0}"/>
          </ac:spMkLst>
        </pc:spChg>
        <pc:spChg chg="add mod ord">
          <ac:chgData name="Cyprien DE CHAMBURE" userId="954ca6a6-7c37-422b-ae6a-3f5a5fea4ba3" providerId="ADAL" clId="{F5730139-F878-4112-BA36-D2E64262AAE3}" dt="2023-05-29T15:43:42.878" v="2672" actId="1035"/>
          <ac:spMkLst>
            <pc:docMk/>
            <pc:sldMk cId="3640888331" sldId="2147375695"/>
            <ac:spMk id="23" creationId="{203A8577-5302-FE02-26F8-F2B6FFD6F79C}"/>
          </ac:spMkLst>
        </pc:spChg>
        <pc:spChg chg="add del mod">
          <ac:chgData name="Cyprien DE CHAMBURE" userId="954ca6a6-7c37-422b-ae6a-3f5a5fea4ba3" providerId="ADAL" clId="{F5730139-F878-4112-BA36-D2E64262AAE3}" dt="2023-05-29T15:38:40.793" v="2506" actId="478"/>
          <ac:spMkLst>
            <pc:docMk/>
            <pc:sldMk cId="3640888331" sldId="2147375695"/>
            <ac:spMk id="24" creationId="{5D9A2AE9-2D45-B537-33D9-811D69293FB7}"/>
          </ac:spMkLst>
        </pc:spChg>
        <pc:spChg chg="add del mod">
          <ac:chgData name="Cyprien DE CHAMBURE" userId="954ca6a6-7c37-422b-ae6a-3f5a5fea4ba3" providerId="ADAL" clId="{F5730139-F878-4112-BA36-D2E64262AAE3}" dt="2023-05-29T15:38:37.229" v="2505" actId="478"/>
          <ac:spMkLst>
            <pc:docMk/>
            <pc:sldMk cId="3640888331" sldId="2147375695"/>
            <ac:spMk id="25" creationId="{559B3193-7954-5F87-7C6C-1D244A0405DD}"/>
          </ac:spMkLst>
        </pc:spChg>
        <pc:spChg chg="add mod">
          <ac:chgData name="Cyprien DE CHAMBURE" userId="954ca6a6-7c37-422b-ae6a-3f5a5fea4ba3" providerId="ADAL" clId="{F5730139-F878-4112-BA36-D2E64262AAE3}" dt="2023-05-29T15:43:42.878" v="2672" actId="1035"/>
          <ac:spMkLst>
            <pc:docMk/>
            <pc:sldMk cId="3640888331" sldId="2147375695"/>
            <ac:spMk id="28" creationId="{660A734B-450D-0005-3F59-1F8DF59A52F6}"/>
          </ac:spMkLst>
        </pc:spChg>
        <pc:spChg chg="add mod">
          <ac:chgData name="Cyprien DE CHAMBURE" userId="954ca6a6-7c37-422b-ae6a-3f5a5fea4ba3" providerId="ADAL" clId="{F5730139-F878-4112-BA36-D2E64262AAE3}" dt="2023-05-29T15:43:42.878" v="2672" actId="1035"/>
          <ac:spMkLst>
            <pc:docMk/>
            <pc:sldMk cId="3640888331" sldId="2147375695"/>
            <ac:spMk id="30" creationId="{AB0E81D4-E919-9BE6-D99A-65B5E2BB5234}"/>
          </ac:spMkLst>
        </pc:spChg>
        <pc:spChg chg="add del mod ord">
          <ac:chgData name="Cyprien DE CHAMBURE" userId="954ca6a6-7c37-422b-ae6a-3f5a5fea4ba3" providerId="ADAL" clId="{F5730139-F878-4112-BA36-D2E64262AAE3}" dt="2023-05-29T15:43:42.878" v="2672" actId="1035"/>
          <ac:spMkLst>
            <pc:docMk/>
            <pc:sldMk cId="3640888331" sldId="2147375695"/>
            <ac:spMk id="31" creationId="{80EB22A6-C1A6-70DD-55B2-F60327C994E3}"/>
          </ac:spMkLst>
        </pc:spChg>
        <pc:spChg chg="add mod">
          <ac:chgData name="Cyprien DE CHAMBURE" userId="954ca6a6-7c37-422b-ae6a-3f5a5fea4ba3" providerId="ADAL" clId="{F5730139-F878-4112-BA36-D2E64262AAE3}" dt="2023-05-29T15:43:42.878" v="2672" actId="1035"/>
          <ac:spMkLst>
            <pc:docMk/>
            <pc:sldMk cId="3640888331" sldId="2147375695"/>
            <ac:spMk id="32" creationId="{95DFF575-756B-56D8-9B84-6668690E8588}"/>
          </ac:spMkLst>
        </pc:spChg>
        <pc:spChg chg="add del mod">
          <ac:chgData name="Cyprien DE CHAMBURE" userId="954ca6a6-7c37-422b-ae6a-3f5a5fea4ba3" providerId="ADAL" clId="{F5730139-F878-4112-BA36-D2E64262AAE3}" dt="2023-05-29T15:36:47.650" v="2429"/>
          <ac:spMkLst>
            <pc:docMk/>
            <pc:sldMk cId="3640888331" sldId="2147375695"/>
            <ac:spMk id="33" creationId="{9BEC9706-6EF5-FACA-074F-DFC0886E6C6B}"/>
          </ac:spMkLst>
        </pc:spChg>
        <pc:spChg chg="add mod ord">
          <ac:chgData name="Cyprien DE CHAMBURE" userId="954ca6a6-7c37-422b-ae6a-3f5a5fea4ba3" providerId="ADAL" clId="{F5730139-F878-4112-BA36-D2E64262AAE3}" dt="2023-05-29T15:43:42.878" v="2672" actId="1035"/>
          <ac:spMkLst>
            <pc:docMk/>
            <pc:sldMk cId="3640888331" sldId="2147375695"/>
            <ac:spMk id="34" creationId="{DF4B218F-2544-29AA-4AC0-61C0C268B7A9}"/>
          </ac:spMkLst>
        </pc:spChg>
        <pc:spChg chg="add mod">
          <ac:chgData name="Cyprien DE CHAMBURE" userId="954ca6a6-7c37-422b-ae6a-3f5a5fea4ba3" providerId="ADAL" clId="{F5730139-F878-4112-BA36-D2E64262AAE3}" dt="2023-05-29T15:43:42.878" v="2672" actId="1035"/>
          <ac:spMkLst>
            <pc:docMk/>
            <pc:sldMk cId="3640888331" sldId="2147375695"/>
            <ac:spMk id="36" creationId="{2E3D3F9A-A055-4AC2-1E0C-9EB84BB0B1E1}"/>
          </ac:spMkLst>
        </pc:spChg>
        <pc:spChg chg="add mod">
          <ac:chgData name="Cyprien DE CHAMBURE" userId="954ca6a6-7c37-422b-ae6a-3f5a5fea4ba3" providerId="ADAL" clId="{F5730139-F878-4112-BA36-D2E64262AAE3}" dt="2023-05-29T15:56:12.629" v="2780" actId="20577"/>
          <ac:spMkLst>
            <pc:docMk/>
            <pc:sldMk cId="3640888331" sldId="2147375695"/>
            <ac:spMk id="37" creationId="{7393B33A-5D26-8BEC-9F88-E7AEBF1D8FD1}"/>
          </ac:spMkLst>
        </pc:spChg>
        <pc:spChg chg="add mod">
          <ac:chgData name="Cyprien DE CHAMBURE" userId="954ca6a6-7c37-422b-ae6a-3f5a5fea4ba3" providerId="ADAL" clId="{F5730139-F878-4112-BA36-D2E64262AAE3}" dt="2023-05-29T15:43:42.878" v="2672" actId="1035"/>
          <ac:spMkLst>
            <pc:docMk/>
            <pc:sldMk cId="3640888331" sldId="2147375695"/>
            <ac:spMk id="38" creationId="{32D154B5-139D-F1DA-D67B-250A039B1E58}"/>
          </ac:spMkLst>
        </pc:spChg>
        <pc:spChg chg="add mod">
          <ac:chgData name="Cyprien DE CHAMBURE" userId="954ca6a6-7c37-422b-ae6a-3f5a5fea4ba3" providerId="ADAL" clId="{F5730139-F878-4112-BA36-D2E64262AAE3}" dt="2023-05-29T15:43:42.878" v="2672" actId="1035"/>
          <ac:spMkLst>
            <pc:docMk/>
            <pc:sldMk cId="3640888331" sldId="2147375695"/>
            <ac:spMk id="40" creationId="{08AA74F1-ACFE-7598-CA42-E5DF49B87765}"/>
          </ac:spMkLst>
        </pc:spChg>
        <pc:spChg chg="add mod">
          <ac:chgData name="Cyprien DE CHAMBURE" userId="954ca6a6-7c37-422b-ae6a-3f5a5fea4ba3" providerId="ADAL" clId="{F5730139-F878-4112-BA36-D2E64262AAE3}" dt="2023-05-29T15:43:42.878" v="2672" actId="1035"/>
          <ac:spMkLst>
            <pc:docMk/>
            <pc:sldMk cId="3640888331" sldId="2147375695"/>
            <ac:spMk id="41" creationId="{BFF9B63E-6095-AAEC-064A-C2026C3272AB}"/>
          </ac:spMkLst>
        </pc:spChg>
        <pc:graphicFrameChg chg="add mod modGraphic">
          <ac:chgData name="Cyprien DE CHAMBURE" userId="954ca6a6-7c37-422b-ae6a-3f5a5fea4ba3" providerId="ADAL" clId="{F5730139-F878-4112-BA36-D2E64262AAE3}" dt="2023-05-29T14:29:48.523" v="914" actId="207"/>
          <ac:graphicFrameMkLst>
            <pc:docMk/>
            <pc:sldMk cId="3640888331" sldId="2147375695"/>
            <ac:graphicFrameMk id="4" creationId="{C834404C-AEA4-5C69-23E4-227D891A12EC}"/>
          </ac:graphicFrameMkLst>
        </pc:graphicFrameChg>
        <pc:picChg chg="del">
          <ac:chgData name="Cyprien DE CHAMBURE" userId="954ca6a6-7c37-422b-ae6a-3f5a5fea4ba3" providerId="ADAL" clId="{F5730139-F878-4112-BA36-D2E64262AAE3}" dt="2023-05-29T13:56:19.761" v="156" actId="478"/>
          <ac:picMkLst>
            <pc:docMk/>
            <pc:sldMk cId="3640888331" sldId="2147375695"/>
            <ac:picMk id="8" creationId="{51ECB133-EA6C-87C2-7BEA-F523F7A8C45A}"/>
          </ac:picMkLst>
        </pc:picChg>
        <pc:picChg chg="del">
          <ac:chgData name="Cyprien DE CHAMBURE" userId="954ca6a6-7c37-422b-ae6a-3f5a5fea4ba3" providerId="ADAL" clId="{F5730139-F878-4112-BA36-D2E64262AAE3}" dt="2023-05-29T13:56:19.761" v="156" actId="478"/>
          <ac:picMkLst>
            <pc:docMk/>
            <pc:sldMk cId="3640888331" sldId="2147375695"/>
            <ac:picMk id="9" creationId="{0A791278-8CA1-51EC-8FF6-68EC3421E2ED}"/>
          </ac:picMkLst>
        </pc:picChg>
        <pc:cxnChg chg="add mod">
          <ac:chgData name="Cyprien DE CHAMBURE" userId="954ca6a6-7c37-422b-ae6a-3f5a5fea4ba3" providerId="ADAL" clId="{F5730139-F878-4112-BA36-D2E64262AAE3}" dt="2023-05-29T15:43:42.878" v="2672" actId="1035"/>
          <ac:cxnSpMkLst>
            <pc:docMk/>
            <pc:sldMk cId="3640888331" sldId="2147375695"/>
            <ac:cxnSpMk id="12" creationId="{796D359C-FD28-7E52-8B5A-778CEBA8455D}"/>
          </ac:cxnSpMkLst>
        </pc:cxnChg>
        <pc:cxnChg chg="add mod">
          <ac:chgData name="Cyprien DE CHAMBURE" userId="954ca6a6-7c37-422b-ae6a-3f5a5fea4ba3" providerId="ADAL" clId="{F5730139-F878-4112-BA36-D2E64262AAE3}" dt="2023-05-29T15:43:42.878" v="2672" actId="1035"/>
          <ac:cxnSpMkLst>
            <pc:docMk/>
            <pc:sldMk cId="3640888331" sldId="2147375695"/>
            <ac:cxnSpMk id="17" creationId="{63E5BC9E-D4FA-D8CD-169D-59A69A856C6A}"/>
          </ac:cxnSpMkLst>
        </pc:cxnChg>
        <pc:cxnChg chg="add mod">
          <ac:chgData name="Cyprien DE CHAMBURE" userId="954ca6a6-7c37-422b-ae6a-3f5a5fea4ba3" providerId="ADAL" clId="{F5730139-F878-4112-BA36-D2E64262AAE3}" dt="2023-05-29T15:43:42.878" v="2672" actId="1035"/>
          <ac:cxnSpMkLst>
            <pc:docMk/>
            <pc:sldMk cId="3640888331" sldId="2147375695"/>
            <ac:cxnSpMk id="18" creationId="{17CE6A59-39F8-DCC5-F875-C5FC8CFC2FB4}"/>
          </ac:cxnSpMkLst>
        </pc:cxnChg>
        <pc:cxnChg chg="add mod">
          <ac:chgData name="Cyprien DE CHAMBURE" userId="954ca6a6-7c37-422b-ae6a-3f5a5fea4ba3" providerId="ADAL" clId="{F5730139-F878-4112-BA36-D2E64262AAE3}" dt="2023-05-29T15:43:42.878" v="2672" actId="1035"/>
          <ac:cxnSpMkLst>
            <pc:docMk/>
            <pc:sldMk cId="3640888331" sldId="2147375695"/>
            <ac:cxnSpMk id="19" creationId="{25DFF24B-52C8-BCBB-1F21-A861961FACE3}"/>
          </ac:cxnSpMkLst>
        </pc:cxnChg>
        <pc:cxnChg chg="add mod">
          <ac:chgData name="Cyprien DE CHAMBURE" userId="954ca6a6-7c37-422b-ae6a-3f5a5fea4ba3" providerId="ADAL" clId="{F5730139-F878-4112-BA36-D2E64262AAE3}" dt="2023-05-29T15:43:42.878" v="2672" actId="1035"/>
          <ac:cxnSpMkLst>
            <pc:docMk/>
            <pc:sldMk cId="3640888331" sldId="2147375695"/>
            <ac:cxnSpMk id="27" creationId="{925B0405-C665-DB41-CA32-9C7023EFEF9C}"/>
          </ac:cxnSpMkLst>
        </pc:cxnChg>
        <pc:cxnChg chg="add mod">
          <ac:chgData name="Cyprien DE CHAMBURE" userId="954ca6a6-7c37-422b-ae6a-3f5a5fea4ba3" providerId="ADAL" clId="{F5730139-F878-4112-BA36-D2E64262AAE3}" dt="2023-05-29T15:43:42.878" v="2672" actId="1035"/>
          <ac:cxnSpMkLst>
            <pc:docMk/>
            <pc:sldMk cId="3640888331" sldId="2147375695"/>
            <ac:cxnSpMk id="35" creationId="{39F89D9C-8E50-8BB1-EB90-299F2F34774F}"/>
          </ac:cxnSpMkLst>
        </pc:cxnChg>
        <pc:cxnChg chg="add mod">
          <ac:chgData name="Cyprien DE CHAMBURE" userId="954ca6a6-7c37-422b-ae6a-3f5a5fea4ba3" providerId="ADAL" clId="{F5730139-F878-4112-BA36-D2E64262AAE3}" dt="2023-05-29T15:43:42.878" v="2672" actId="1035"/>
          <ac:cxnSpMkLst>
            <pc:docMk/>
            <pc:sldMk cId="3640888331" sldId="2147375695"/>
            <ac:cxnSpMk id="39" creationId="{4CE73712-7EE1-918D-3F3C-2643CCA99009}"/>
          </ac:cxnSpMkLst>
        </pc:cxnChg>
      </pc:sldChg>
      <pc:sldChg chg="modSp add mod">
        <pc:chgData name="Cyprien DE CHAMBURE" userId="954ca6a6-7c37-422b-ae6a-3f5a5fea4ba3" providerId="ADAL" clId="{F5730139-F878-4112-BA36-D2E64262AAE3}" dt="2023-05-29T15:12:34.057" v="1658" actId="20577"/>
        <pc:sldMkLst>
          <pc:docMk/>
          <pc:sldMk cId="3374880846" sldId="2147375696"/>
        </pc:sldMkLst>
        <pc:spChg chg="mod">
          <ac:chgData name="Cyprien DE CHAMBURE" userId="954ca6a6-7c37-422b-ae6a-3f5a5fea4ba3" providerId="ADAL" clId="{F5730139-F878-4112-BA36-D2E64262AAE3}" dt="2023-05-29T15:12:34.057" v="1658" actId="20577"/>
          <ac:spMkLst>
            <pc:docMk/>
            <pc:sldMk cId="3374880846" sldId="2147375696"/>
            <ac:spMk id="2" creationId="{A639C8B2-3639-40A4-4C88-77F79F9DA77C}"/>
          </ac:spMkLst>
        </pc:spChg>
        <pc:spChg chg="mod">
          <ac:chgData name="Cyprien DE CHAMBURE" userId="954ca6a6-7c37-422b-ae6a-3f5a5fea4ba3" providerId="ADAL" clId="{F5730139-F878-4112-BA36-D2E64262AAE3}" dt="2023-05-29T14:20:41.742" v="610" actId="20577"/>
          <ac:spMkLst>
            <pc:docMk/>
            <pc:sldMk cId="3374880846" sldId="2147375696"/>
            <ac:spMk id="6" creationId="{951191C7-4D22-74F0-98BF-618CE9C66F00}"/>
          </ac:spMkLst>
        </pc:spChg>
        <pc:spChg chg="mod">
          <ac:chgData name="Cyprien DE CHAMBURE" userId="954ca6a6-7c37-422b-ae6a-3f5a5fea4ba3" providerId="ADAL" clId="{F5730139-F878-4112-BA36-D2E64262AAE3}" dt="2023-05-29T14:21:17.178" v="651" actId="20577"/>
          <ac:spMkLst>
            <pc:docMk/>
            <pc:sldMk cId="3374880846" sldId="2147375696"/>
            <ac:spMk id="8" creationId="{C2EB3E9C-3260-8335-719B-DD371F5E4AA7}"/>
          </ac:spMkLst>
        </pc:spChg>
        <pc:picChg chg="mod">
          <ac:chgData name="Cyprien DE CHAMBURE" userId="954ca6a6-7c37-422b-ae6a-3f5a5fea4ba3" providerId="ADAL" clId="{F5730139-F878-4112-BA36-D2E64262AAE3}" dt="2023-05-29T14:21:05.751" v="631" actId="1035"/>
          <ac:picMkLst>
            <pc:docMk/>
            <pc:sldMk cId="3374880846" sldId="2147375696"/>
            <ac:picMk id="9" creationId="{7BBAB2E4-7FE0-311A-0C8B-71C90C1B9DDF}"/>
          </ac:picMkLst>
        </pc:picChg>
      </pc:sldChg>
      <pc:sldChg chg="modSp add mod">
        <pc:chgData name="Cyprien DE CHAMBURE" userId="954ca6a6-7c37-422b-ae6a-3f5a5fea4ba3" providerId="ADAL" clId="{F5730139-F878-4112-BA36-D2E64262AAE3}" dt="2023-05-29T15:12:45.005" v="1660" actId="20577"/>
        <pc:sldMkLst>
          <pc:docMk/>
          <pc:sldMk cId="3442278717" sldId="2147375697"/>
        </pc:sldMkLst>
        <pc:spChg chg="mod">
          <ac:chgData name="Cyprien DE CHAMBURE" userId="954ca6a6-7c37-422b-ae6a-3f5a5fea4ba3" providerId="ADAL" clId="{F5730139-F878-4112-BA36-D2E64262AAE3}" dt="2023-05-29T15:12:45.005" v="1660" actId="20577"/>
          <ac:spMkLst>
            <pc:docMk/>
            <pc:sldMk cId="3442278717" sldId="2147375697"/>
            <ac:spMk id="4" creationId="{00000000-0000-0000-0000-000000000000}"/>
          </ac:spMkLst>
        </pc:spChg>
      </pc:sldChg>
      <pc:sldChg chg="addSp delSp modSp add mod">
        <pc:chgData name="Cyprien DE CHAMBURE" userId="954ca6a6-7c37-422b-ae6a-3f5a5fea4ba3" providerId="ADAL" clId="{F5730139-F878-4112-BA36-D2E64262AAE3}" dt="2023-05-29T14:41:42.863" v="978" actId="1076"/>
        <pc:sldMkLst>
          <pc:docMk/>
          <pc:sldMk cId="3783331910" sldId="2147375698"/>
        </pc:sldMkLst>
        <pc:spChg chg="mod">
          <ac:chgData name="Cyprien DE CHAMBURE" userId="954ca6a6-7c37-422b-ae6a-3f5a5fea4ba3" providerId="ADAL" clId="{F5730139-F878-4112-BA36-D2E64262AAE3}" dt="2023-05-29T14:31:11.517" v="948"/>
          <ac:spMkLst>
            <pc:docMk/>
            <pc:sldMk cId="3783331910" sldId="2147375698"/>
            <ac:spMk id="2" creationId="{A639C8B2-3639-40A4-4C88-77F79F9DA77C}"/>
          </ac:spMkLst>
        </pc:spChg>
        <pc:spChg chg="mod">
          <ac:chgData name="Cyprien DE CHAMBURE" userId="954ca6a6-7c37-422b-ae6a-3f5a5fea4ba3" providerId="ADAL" clId="{F5730139-F878-4112-BA36-D2E64262AAE3}" dt="2023-05-29T14:31:16.518" v="966" actId="20577"/>
          <ac:spMkLst>
            <pc:docMk/>
            <pc:sldMk cId="3783331910" sldId="2147375698"/>
            <ac:spMk id="6" creationId="{951191C7-4D22-74F0-98BF-618CE9C66F00}"/>
          </ac:spMkLst>
        </pc:spChg>
        <pc:spChg chg="mod">
          <ac:chgData name="Cyprien DE CHAMBURE" userId="954ca6a6-7c37-422b-ae6a-3f5a5fea4ba3" providerId="ADAL" clId="{F5730139-F878-4112-BA36-D2E64262AAE3}" dt="2023-05-29T14:31:19.845" v="967" actId="20577"/>
          <ac:spMkLst>
            <pc:docMk/>
            <pc:sldMk cId="3783331910" sldId="2147375698"/>
            <ac:spMk id="8" creationId="{C2EB3E9C-3260-8335-719B-DD371F5E4AA7}"/>
          </ac:spMkLst>
        </pc:spChg>
        <pc:picChg chg="add del mod">
          <ac:chgData name="Cyprien DE CHAMBURE" userId="954ca6a6-7c37-422b-ae6a-3f5a5fea4ba3" providerId="ADAL" clId="{F5730139-F878-4112-BA36-D2E64262AAE3}" dt="2023-05-29T14:41:35.450" v="974" actId="478"/>
          <ac:picMkLst>
            <pc:docMk/>
            <pc:sldMk cId="3783331910" sldId="2147375698"/>
            <ac:picMk id="3" creationId="{EF40406F-A471-13E6-D0C6-A07B9F7B8970}"/>
          </ac:picMkLst>
        </pc:picChg>
        <pc:picChg chg="add mod">
          <ac:chgData name="Cyprien DE CHAMBURE" userId="954ca6a6-7c37-422b-ae6a-3f5a5fea4ba3" providerId="ADAL" clId="{F5730139-F878-4112-BA36-D2E64262AAE3}" dt="2023-05-29T14:41:42.863" v="978" actId="1076"/>
          <ac:picMkLst>
            <pc:docMk/>
            <pc:sldMk cId="3783331910" sldId="2147375698"/>
            <ac:picMk id="7" creationId="{CB53FBE8-EC2A-7577-398C-9FFB63E5B07E}"/>
          </ac:picMkLst>
        </pc:picChg>
      </pc:sldChg>
      <pc:sldChg chg="del">
        <pc:chgData name="Cyprien DE CHAMBURE" userId="954ca6a6-7c37-422b-ae6a-3f5a5fea4ba3" providerId="ADAL" clId="{F5730139-F878-4112-BA36-D2E64262AAE3}" dt="2023-05-29T13:37:55.870" v="1" actId="47"/>
        <pc:sldMkLst>
          <pc:docMk/>
          <pc:sldMk cId="1168833458" sldId="2147375699"/>
        </pc:sldMkLst>
      </pc:sldChg>
      <pc:sldChg chg="addSp delSp modSp add mod ord">
        <pc:chgData name="Cyprien DE CHAMBURE" userId="954ca6a6-7c37-422b-ae6a-3f5a5fea4ba3" providerId="ADAL" clId="{F5730139-F878-4112-BA36-D2E64262AAE3}" dt="2023-05-29T15:47:00.667" v="2727" actId="20578"/>
        <pc:sldMkLst>
          <pc:docMk/>
          <pc:sldMk cId="3364323823" sldId="2147375699"/>
        </pc:sldMkLst>
        <pc:spChg chg="mod">
          <ac:chgData name="Cyprien DE CHAMBURE" userId="954ca6a6-7c37-422b-ae6a-3f5a5fea4ba3" providerId="ADAL" clId="{F5730139-F878-4112-BA36-D2E64262AAE3}" dt="2023-05-29T14:42:27.018" v="1094" actId="20577"/>
          <ac:spMkLst>
            <pc:docMk/>
            <pc:sldMk cId="3364323823" sldId="2147375699"/>
            <ac:spMk id="6" creationId="{951191C7-4D22-74F0-98BF-618CE9C66F00}"/>
          </ac:spMkLst>
        </pc:spChg>
        <pc:picChg chg="add mod">
          <ac:chgData name="Cyprien DE CHAMBURE" userId="954ca6a6-7c37-422b-ae6a-3f5a5fea4ba3" providerId="ADAL" clId="{F5730139-F878-4112-BA36-D2E64262AAE3}" dt="2023-05-29T14:42:51.149" v="1102" actId="1037"/>
          <ac:picMkLst>
            <pc:docMk/>
            <pc:sldMk cId="3364323823" sldId="2147375699"/>
            <ac:picMk id="3" creationId="{EDB06A2A-5619-6DBB-4485-B370A387DC2E}"/>
          </ac:picMkLst>
        </pc:picChg>
        <pc:picChg chg="del">
          <ac:chgData name="Cyprien DE CHAMBURE" userId="954ca6a6-7c37-422b-ae6a-3f5a5fea4ba3" providerId="ADAL" clId="{F5730139-F878-4112-BA36-D2E64262AAE3}" dt="2023-05-29T14:42:40.525" v="1095" actId="478"/>
          <ac:picMkLst>
            <pc:docMk/>
            <pc:sldMk cId="3364323823" sldId="2147375699"/>
            <ac:picMk id="7" creationId="{CB53FBE8-EC2A-7577-398C-9FFB63E5B07E}"/>
          </ac:picMkLst>
        </pc:picChg>
      </pc:sldChg>
      <pc:sldChg chg="addSp delSp modSp add mod">
        <pc:chgData name="Cyprien DE CHAMBURE" userId="954ca6a6-7c37-422b-ae6a-3f5a5fea4ba3" providerId="ADAL" clId="{F5730139-F878-4112-BA36-D2E64262AAE3}" dt="2023-05-29T14:43:56.838" v="1133" actId="1076"/>
        <pc:sldMkLst>
          <pc:docMk/>
          <pc:sldMk cId="2794569948" sldId="2147375700"/>
        </pc:sldMkLst>
        <pc:spChg chg="mod">
          <ac:chgData name="Cyprien DE CHAMBURE" userId="954ca6a6-7c37-422b-ae6a-3f5a5fea4ba3" providerId="ADAL" clId="{F5730139-F878-4112-BA36-D2E64262AAE3}" dt="2023-05-29T14:43:32.861" v="1123" actId="20577"/>
          <ac:spMkLst>
            <pc:docMk/>
            <pc:sldMk cId="2794569948" sldId="2147375700"/>
            <ac:spMk id="6" creationId="{951191C7-4D22-74F0-98BF-618CE9C66F00}"/>
          </ac:spMkLst>
        </pc:spChg>
        <pc:spChg chg="mod">
          <ac:chgData name="Cyprien DE CHAMBURE" userId="954ca6a6-7c37-422b-ae6a-3f5a5fea4ba3" providerId="ADAL" clId="{F5730139-F878-4112-BA36-D2E64262AAE3}" dt="2023-05-29T14:43:56.838" v="1133" actId="1076"/>
          <ac:spMkLst>
            <pc:docMk/>
            <pc:sldMk cId="2794569948" sldId="2147375700"/>
            <ac:spMk id="8" creationId="{C2EB3E9C-3260-8335-719B-DD371F5E4AA7}"/>
          </ac:spMkLst>
        </pc:spChg>
        <pc:picChg chg="add mod">
          <ac:chgData name="Cyprien DE CHAMBURE" userId="954ca6a6-7c37-422b-ae6a-3f5a5fea4ba3" providerId="ADAL" clId="{F5730139-F878-4112-BA36-D2E64262AAE3}" dt="2023-05-29T14:43:53.782" v="1131" actId="1036"/>
          <ac:picMkLst>
            <pc:docMk/>
            <pc:sldMk cId="2794569948" sldId="2147375700"/>
            <ac:picMk id="3" creationId="{A9028916-E542-CFF3-8372-3BCF7CB7D0BD}"/>
          </ac:picMkLst>
        </pc:picChg>
        <pc:picChg chg="del">
          <ac:chgData name="Cyprien DE CHAMBURE" userId="954ca6a6-7c37-422b-ae6a-3f5a5fea4ba3" providerId="ADAL" clId="{F5730139-F878-4112-BA36-D2E64262AAE3}" dt="2023-05-29T14:43:41.195" v="1124" actId="478"/>
          <ac:picMkLst>
            <pc:docMk/>
            <pc:sldMk cId="2794569948" sldId="2147375700"/>
            <ac:picMk id="7" creationId="{CB53FBE8-EC2A-7577-398C-9FFB63E5B07E}"/>
          </ac:picMkLst>
        </pc:picChg>
      </pc:sldChg>
      <pc:sldChg chg="del">
        <pc:chgData name="Cyprien DE CHAMBURE" userId="954ca6a6-7c37-422b-ae6a-3f5a5fea4ba3" providerId="ADAL" clId="{F5730139-F878-4112-BA36-D2E64262AAE3}" dt="2023-05-29T13:37:55.870" v="1" actId="47"/>
        <pc:sldMkLst>
          <pc:docMk/>
          <pc:sldMk cId="824557985" sldId="2147375701"/>
        </pc:sldMkLst>
      </pc:sldChg>
      <pc:sldChg chg="addSp delSp modSp add mod">
        <pc:chgData name="Cyprien DE CHAMBURE" userId="954ca6a6-7c37-422b-ae6a-3f5a5fea4ba3" providerId="ADAL" clId="{F5730139-F878-4112-BA36-D2E64262AAE3}" dt="2023-05-29T15:47:17.191" v="2768" actId="20577"/>
        <pc:sldMkLst>
          <pc:docMk/>
          <pc:sldMk cId="2197578317" sldId="2147375701"/>
        </pc:sldMkLst>
        <pc:spChg chg="mod">
          <ac:chgData name="Cyprien DE CHAMBURE" userId="954ca6a6-7c37-422b-ae6a-3f5a5fea4ba3" providerId="ADAL" clId="{F5730139-F878-4112-BA36-D2E64262AAE3}" dt="2023-05-29T15:47:17.191" v="2768" actId="20577"/>
          <ac:spMkLst>
            <pc:docMk/>
            <pc:sldMk cId="2197578317" sldId="2147375701"/>
            <ac:spMk id="6" creationId="{951191C7-4D22-74F0-98BF-618CE9C66F00}"/>
          </ac:spMkLst>
        </pc:spChg>
        <pc:picChg chg="add mod">
          <ac:chgData name="Cyprien DE CHAMBURE" userId="954ca6a6-7c37-422b-ae6a-3f5a5fea4ba3" providerId="ADAL" clId="{F5730139-F878-4112-BA36-D2E64262AAE3}" dt="2023-05-29T14:44:21.671" v="1144" actId="1036"/>
          <ac:picMkLst>
            <pc:docMk/>
            <pc:sldMk cId="2197578317" sldId="2147375701"/>
            <ac:picMk id="3" creationId="{797F8CDE-2514-B9C0-04E1-166173012E22}"/>
          </ac:picMkLst>
        </pc:picChg>
        <pc:picChg chg="del">
          <ac:chgData name="Cyprien DE CHAMBURE" userId="954ca6a6-7c37-422b-ae6a-3f5a5fea4ba3" providerId="ADAL" clId="{F5730139-F878-4112-BA36-D2E64262AAE3}" dt="2023-05-29T14:44:09.002" v="1137" actId="478"/>
          <ac:picMkLst>
            <pc:docMk/>
            <pc:sldMk cId="2197578317" sldId="2147375701"/>
            <ac:picMk id="7" creationId="{CB53FBE8-EC2A-7577-398C-9FFB63E5B07E}"/>
          </ac:picMkLst>
        </pc:picChg>
      </pc:sldChg>
      <pc:sldChg chg="del">
        <pc:chgData name="Cyprien DE CHAMBURE" userId="954ca6a6-7c37-422b-ae6a-3f5a5fea4ba3" providerId="ADAL" clId="{F5730139-F878-4112-BA36-D2E64262AAE3}" dt="2023-05-29T13:37:55.870" v="1" actId="47"/>
        <pc:sldMkLst>
          <pc:docMk/>
          <pc:sldMk cId="298785501" sldId="2147375702"/>
        </pc:sldMkLst>
      </pc:sldChg>
      <pc:sldChg chg="addSp delSp modSp new del mod">
        <pc:chgData name="Cyprien DE CHAMBURE" userId="954ca6a6-7c37-422b-ae6a-3f5a5fea4ba3" providerId="ADAL" clId="{F5730139-F878-4112-BA36-D2E64262AAE3}" dt="2023-05-29T14:44:52.756" v="1151" actId="47"/>
        <pc:sldMkLst>
          <pc:docMk/>
          <pc:sldMk cId="4175235242" sldId="2147375702"/>
        </pc:sldMkLst>
        <pc:picChg chg="add del mod">
          <ac:chgData name="Cyprien DE CHAMBURE" userId="954ca6a6-7c37-422b-ae6a-3f5a5fea4ba3" providerId="ADAL" clId="{F5730139-F878-4112-BA36-D2E64262AAE3}" dt="2023-05-29T14:44:50.421" v="1149" actId="21"/>
          <ac:picMkLst>
            <pc:docMk/>
            <pc:sldMk cId="4175235242" sldId="2147375702"/>
            <ac:picMk id="5" creationId="{0E383292-10B0-528E-E7E3-19A794D6E7E6}"/>
          </ac:picMkLst>
        </pc:picChg>
      </pc:sldChg>
      <pc:sldChg chg="del">
        <pc:chgData name="Cyprien DE CHAMBURE" userId="954ca6a6-7c37-422b-ae6a-3f5a5fea4ba3" providerId="ADAL" clId="{F5730139-F878-4112-BA36-D2E64262AAE3}" dt="2023-05-29T13:37:55.870" v="1" actId="47"/>
        <pc:sldMkLst>
          <pc:docMk/>
          <pc:sldMk cId="87826803" sldId="2147375703"/>
        </pc:sldMkLst>
      </pc:sldChg>
      <pc:sldChg chg="addSp delSp modSp add mod">
        <pc:chgData name="Cyprien DE CHAMBURE" userId="954ca6a6-7c37-422b-ae6a-3f5a5fea4ba3" providerId="ADAL" clId="{F5730139-F878-4112-BA36-D2E64262AAE3}" dt="2023-05-29T14:45:40.712" v="1271" actId="20577"/>
        <pc:sldMkLst>
          <pc:docMk/>
          <pc:sldMk cId="1963146839" sldId="2147375703"/>
        </pc:sldMkLst>
        <pc:spChg chg="mod">
          <ac:chgData name="Cyprien DE CHAMBURE" userId="954ca6a6-7c37-422b-ae6a-3f5a5fea4ba3" providerId="ADAL" clId="{F5730139-F878-4112-BA36-D2E64262AAE3}" dt="2023-05-29T14:45:40.712" v="1271" actId="20577"/>
          <ac:spMkLst>
            <pc:docMk/>
            <pc:sldMk cId="1963146839" sldId="2147375703"/>
            <ac:spMk id="2" creationId="{A639C8B2-3639-40A4-4C88-77F79F9DA77C}"/>
          </ac:spMkLst>
        </pc:spChg>
        <pc:spChg chg="mod">
          <ac:chgData name="Cyprien DE CHAMBURE" userId="954ca6a6-7c37-422b-ae6a-3f5a5fea4ba3" providerId="ADAL" clId="{F5730139-F878-4112-BA36-D2E64262AAE3}" dt="2023-05-29T14:45:36.657" v="1268" actId="20577"/>
          <ac:spMkLst>
            <pc:docMk/>
            <pc:sldMk cId="1963146839" sldId="2147375703"/>
            <ac:spMk id="6" creationId="{951191C7-4D22-74F0-98BF-618CE9C66F00}"/>
          </ac:spMkLst>
        </pc:spChg>
        <pc:picChg chg="del">
          <ac:chgData name="Cyprien DE CHAMBURE" userId="954ca6a6-7c37-422b-ae6a-3f5a5fea4ba3" providerId="ADAL" clId="{F5730139-F878-4112-BA36-D2E64262AAE3}" dt="2023-05-29T14:44:48.209" v="1148" actId="478"/>
          <ac:picMkLst>
            <pc:docMk/>
            <pc:sldMk cId="1963146839" sldId="2147375703"/>
            <ac:picMk id="3" creationId="{797F8CDE-2514-B9C0-04E1-166173012E22}"/>
          </ac:picMkLst>
        </pc:picChg>
        <pc:picChg chg="add mod">
          <ac:chgData name="Cyprien DE CHAMBURE" userId="954ca6a6-7c37-422b-ae6a-3f5a5fea4ba3" providerId="ADAL" clId="{F5730139-F878-4112-BA36-D2E64262AAE3}" dt="2023-05-29T14:44:57.622" v="1153" actId="14100"/>
          <ac:picMkLst>
            <pc:docMk/>
            <pc:sldMk cId="1963146839" sldId="2147375703"/>
            <ac:picMk id="7" creationId="{509251DC-266A-A261-CDEA-5D3F2676E46E}"/>
          </ac:picMkLst>
        </pc:picChg>
      </pc:sldChg>
      <pc:sldChg chg="modSp add mod">
        <pc:chgData name="Cyprien DE CHAMBURE" userId="954ca6a6-7c37-422b-ae6a-3f5a5fea4ba3" providerId="ADAL" clId="{F5730139-F878-4112-BA36-D2E64262AAE3}" dt="2023-05-29T14:46:46.663" v="1400" actId="20577"/>
        <pc:sldMkLst>
          <pc:docMk/>
          <pc:sldMk cId="1457911164" sldId="2147375704"/>
        </pc:sldMkLst>
        <pc:spChg chg="mod">
          <ac:chgData name="Cyprien DE CHAMBURE" userId="954ca6a6-7c37-422b-ae6a-3f5a5fea4ba3" providerId="ADAL" clId="{F5730139-F878-4112-BA36-D2E64262AAE3}" dt="2023-05-29T14:46:46.663" v="1400" actId="20577"/>
          <ac:spMkLst>
            <pc:docMk/>
            <pc:sldMk cId="1457911164" sldId="2147375704"/>
            <ac:spMk id="4" creationId="{00000000-0000-0000-0000-000000000000}"/>
          </ac:spMkLst>
        </pc:spChg>
      </pc:sldChg>
      <pc:sldChg chg="addSp delSp modSp add mod">
        <pc:chgData name="Cyprien DE CHAMBURE" userId="954ca6a6-7c37-422b-ae6a-3f5a5fea4ba3" providerId="ADAL" clId="{F5730139-F878-4112-BA36-D2E64262AAE3}" dt="2023-05-29T15:46:47.961" v="2724" actId="403"/>
        <pc:sldMkLst>
          <pc:docMk/>
          <pc:sldMk cId="106923262" sldId="2147375705"/>
        </pc:sldMkLst>
        <pc:spChg chg="mod">
          <ac:chgData name="Cyprien DE CHAMBURE" userId="954ca6a6-7c37-422b-ae6a-3f5a5fea4ba3" providerId="ADAL" clId="{F5730139-F878-4112-BA36-D2E64262AAE3}" dt="2023-05-29T14:46:38.786" v="1379" actId="20577"/>
          <ac:spMkLst>
            <pc:docMk/>
            <pc:sldMk cId="106923262" sldId="2147375705"/>
            <ac:spMk id="2" creationId="{A639C8B2-3639-40A4-4C88-77F79F9DA77C}"/>
          </ac:spMkLst>
        </pc:spChg>
        <pc:spChg chg="mod">
          <ac:chgData name="Cyprien DE CHAMBURE" userId="954ca6a6-7c37-422b-ae6a-3f5a5fea4ba3" providerId="ADAL" clId="{F5730139-F878-4112-BA36-D2E64262AAE3}" dt="2023-05-29T14:51:02.553" v="1638" actId="20577"/>
          <ac:spMkLst>
            <pc:docMk/>
            <pc:sldMk cId="106923262" sldId="2147375705"/>
            <ac:spMk id="6" creationId="{951191C7-4D22-74F0-98BF-618CE9C66F00}"/>
          </ac:spMkLst>
        </pc:spChg>
        <pc:spChg chg="del mod">
          <ac:chgData name="Cyprien DE CHAMBURE" userId="954ca6a6-7c37-422b-ae6a-3f5a5fea4ba3" providerId="ADAL" clId="{F5730139-F878-4112-BA36-D2E64262AAE3}" dt="2023-05-29T15:45:07.193" v="2688" actId="478"/>
          <ac:spMkLst>
            <pc:docMk/>
            <pc:sldMk cId="106923262" sldId="2147375705"/>
            <ac:spMk id="8" creationId="{C2EB3E9C-3260-8335-719B-DD371F5E4AA7}"/>
          </ac:spMkLst>
        </pc:spChg>
        <pc:graphicFrameChg chg="add mod modGraphic">
          <ac:chgData name="Cyprien DE CHAMBURE" userId="954ca6a6-7c37-422b-ae6a-3f5a5fea4ba3" providerId="ADAL" clId="{F5730139-F878-4112-BA36-D2E64262AAE3}" dt="2023-05-29T15:46:47.961" v="2724" actId="403"/>
          <ac:graphicFrameMkLst>
            <pc:docMk/>
            <pc:sldMk cId="106923262" sldId="2147375705"/>
            <ac:graphicFrameMk id="7" creationId="{C6AA51C5-349F-932D-F303-66AB16D2831C}"/>
          </ac:graphicFrameMkLst>
        </pc:graphicFrameChg>
        <pc:picChg chg="del">
          <ac:chgData name="Cyprien DE CHAMBURE" userId="954ca6a6-7c37-422b-ae6a-3f5a5fea4ba3" providerId="ADAL" clId="{F5730139-F878-4112-BA36-D2E64262AAE3}" dt="2023-05-29T14:46:31.147" v="1353" actId="478"/>
          <ac:picMkLst>
            <pc:docMk/>
            <pc:sldMk cId="106923262" sldId="2147375705"/>
            <ac:picMk id="3" creationId="{797F8CDE-2514-B9C0-04E1-166173012E22}"/>
          </ac:picMkLst>
        </pc:picChg>
      </pc:sldChg>
      <pc:sldChg chg="modSp add mod">
        <pc:chgData name="Cyprien DE CHAMBURE" userId="954ca6a6-7c37-422b-ae6a-3f5a5fea4ba3" providerId="ADAL" clId="{F5730139-F878-4112-BA36-D2E64262AAE3}" dt="2023-05-29T14:47:52.942" v="1486" actId="20577"/>
        <pc:sldMkLst>
          <pc:docMk/>
          <pc:sldMk cId="1906754521" sldId="2147375706"/>
        </pc:sldMkLst>
        <pc:spChg chg="mod">
          <ac:chgData name="Cyprien DE CHAMBURE" userId="954ca6a6-7c37-422b-ae6a-3f5a5fea4ba3" providerId="ADAL" clId="{F5730139-F878-4112-BA36-D2E64262AAE3}" dt="2023-05-29T14:47:52.942" v="1486" actId="20577"/>
          <ac:spMkLst>
            <pc:docMk/>
            <pc:sldMk cId="1906754521" sldId="2147375706"/>
            <ac:spMk id="4" creationId="{00000000-0000-0000-0000-000000000000}"/>
          </ac:spMkLst>
        </pc:spChg>
      </pc:sldChg>
      <pc:sldChg chg="modSp add mod">
        <pc:chgData name="Cyprien DE CHAMBURE" userId="954ca6a6-7c37-422b-ae6a-3f5a5fea4ba3" providerId="ADAL" clId="{F5730139-F878-4112-BA36-D2E64262AAE3}" dt="2023-05-29T14:51:10.736" v="1655" actId="20577"/>
        <pc:sldMkLst>
          <pc:docMk/>
          <pc:sldMk cId="3651550940" sldId="2147375707"/>
        </pc:sldMkLst>
        <pc:spChg chg="mod">
          <ac:chgData name="Cyprien DE CHAMBURE" userId="954ca6a6-7c37-422b-ae6a-3f5a5fea4ba3" providerId="ADAL" clId="{F5730139-F878-4112-BA36-D2E64262AAE3}" dt="2023-05-29T14:51:10.736" v="1655" actId="20577"/>
          <ac:spMkLst>
            <pc:docMk/>
            <pc:sldMk cId="3651550940" sldId="2147375707"/>
            <ac:spMk id="6" creationId="{951191C7-4D22-74F0-98BF-618CE9C66F00}"/>
          </ac:spMkLst>
        </pc:spChg>
        <pc:spChg chg="mod">
          <ac:chgData name="Cyprien DE CHAMBURE" userId="954ca6a6-7c37-422b-ae6a-3f5a5fea4ba3" providerId="ADAL" clId="{F5730139-F878-4112-BA36-D2E64262AAE3}" dt="2023-05-29T14:50:33.934" v="1601" actId="1035"/>
          <ac:spMkLst>
            <pc:docMk/>
            <pc:sldMk cId="3651550940" sldId="2147375707"/>
            <ac:spMk id="8" creationId="{C2EB3E9C-3260-8335-719B-DD371F5E4AA7}"/>
          </ac:spMkLst>
        </pc:spChg>
      </pc:sldChg>
      <pc:sldChg chg="add">
        <pc:chgData name="Cyprien DE CHAMBURE" userId="954ca6a6-7c37-422b-ae6a-3f5a5fea4ba3" providerId="ADAL" clId="{F5730139-F878-4112-BA36-D2E64262AAE3}" dt="2023-05-29T15:45:03.606" v="2687"/>
        <pc:sldMkLst>
          <pc:docMk/>
          <pc:sldMk cId="3612344854" sldId="2147375708"/>
        </pc:sldMkLst>
      </pc:sldChg>
      <pc:sldChg chg="modSp mod">
        <pc:chgData name="Cyprien DE CHAMBURE" userId="954ca6a6-7c37-422b-ae6a-3f5a5fea4ba3" providerId="ADAL" clId="{F5730139-F878-4112-BA36-D2E64262AAE3}" dt="2023-06-07T09:29:21.169" v="2821" actId="1036"/>
        <pc:sldMkLst>
          <pc:docMk/>
          <pc:sldMk cId="1651126630" sldId="2147375709"/>
        </pc:sldMkLst>
        <pc:spChg chg="mod">
          <ac:chgData name="Cyprien DE CHAMBURE" userId="954ca6a6-7c37-422b-ae6a-3f5a5fea4ba3" providerId="ADAL" clId="{F5730139-F878-4112-BA36-D2E64262AAE3}" dt="2023-06-07T09:29:21.169" v="2821" actId="1036"/>
          <ac:spMkLst>
            <pc:docMk/>
            <pc:sldMk cId="1651126630" sldId="2147375709"/>
            <ac:spMk id="5" creationId="{00000000-0000-0000-0000-000000000000}"/>
          </ac:spMkLst>
        </pc:spChg>
      </pc:sldChg>
    </pc:docChg>
  </pc:docChgLst>
  <pc:docChgLst>
    <pc:chgData name="Cyprien DE CHAMBURE" userId="954ca6a6-7c37-422b-ae6a-3f5a5fea4ba3" providerId="ADAL" clId="{782B8CA3-36D7-4A50-86F0-ED0C39BEF0F8}"/>
    <pc:docChg chg="undo custSel addSld delSld modSld">
      <pc:chgData name="Cyprien DE CHAMBURE" userId="954ca6a6-7c37-422b-ae6a-3f5a5fea4ba3" providerId="ADAL" clId="{782B8CA3-36D7-4A50-86F0-ED0C39BEF0F8}" dt="2023-05-26T07:52:43.626" v="6451" actId="2165"/>
      <pc:docMkLst>
        <pc:docMk/>
      </pc:docMkLst>
      <pc:sldChg chg="modSp mod">
        <pc:chgData name="Cyprien DE CHAMBURE" userId="954ca6a6-7c37-422b-ae6a-3f5a5fea4ba3" providerId="ADAL" clId="{782B8CA3-36D7-4A50-86F0-ED0C39BEF0F8}" dt="2023-05-11T14:35:34.984" v="29" actId="20577"/>
        <pc:sldMkLst>
          <pc:docMk/>
          <pc:sldMk cId="3663286578" sldId="375"/>
        </pc:sldMkLst>
        <pc:spChg chg="mod">
          <ac:chgData name="Cyprien DE CHAMBURE" userId="954ca6a6-7c37-422b-ae6a-3f5a5fea4ba3" providerId="ADAL" clId="{782B8CA3-36D7-4A50-86F0-ED0C39BEF0F8}" dt="2023-05-11T14:35:34.984" v="29" actId="20577"/>
          <ac:spMkLst>
            <pc:docMk/>
            <pc:sldMk cId="3663286578" sldId="375"/>
            <ac:spMk id="5" creationId="{00000000-0000-0000-0000-000000000000}"/>
          </ac:spMkLst>
        </pc:spChg>
      </pc:sldChg>
      <pc:sldChg chg="modSp mod">
        <pc:chgData name="Cyprien DE CHAMBURE" userId="954ca6a6-7c37-422b-ae6a-3f5a5fea4ba3" providerId="ADAL" clId="{782B8CA3-36D7-4A50-86F0-ED0C39BEF0F8}" dt="2023-05-26T07:52:43.626" v="6451" actId="2165"/>
        <pc:sldMkLst>
          <pc:docMk/>
          <pc:sldMk cId="1238462846" sldId="1484"/>
        </pc:sldMkLst>
        <pc:spChg chg="mod">
          <ac:chgData name="Cyprien DE CHAMBURE" userId="954ca6a6-7c37-422b-ae6a-3f5a5fea4ba3" providerId="ADAL" clId="{782B8CA3-36D7-4A50-86F0-ED0C39BEF0F8}" dt="2023-05-17T12:09:52.242" v="6022" actId="20577"/>
          <ac:spMkLst>
            <pc:docMk/>
            <pc:sldMk cId="1238462846" sldId="1484"/>
            <ac:spMk id="4" creationId="{CE45EE54-FDA9-84CB-217F-B09183157E88}"/>
          </ac:spMkLst>
        </pc:spChg>
        <pc:graphicFrameChg chg="mod modGraphic">
          <ac:chgData name="Cyprien DE CHAMBURE" userId="954ca6a6-7c37-422b-ae6a-3f5a5fea4ba3" providerId="ADAL" clId="{782B8CA3-36D7-4A50-86F0-ED0C39BEF0F8}" dt="2023-05-26T07:52:43.626" v="6451" actId="2165"/>
          <ac:graphicFrameMkLst>
            <pc:docMk/>
            <pc:sldMk cId="1238462846" sldId="1484"/>
            <ac:graphicFrameMk id="3" creationId="{5F08AF27-1CB0-FDA9-1280-9C0D68DC2885}"/>
          </ac:graphicFrameMkLst>
        </pc:graphicFrameChg>
      </pc:sldChg>
      <pc:sldChg chg="del">
        <pc:chgData name="Cyprien DE CHAMBURE" userId="954ca6a6-7c37-422b-ae6a-3f5a5fea4ba3" providerId="ADAL" clId="{782B8CA3-36D7-4A50-86F0-ED0C39BEF0F8}" dt="2023-05-11T15:12:38.580" v="100" actId="47"/>
        <pc:sldMkLst>
          <pc:docMk/>
          <pc:sldMk cId="2714787426" sldId="1624"/>
        </pc:sldMkLst>
      </pc:sldChg>
      <pc:sldChg chg="modSp mod">
        <pc:chgData name="Cyprien DE CHAMBURE" userId="954ca6a6-7c37-422b-ae6a-3f5a5fea4ba3" providerId="ADAL" clId="{782B8CA3-36D7-4A50-86F0-ED0C39BEF0F8}" dt="2023-05-11T19:37:55.409" v="4847" actId="20577"/>
        <pc:sldMkLst>
          <pc:docMk/>
          <pc:sldMk cId="573581300" sldId="1627"/>
        </pc:sldMkLst>
        <pc:spChg chg="mod">
          <ac:chgData name="Cyprien DE CHAMBURE" userId="954ca6a6-7c37-422b-ae6a-3f5a5fea4ba3" providerId="ADAL" clId="{782B8CA3-36D7-4A50-86F0-ED0C39BEF0F8}" dt="2023-05-11T19:37:17.068" v="4723" actId="20577"/>
          <ac:spMkLst>
            <pc:docMk/>
            <pc:sldMk cId="573581300" sldId="1627"/>
            <ac:spMk id="10" creationId="{6CCD590B-B70F-4EE7-BE01-5D30F8226878}"/>
          </ac:spMkLst>
        </pc:spChg>
        <pc:spChg chg="mod">
          <ac:chgData name="Cyprien DE CHAMBURE" userId="954ca6a6-7c37-422b-ae6a-3f5a5fea4ba3" providerId="ADAL" clId="{782B8CA3-36D7-4A50-86F0-ED0C39BEF0F8}" dt="2023-05-11T19:37:55.409" v="4847" actId="20577"/>
          <ac:spMkLst>
            <pc:docMk/>
            <pc:sldMk cId="573581300" sldId="1627"/>
            <ac:spMk id="16" creationId="{13F21443-9B2D-4729-A0F2-4E09892C9114}"/>
          </ac:spMkLst>
        </pc:spChg>
      </pc:sldChg>
      <pc:sldChg chg="modSp mod">
        <pc:chgData name="Cyprien DE CHAMBURE" userId="954ca6a6-7c37-422b-ae6a-3f5a5fea4ba3" providerId="ADAL" clId="{782B8CA3-36D7-4A50-86F0-ED0C39BEF0F8}" dt="2023-05-17T08:36:55.987" v="5823" actId="20577"/>
        <pc:sldMkLst>
          <pc:docMk/>
          <pc:sldMk cId="3015061511" sldId="1628"/>
        </pc:sldMkLst>
        <pc:graphicFrameChg chg="mod modGraphic">
          <ac:chgData name="Cyprien DE CHAMBURE" userId="954ca6a6-7c37-422b-ae6a-3f5a5fea4ba3" providerId="ADAL" clId="{782B8CA3-36D7-4A50-86F0-ED0C39BEF0F8}" dt="2023-05-17T08:36:55.987" v="5823" actId="20577"/>
          <ac:graphicFrameMkLst>
            <pc:docMk/>
            <pc:sldMk cId="3015061511" sldId="1628"/>
            <ac:graphicFrameMk id="3" creationId="{475DC004-A18E-40A2-91BD-0F0AA309CC83}"/>
          </ac:graphicFrameMkLst>
        </pc:graphicFrameChg>
      </pc:sldChg>
      <pc:sldChg chg="modSp mod">
        <pc:chgData name="Cyprien DE CHAMBURE" userId="954ca6a6-7c37-422b-ae6a-3f5a5fea4ba3" providerId="ADAL" clId="{782B8CA3-36D7-4A50-86F0-ED0C39BEF0F8}" dt="2023-05-25T14:45:16.058" v="6386" actId="207"/>
        <pc:sldMkLst>
          <pc:docMk/>
          <pc:sldMk cId="4086594777" sldId="2146847021"/>
        </pc:sldMkLst>
        <pc:spChg chg="mod">
          <ac:chgData name="Cyprien DE CHAMBURE" userId="954ca6a6-7c37-422b-ae6a-3f5a5fea4ba3" providerId="ADAL" clId="{782B8CA3-36D7-4A50-86F0-ED0C39BEF0F8}" dt="2023-05-25T14:45:16.058" v="6386" actId="207"/>
          <ac:spMkLst>
            <pc:docMk/>
            <pc:sldMk cId="4086594777" sldId="2146847021"/>
            <ac:spMk id="9" creationId="{AF0B4955-EBD1-469E-B6CB-0E7DFC9CA2CD}"/>
          </ac:spMkLst>
        </pc:spChg>
      </pc:sldChg>
      <pc:sldChg chg="modSp mod">
        <pc:chgData name="Cyprien DE CHAMBURE" userId="954ca6a6-7c37-422b-ae6a-3f5a5fea4ba3" providerId="ADAL" clId="{782B8CA3-36D7-4A50-86F0-ED0C39BEF0F8}" dt="2023-05-16T11:10:21.784" v="4881" actId="20577"/>
        <pc:sldMkLst>
          <pc:docMk/>
          <pc:sldMk cId="4208128481" sldId="2146847028"/>
        </pc:sldMkLst>
        <pc:spChg chg="mod">
          <ac:chgData name="Cyprien DE CHAMBURE" userId="954ca6a6-7c37-422b-ae6a-3f5a5fea4ba3" providerId="ADAL" clId="{782B8CA3-36D7-4A50-86F0-ED0C39BEF0F8}" dt="2023-05-16T11:10:21.784" v="4881" actId="20577"/>
          <ac:spMkLst>
            <pc:docMk/>
            <pc:sldMk cId="4208128481" sldId="2146847028"/>
            <ac:spMk id="7" creationId="{5A6E50BE-9601-8E41-1683-EA26EA3EBBD0}"/>
          </ac:spMkLst>
        </pc:spChg>
      </pc:sldChg>
      <pc:sldChg chg="addSp delSp modSp mod">
        <pc:chgData name="Cyprien DE CHAMBURE" userId="954ca6a6-7c37-422b-ae6a-3f5a5fea4ba3" providerId="ADAL" clId="{782B8CA3-36D7-4A50-86F0-ED0C39BEF0F8}" dt="2023-05-16T14:44:27.286" v="5486" actId="20577"/>
        <pc:sldMkLst>
          <pc:docMk/>
          <pc:sldMk cId="3689621063" sldId="2146847033"/>
        </pc:sldMkLst>
        <pc:spChg chg="del">
          <ac:chgData name="Cyprien DE CHAMBURE" userId="954ca6a6-7c37-422b-ae6a-3f5a5fea4ba3" providerId="ADAL" clId="{782B8CA3-36D7-4A50-86F0-ED0C39BEF0F8}" dt="2023-05-11T15:53:45.795" v="2318" actId="478"/>
          <ac:spMkLst>
            <pc:docMk/>
            <pc:sldMk cId="3689621063" sldId="2146847033"/>
            <ac:spMk id="3" creationId="{E30371AE-BD9D-BF9E-7954-51FB05FE64D9}"/>
          </ac:spMkLst>
        </pc:spChg>
        <pc:spChg chg="add mod">
          <ac:chgData name="Cyprien DE CHAMBURE" userId="954ca6a6-7c37-422b-ae6a-3f5a5fea4ba3" providerId="ADAL" clId="{782B8CA3-36D7-4A50-86F0-ED0C39BEF0F8}" dt="2023-05-16T14:44:27.286" v="5486" actId="20577"/>
          <ac:spMkLst>
            <pc:docMk/>
            <pc:sldMk cId="3689621063" sldId="2146847033"/>
            <ac:spMk id="4" creationId="{4B3007C0-B769-BFCC-A3F7-4E3D60507AAF}"/>
          </ac:spMkLst>
        </pc:spChg>
      </pc:sldChg>
      <pc:sldChg chg="addSp delSp modSp mod">
        <pc:chgData name="Cyprien DE CHAMBURE" userId="954ca6a6-7c37-422b-ae6a-3f5a5fea4ba3" providerId="ADAL" clId="{782B8CA3-36D7-4A50-86F0-ED0C39BEF0F8}" dt="2023-05-25T14:34:00.895" v="6375" actId="478"/>
        <pc:sldMkLst>
          <pc:docMk/>
          <pc:sldMk cId="1222101992" sldId="2146847036"/>
        </pc:sldMkLst>
        <pc:spChg chg="mod">
          <ac:chgData name="Cyprien DE CHAMBURE" userId="954ca6a6-7c37-422b-ae6a-3f5a5fea4ba3" providerId="ADAL" clId="{782B8CA3-36D7-4A50-86F0-ED0C39BEF0F8}" dt="2023-05-11T15:54:58.512" v="2354" actId="14100"/>
          <ac:spMkLst>
            <pc:docMk/>
            <pc:sldMk cId="1222101992" sldId="2146847036"/>
            <ac:spMk id="10" creationId="{55B8E2A1-393B-6351-9508-603F9F8B3125}"/>
          </ac:spMkLst>
        </pc:spChg>
        <pc:spChg chg="mod">
          <ac:chgData name="Cyprien DE CHAMBURE" userId="954ca6a6-7c37-422b-ae6a-3f5a5fea4ba3" providerId="ADAL" clId="{782B8CA3-36D7-4A50-86F0-ED0C39BEF0F8}" dt="2023-05-11T15:54:42.297" v="2353" actId="1076"/>
          <ac:spMkLst>
            <pc:docMk/>
            <pc:sldMk cId="1222101992" sldId="2146847036"/>
            <ac:spMk id="12" creationId="{13C4DB73-5541-515B-3A66-315EB0C15C5B}"/>
          </ac:spMkLst>
        </pc:spChg>
        <pc:spChg chg="mod">
          <ac:chgData name="Cyprien DE CHAMBURE" userId="954ca6a6-7c37-422b-ae6a-3f5a5fea4ba3" providerId="ADAL" clId="{782B8CA3-36D7-4A50-86F0-ED0C39BEF0F8}" dt="2023-05-11T15:54:42.297" v="2353" actId="1076"/>
          <ac:spMkLst>
            <pc:docMk/>
            <pc:sldMk cId="1222101992" sldId="2146847036"/>
            <ac:spMk id="13" creationId="{C6BB8DEC-DF71-31CD-2990-402963A84FBD}"/>
          </ac:spMkLst>
        </pc:spChg>
        <pc:spChg chg="add del mod">
          <ac:chgData name="Cyprien DE CHAMBURE" userId="954ca6a6-7c37-422b-ae6a-3f5a5fea4ba3" providerId="ADAL" clId="{782B8CA3-36D7-4A50-86F0-ED0C39BEF0F8}" dt="2023-05-25T14:34:00.895" v="6375" actId="478"/>
          <ac:spMkLst>
            <pc:docMk/>
            <pc:sldMk cId="1222101992" sldId="2146847036"/>
            <ac:spMk id="42" creationId="{425A8CC1-7662-2D0D-8B74-863E71989071}"/>
          </ac:spMkLst>
        </pc:spChg>
        <pc:graphicFrameChg chg="mod">
          <ac:chgData name="Cyprien DE CHAMBURE" userId="954ca6a6-7c37-422b-ae6a-3f5a5fea4ba3" providerId="ADAL" clId="{782B8CA3-36D7-4A50-86F0-ED0C39BEF0F8}" dt="2023-05-25T14:33:55.678" v="6373" actId="1076"/>
          <ac:graphicFrameMkLst>
            <pc:docMk/>
            <pc:sldMk cId="1222101992" sldId="2146847036"/>
            <ac:graphicFrameMk id="3" creationId="{1E7A25F7-32D7-AC65-BD8B-1330A962C8A6}"/>
          </ac:graphicFrameMkLst>
        </pc:graphicFrameChg>
        <pc:cxnChg chg="mod">
          <ac:chgData name="Cyprien DE CHAMBURE" userId="954ca6a6-7c37-422b-ae6a-3f5a5fea4ba3" providerId="ADAL" clId="{782B8CA3-36D7-4A50-86F0-ED0C39BEF0F8}" dt="2023-05-11T15:54:29.376" v="2348" actId="1037"/>
          <ac:cxnSpMkLst>
            <pc:docMk/>
            <pc:sldMk cId="1222101992" sldId="2146847036"/>
            <ac:cxnSpMk id="14" creationId="{DAC82A32-1F44-5C3B-7327-973E8565E4A9}"/>
          </ac:cxnSpMkLst>
        </pc:cxnChg>
      </pc:sldChg>
      <pc:sldChg chg="modSp mod">
        <pc:chgData name="Cyprien DE CHAMBURE" userId="954ca6a6-7c37-422b-ae6a-3f5a5fea4ba3" providerId="ADAL" clId="{782B8CA3-36D7-4A50-86F0-ED0C39BEF0F8}" dt="2023-05-11T16:26:22.965" v="3912" actId="20577"/>
        <pc:sldMkLst>
          <pc:docMk/>
          <pc:sldMk cId="527443829" sldId="2146847051"/>
        </pc:sldMkLst>
        <pc:spChg chg="mod">
          <ac:chgData name="Cyprien DE CHAMBURE" userId="954ca6a6-7c37-422b-ae6a-3f5a5fea4ba3" providerId="ADAL" clId="{782B8CA3-36D7-4A50-86F0-ED0C39BEF0F8}" dt="2023-05-11T16:26:22.965" v="3912" actId="20577"/>
          <ac:spMkLst>
            <pc:docMk/>
            <pc:sldMk cId="527443829" sldId="2146847051"/>
            <ac:spMk id="10" creationId="{87DE51B1-5052-4085-BCC6-D3474C0C80CF}"/>
          </ac:spMkLst>
        </pc:spChg>
      </pc:sldChg>
      <pc:sldChg chg="del">
        <pc:chgData name="Cyprien DE CHAMBURE" userId="954ca6a6-7c37-422b-ae6a-3f5a5fea4ba3" providerId="ADAL" clId="{782B8CA3-36D7-4A50-86F0-ED0C39BEF0F8}" dt="2023-05-11T15:54:05.718" v="2321" actId="47"/>
        <pc:sldMkLst>
          <pc:docMk/>
          <pc:sldMk cId="2270800957" sldId="2146847053"/>
        </pc:sldMkLst>
      </pc:sldChg>
      <pc:sldChg chg="addSp delSp modSp mod">
        <pc:chgData name="Cyprien DE CHAMBURE" userId="954ca6a6-7c37-422b-ae6a-3f5a5fea4ba3" providerId="ADAL" clId="{782B8CA3-36D7-4A50-86F0-ED0C39BEF0F8}" dt="2023-05-16T14:07:38.198" v="5174" actId="20577"/>
        <pc:sldMkLst>
          <pc:docMk/>
          <pc:sldMk cId="4246732626" sldId="2146847054"/>
        </pc:sldMkLst>
        <pc:spChg chg="del">
          <ac:chgData name="Cyprien DE CHAMBURE" userId="954ca6a6-7c37-422b-ae6a-3f5a5fea4ba3" providerId="ADAL" clId="{782B8CA3-36D7-4A50-86F0-ED0C39BEF0F8}" dt="2023-05-11T15:52:55.310" v="2316" actId="478"/>
          <ac:spMkLst>
            <pc:docMk/>
            <pc:sldMk cId="4246732626" sldId="2146847054"/>
            <ac:spMk id="3" creationId="{DE2435D4-B6C5-DB11-0FF5-5620A3B371E1}"/>
          </ac:spMkLst>
        </pc:spChg>
        <pc:spChg chg="add mod">
          <ac:chgData name="Cyprien DE CHAMBURE" userId="954ca6a6-7c37-422b-ae6a-3f5a5fea4ba3" providerId="ADAL" clId="{782B8CA3-36D7-4A50-86F0-ED0C39BEF0F8}" dt="2023-05-16T14:06:24.657" v="5154" actId="21"/>
          <ac:spMkLst>
            <pc:docMk/>
            <pc:sldMk cId="4246732626" sldId="2146847054"/>
            <ac:spMk id="4" creationId="{A32D5918-8F81-47DF-6442-72C2E7ED963E}"/>
          </ac:spMkLst>
        </pc:spChg>
        <pc:spChg chg="add mod">
          <ac:chgData name="Cyprien DE CHAMBURE" userId="954ca6a6-7c37-422b-ae6a-3f5a5fea4ba3" providerId="ADAL" clId="{782B8CA3-36D7-4A50-86F0-ED0C39BEF0F8}" dt="2023-05-16T14:07:38.198" v="5174" actId="20577"/>
          <ac:spMkLst>
            <pc:docMk/>
            <pc:sldMk cId="4246732626" sldId="2146847054"/>
            <ac:spMk id="7" creationId="{A5A15BAF-C0DD-8B40-1E50-2A94B741A68D}"/>
          </ac:spMkLst>
        </pc:spChg>
        <pc:picChg chg="add mod">
          <ac:chgData name="Cyprien DE CHAMBURE" userId="954ca6a6-7c37-422b-ae6a-3f5a5fea4ba3" providerId="ADAL" clId="{782B8CA3-36D7-4A50-86F0-ED0C39BEF0F8}" dt="2023-05-16T14:06:51.916" v="5171" actId="1038"/>
          <ac:picMkLst>
            <pc:docMk/>
            <pc:sldMk cId="4246732626" sldId="2146847054"/>
            <ac:picMk id="6" creationId="{C81A6EB4-6702-5E32-7861-6758068D8A2F}"/>
          </ac:picMkLst>
        </pc:picChg>
      </pc:sldChg>
      <pc:sldChg chg="del">
        <pc:chgData name="Cyprien DE CHAMBURE" userId="954ca6a6-7c37-422b-ae6a-3f5a5fea4ba3" providerId="ADAL" clId="{782B8CA3-36D7-4A50-86F0-ED0C39BEF0F8}" dt="2023-05-11T15:32:08.307" v="1511" actId="47"/>
        <pc:sldMkLst>
          <pc:docMk/>
          <pc:sldMk cId="154099165" sldId="2147375662"/>
        </pc:sldMkLst>
      </pc:sldChg>
      <pc:sldChg chg="addSp delSp modSp mod">
        <pc:chgData name="Cyprien DE CHAMBURE" userId="954ca6a6-7c37-422b-ae6a-3f5a5fea4ba3" providerId="ADAL" clId="{782B8CA3-36D7-4A50-86F0-ED0C39BEF0F8}" dt="2023-05-25T14:35:14.342" v="6379" actId="20577"/>
        <pc:sldMkLst>
          <pc:docMk/>
          <pc:sldMk cId="753387726" sldId="2147375666"/>
        </pc:sldMkLst>
        <pc:spChg chg="del">
          <ac:chgData name="Cyprien DE CHAMBURE" userId="954ca6a6-7c37-422b-ae6a-3f5a5fea4ba3" providerId="ADAL" clId="{782B8CA3-36D7-4A50-86F0-ED0C39BEF0F8}" dt="2023-05-11T15:55:52.358" v="2355" actId="478"/>
          <ac:spMkLst>
            <pc:docMk/>
            <pc:sldMk cId="753387726" sldId="2147375666"/>
            <ac:spMk id="3" creationId="{9AD034A3-FB05-7402-B48D-C23F41CD87D9}"/>
          </ac:spMkLst>
        </pc:spChg>
        <pc:spChg chg="add mod">
          <ac:chgData name="Cyprien DE CHAMBURE" userId="954ca6a6-7c37-422b-ae6a-3f5a5fea4ba3" providerId="ADAL" clId="{782B8CA3-36D7-4A50-86F0-ED0C39BEF0F8}" dt="2023-05-25T14:35:14.342" v="6379" actId="20577"/>
          <ac:spMkLst>
            <pc:docMk/>
            <pc:sldMk cId="753387726" sldId="2147375666"/>
            <ac:spMk id="4" creationId="{E5D60555-2A1C-34B1-386F-F356E39CAD4B}"/>
          </ac:spMkLst>
        </pc:spChg>
        <pc:picChg chg="add del mod">
          <ac:chgData name="Cyprien DE CHAMBURE" userId="954ca6a6-7c37-422b-ae6a-3f5a5fea4ba3" providerId="ADAL" clId="{782B8CA3-36D7-4A50-86F0-ED0C39BEF0F8}" dt="2023-05-16T13:51:31.878" v="4882" actId="478"/>
          <ac:picMkLst>
            <pc:docMk/>
            <pc:sldMk cId="753387726" sldId="2147375666"/>
            <ac:picMk id="6" creationId="{5A85455A-D854-D4DD-622F-00CCB4D9F6E4}"/>
          </ac:picMkLst>
        </pc:picChg>
        <pc:picChg chg="add mod">
          <ac:chgData name="Cyprien DE CHAMBURE" userId="954ca6a6-7c37-422b-ae6a-3f5a5fea4ba3" providerId="ADAL" clId="{782B8CA3-36D7-4A50-86F0-ED0C39BEF0F8}" dt="2023-05-16T13:52:50.928" v="4940" actId="1036"/>
          <ac:picMkLst>
            <pc:docMk/>
            <pc:sldMk cId="753387726" sldId="2147375666"/>
            <ac:picMk id="1026" creationId="{4FD6EF7D-EC08-851D-4BAD-0C297704A40F}"/>
          </ac:picMkLst>
        </pc:picChg>
      </pc:sldChg>
      <pc:sldChg chg="modSp mod">
        <pc:chgData name="Cyprien DE CHAMBURE" userId="954ca6a6-7c37-422b-ae6a-3f5a5fea4ba3" providerId="ADAL" clId="{782B8CA3-36D7-4A50-86F0-ED0C39BEF0F8}" dt="2023-05-11T16:17:26.030" v="3478" actId="20577"/>
        <pc:sldMkLst>
          <pc:docMk/>
          <pc:sldMk cId="3392503864" sldId="2147375668"/>
        </pc:sldMkLst>
        <pc:spChg chg="mod">
          <ac:chgData name="Cyprien DE CHAMBURE" userId="954ca6a6-7c37-422b-ae6a-3f5a5fea4ba3" providerId="ADAL" clId="{782B8CA3-36D7-4A50-86F0-ED0C39BEF0F8}" dt="2023-05-11T16:13:27.337" v="2920" actId="6549"/>
          <ac:spMkLst>
            <pc:docMk/>
            <pc:sldMk cId="3392503864" sldId="2147375668"/>
            <ac:spMk id="6" creationId="{00000000-0000-0000-0000-000000000000}"/>
          </ac:spMkLst>
        </pc:spChg>
        <pc:spChg chg="mod">
          <ac:chgData name="Cyprien DE CHAMBURE" userId="954ca6a6-7c37-422b-ae6a-3f5a5fea4ba3" providerId="ADAL" clId="{782B8CA3-36D7-4A50-86F0-ED0C39BEF0F8}" dt="2023-05-11T16:17:26.030" v="3478" actId="20577"/>
          <ac:spMkLst>
            <pc:docMk/>
            <pc:sldMk cId="3392503864" sldId="2147375668"/>
            <ac:spMk id="8" creationId="{A1D54523-6D95-7FF5-253F-E1BBAFB2D930}"/>
          </ac:spMkLst>
        </pc:spChg>
      </pc:sldChg>
      <pc:sldChg chg="addSp delSp modSp mod">
        <pc:chgData name="Cyprien DE CHAMBURE" userId="954ca6a6-7c37-422b-ae6a-3f5a5fea4ba3" providerId="ADAL" clId="{782B8CA3-36D7-4A50-86F0-ED0C39BEF0F8}" dt="2023-05-11T15:34:06.760" v="1601" actId="20577"/>
        <pc:sldMkLst>
          <pc:docMk/>
          <pc:sldMk cId="1478713363" sldId="2147375688"/>
        </pc:sldMkLst>
        <pc:spChg chg="add mod">
          <ac:chgData name="Cyprien DE CHAMBURE" userId="954ca6a6-7c37-422b-ae6a-3f5a5fea4ba3" providerId="ADAL" clId="{782B8CA3-36D7-4A50-86F0-ED0C39BEF0F8}" dt="2023-05-11T15:31:43.788" v="1502"/>
          <ac:spMkLst>
            <pc:docMk/>
            <pc:sldMk cId="1478713363" sldId="2147375688"/>
            <ac:spMk id="3" creationId="{EE757080-BF66-235B-33A4-56DCA4E23B7B}"/>
          </ac:spMkLst>
        </pc:spChg>
        <pc:spChg chg="del mod">
          <ac:chgData name="Cyprien DE CHAMBURE" userId="954ca6a6-7c37-422b-ae6a-3f5a5fea4ba3" providerId="ADAL" clId="{782B8CA3-36D7-4A50-86F0-ED0C39BEF0F8}" dt="2023-05-11T15:31:46.193" v="1503" actId="21"/>
          <ac:spMkLst>
            <pc:docMk/>
            <pc:sldMk cId="1478713363" sldId="2147375688"/>
            <ac:spMk id="4" creationId="{F70DFF4A-0C11-A2B5-3D68-F738965BF93C}"/>
          </ac:spMkLst>
        </pc:spChg>
        <pc:spChg chg="add del mod">
          <ac:chgData name="Cyprien DE CHAMBURE" userId="954ca6a6-7c37-422b-ae6a-3f5a5fea4ba3" providerId="ADAL" clId="{782B8CA3-36D7-4A50-86F0-ED0C39BEF0F8}" dt="2023-05-11T15:31:53.798" v="1506" actId="478"/>
          <ac:spMkLst>
            <pc:docMk/>
            <pc:sldMk cId="1478713363" sldId="2147375688"/>
            <ac:spMk id="7" creationId="{5C7F9A63-538E-E4EA-A65C-B63AC20C4575}"/>
          </ac:spMkLst>
        </pc:spChg>
        <pc:spChg chg="mod">
          <ac:chgData name="Cyprien DE CHAMBURE" userId="954ca6a6-7c37-422b-ae6a-3f5a5fea4ba3" providerId="ADAL" clId="{782B8CA3-36D7-4A50-86F0-ED0C39BEF0F8}" dt="2023-05-11T15:34:06.760" v="1601" actId="20577"/>
          <ac:spMkLst>
            <pc:docMk/>
            <pc:sldMk cId="1478713363" sldId="2147375688"/>
            <ac:spMk id="15" creationId="{6ECE80BD-44BA-4FB4-B913-655627A2F712}"/>
          </ac:spMkLst>
        </pc:spChg>
      </pc:sldChg>
      <pc:sldChg chg="modSp mod">
        <pc:chgData name="Cyprien DE CHAMBURE" userId="954ca6a6-7c37-422b-ae6a-3f5a5fea4ba3" providerId="ADAL" clId="{782B8CA3-36D7-4A50-86F0-ED0C39BEF0F8}" dt="2023-05-16T17:18:51.609" v="5801" actId="20577"/>
        <pc:sldMkLst>
          <pc:docMk/>
          <pc:sldMk cId="4259021300" sldId="2147375691"/>
        </pc:sldMkLst>
        <pc:spChg chg="mod">
          <ac:chgData name="Cyprien DE CHAMBURE" userId="954ca6a6-7c37-422b-ae6a-3f5a5fea4ba3" providerId="ADAL" clId="{782B8CA3-36D7-4A50-86F0-ED0C39BEF0F8}" dt="2023-05-16T17:18:51.609" v="5801" actId="20577"/>
          <ac:spMkLst>
            <pc:docMk/>
            <pc:sldMk cId="4259021300" sldId="2147375691"/>
            <ac:spMk id="8" creationId="{A1D54523-6D95-7FF5-253F-E1BBAFB2D930}"/>
          </ac:spMkLst>
        </pc:spChg>
      </pc:sldChg>
      <pc:sldChg chg="addSp modSp mod">
        <pc:chgData name="Cyprien DE CHAMBURE" userId="954ca6a6-7c37-422b-ae6a-3f5a5fea4ba3" providerId="ADAL" clId="{782B8CA3-36D7-4A50-86F0-ED0C39BEF0F8}" dt="2023-05-25T13:26:54.723" v="6143" actId="20577"/>
        <pc:sldMkLst>
          <pc:docMk/>
          <pc:sldMk cId="1950768040" sldId="2147375692"/>
        </pc:sldMkLst>
        <pc:spChg chg="add mod">
          <ac:chgData name="Cyprien DE CHAMBURE" userId="954ca6a6-7c37-422b-ae6a-3f5a5fea4ba3" providerId="ADAL" clId="{782B8CA3-36D7-4A50-86F0-ED0C39BEF0F8}" dt="2023-05-25T13:26:54.723" v="6143" actId="20577"/>
          <ac:spMkLst>
            <pc:docMk/>
            <pc:sldMk cId="1950768040" sldId="2147375692"/>
            <ac:spMk id="3" creationId="{2ED28C4D-0D2D-4C6F-DE43-A623B4CE7012}"/>
          </ac:spMkLst>
        </pc:spChg>
        <pc:spChg chg="mod">
          <ac:chgData name="Cyprien DE CHAMBURE" userId="954ca6a6-7c37-422b-ae6a-3f5a5fea4ba3" providerId="ADAL" clId="{782B8CA3-36D7-4A50-86F0-ED0C39BEF0F8}" dt="2023-05-16T14:36:20.101" v="5342" actId="20577"/>
          <ac:spMkLst>
            <pc:docMk/>
            <pc:sldMk cId="1950768040" sldId="2147375692"/>
            <ac:spMk id="10" creationId="{87DE51B1-5052-4085-BCC6-D3474C0C80CF}"/>
          </ac:spMkLst>
        </pc:spChg>
        <pc:spChg chg="mod">
          <ac:chgData name="Cyprien DE CHAMBURE" userId="954ca6a6-7c37-422b-ae6a-3f5a5fea4ba3" providerId="ADAL" clId="{782B8CA3-36D7-4A50-86F0-ED0C39BEF0F8}" dt="2023-05-11T15:14:05.743" v="146" actId="6549"/>
          <ac:spMkLst>
            <pc:docMk/>
            <pc:sldMk cId="1950768040" sldId="2147375692"/>
            <ac:spMk id="15" creationId="{6ECE80BD-44BA-4FB4-B913-655627A2F712}"/>
          </ac:spMkLst>
        </pc:spChg>
      </pc:sldChg>
      <pc:sldChg chg="del">
        <pc:chgData name="Cyprien DE CHAMBURE" userId="954ca6a6-7c37-422b-ae6a-3f5a5fea4ba3" providerId="ADAL" clId="{782B8CA3-36D7-4A50-86F0-ED0C39BEF0F8}" dt="2023-05-11T15:39:30.906" v="2315" actId="47"/>
        <pc:sldMkLst>
          <pc:docMk/>
          <pc:sldMk cId="2673920977" sldId="2147375693"/>
        </pc:sldMkLst>
      </pc:sldChg>
      <pc:sldChg chg="del">
        <pc:chgData name="Cyprien DE CHAMBURE" userId="954ca6a6-7c37-422b-ae6a-3f5a5fea4ba3" providerId="ADAL" clId="{782B8CA3-36D7-4A50-86F0-ED0C39BEF0F8}" dt="2023-05-11T16:25:12.922" v="3911" actId="47"/>
        <pc:sldMkLst>
          <pc:docMk/>
          <pc:sldMk cId="3346997723" sldId="2147375696"/>
        </pc:sldMkLst>
      </pc:sldChg>
      <pc:sldChg chg="modSp mod">
        <pc:chgData name="Cyprien DE CHAMBURE" userId="954ca6a6-7c37-422b-ae6a-3f5a5fea4ba3" providerId="ADAL" clId="{782B8CA3-36D7-4A50-86F0-ED0C39BEF0F8}" dt="2023-05-17T10:11:19.140" v="5856" actId="403"/>
        <pc:sldMkLst>
          <pc:docMk/>
          <pc:sldMk cId="1168833458" sldId="2147375699"/>
        </pc:sldMkLst>
        <pc:spChg chg="mod">
          <ac:chgData name="Cyprien DE CHAMBURE" userId="954ca6a6-7c37-422b-ae6a-3f5a5fea4ba3" providerId="ADAL" clId="{782B8CA3-36D7-4A50-86F0-ED0C39BEF0F8}" dt="2023-05-17T10:11:19.140" v="5856" actId="403"/>
          <ac:spMkLst>
            <pc:docMk/>
            <pc:sldMk cId="1168833458" sldId="2147375699"/>
            <ac:spMk id="4" creationId="{F70DFF4A-0C11-A2B5-3D68-F738965BF93C}"/>
          </ac:spMkLst>
        </pc:spChg>
      </pc:sldChg>
      <pc:sldChg chg="del">
        <pc:chgData name="Cyprien DE CHAMBURE" userId="954ca6a6-7c37-422b-ae6a-3f5a5fea4ba3" providerId="ADAL" clId="{782B8CA3-36D7-4A50-86F0-ED0C39BEF0F8}" dt="2023-05-11T15:32:06.909" v="1510" actId="47"/>
        <pc:sldMkLst>
          <pc:docMk/>
          <pc:sldMk cId="595804974" sldId="2147375700"/>
        </pc:sldMkLst>
      </pc:sldChg>
      <pc:sldChg chg="addSp delSp modSp add mod addCm modCm">
        <pc:chgData name="Cyprien DE CHAMBURE" userId="954ca6a6-7c37-422b-ae6a-3f5a5fea4ba3" providerId="ADAL" clId="{782B8CA3-36D7-4A50-86F0-ED0C39BEF0F8}" dt="2023-05-25T14:08:53.517" v="6371" actId="20577"/>
        <pc:sldMkLst>
          <pc:docMk/>
          <pc:sldMk cId="298785501" sldId="2147375702"/>
        </pc:sldMkLst>
        <pc:spChg chg="del">
          <ac:chgData name="Cyprien DE CHAMBURE" userId="954ca6a6-7c37-422b-ae6a-3f5a5fea4ba3" providerId="ADAL" clId="{782B8CA3-36D7-4A50-86F0-ED0C39BEF0F8}" dt="2023-05-11T15:31:56.874" v="1507" actId="478"/>
          <ac:spMkLst>
            <pc:docMk/>
            <pc:sldMk cId="298785501" sldId="2147375702"/>
            <ac:spMk id="3" creationId="{EE757080-BF66-235B-33A4-56DCA4E23B7B}"/>
          </ac:spMkLst>
        </pc:spChg>
        <pc:spChg chg="add mod">
          <ac:chgData name="Cyprien DE CHAMBURE" userId="954ca6a6-7c37-422b-ae6a-3f5a5fea4ba3" providerId="ADAL" clId="{782B8CA3-36D7-4A50-86F0-ED0C39BEF0F8}" dt="2023-05-25T14:04:10.667" v="6272" actId="20577"/>
          <ac:spMkLst>
            <pc:docMk/>
            <pc:sldMk cId="298785501" sldId="2147375702"/>
            <ac:spMk id="4" creationId="{0CA1A22B-F702-A0CA-C21A-2D179E265B85}"/>
          </ac:spMkLst>
        </pc:spChg>
        <pc:spChg chg="mod">
          <ac:chgData name="Cyprien DE CHAMBURE" userId="954ca6a6-7c37-422b-ae6a-3f5a5fea4ba3" providerId="ADAL" clId="{782B8CA3-36D7-4A50-86F0-ED0C39BEF0F8}" dt="2023-05-11T15:39:16.880" v="2314" actId="20577"/>
          <ac:spMkLst>
            <pc:docMk/>
            <pc:sldMk cId="298785501" sldId="2147375702"/>
            <ac:spMk id="7" creationId="{5C7F9A63-538E-E4EA-A65C-B63AC20C4575}"/>
          </ac:spMkLst>
        </pc:spChg>
        <pc:spChg chg="add mod">
          <ac:chgData name="Cyprien DE CHAMBURE" userId="954ca6a6-7c37-422b-ae6a-3f5a5fea4ba3" providerId="ADAL" clId="{782B8CA3-36D7-4A50-86F0-ED0C39BEF0F8}" dt="2023-05-25T14:08:53.517" v="6371" actId="20577"/>
          <ac:spMkLst>
            <pc:docMk/>
            <pc:sldMk cId="298785501" sldId="2147375702"/>
            <ac:spMk id="8" creationId="{56C219B8-F72D-1F94-DA58-54BA8A1E2E0E}"/>
          </ac:spMkLst>
        </pc:spChg>
        <pc:spChg chg="mod">
          <ac:chgData name="Cyprien DE CHAMBURE" userId="954ca6a6-7c37-422b-ae6a-3f5a5fea4ba3" providerId="ADAL" clId="{782B8CA3-36D7-4A50-86F0-ED0C39BEF0F8}" dt="2023-05-11T15:34:03.667" v="1599" actId="20577"/>
          <ac:spMkLst>
            <pc:docMk/>
            <pc:sldMk cId="298785501" sldId="2147375702"/>
            <ac:spMk id="15" creationId="{6ECE80BD-44BA-4FB4-B913-655627A2F712}"/>
          </ac:spMkLst>
        </pc:spChg>
        <pc:extLst>
          <p:ext xmlns:p="http://schemas.openxmlformats.org/presentationml/2006/main" uri="{D6D511B9-2390-475A-947B-AFAB55BFBCF1}">
            <pc226:cmChg xmlns:pc226="http://schemas.microsoft.com/office/powerpoint/2022/06/main/command" chg="add mod">
              <pc226:chgData name="Cyprien DE CHAMBURE" userId="954ca6a6-7c37-422b-ae6a-3f5a5fea4ba3" providerId="ADAL" clId="{782B8CA3-36D7-4A50-86F0-ED0C39BEF0F8}" dt="2023-05-25T14:04:10.667" v="6272" actId="20577"/>
              <pc2:cmMkLst xmlns:pc2="http://schemas.microsoft.com/office/powerpoint/2019/9/main/command">
                <pc:docMk/>
                <pc:sldMk cId="298785501" sldId="2147375702"/>
                <pc2:cmMk id="{F4681021-D890-4979-B5AF-41DAD8758CAE}"/>
              </pc2:cmMkLst>
            </pc226:cmChg>
          </p:ext>
        </pc:extLst>
      </pc:sldChg>
      <pc:sldChg chg="addSp delSp modSp add mod">
        <pc:chgData name="Cyprien DE CHAMBURE" userId="954ca6a6-7c37-422b-ae6a-3f5a5fea4ba3" providerId="ADAL" clId="{782B8CA3-36D7-4A50-86F0-ED0C39BEF0F8}" dt="2023-05-16T14:19:44.499" v="5322" actId="20577"/>
        <pc:sldMkLst>
          <pc:docMk/>
          <pc:sldMk cId="87826803" sldId="2147375703"/>
        </pc:sldMkLst>
        <pc:spChg chg="add del mod">
          <ac:chgData name="Cyprien DE CHAMBURE" userId="954ca6a6-7c37-422b-ae6a-3f5a5fea4ba3" providerId="ADAL" clId="{782B8CA3-36D7-4A50-86F0-ED0C39BEF0F8}" dt="2023-05-16T14:18:36.338" v="5193" actId="478"/>
          <ac:spMkLst>
            <pc:docMk/>
            <pc:sldMk cId="87826803" sldId="2147375703"/>
            <ac:spMk id="3" creationId="{40B6138C-BEA6-4A49-B1D8-7F4B2A20F363}"/>
          </ac:spMkLst>
        </pc:spChg>
        <pc:spChg chg="mod">
          <ac:chgData name="Cyprien DE CHAMBURE" userId="954ca6a6-7c37-422b-ae6a-3f5a5fea4ba3" providerId="ADAL" clId="{782B8CA3-36D7-4A50-86F0-ED0C39BEF0F8}" dt="2023-05-16T14:19:44.499" v="5322" actId="20577"/>
          <ac:spMkLst>
            <pc:docMk/>
            <pc:sldMk cId="87826803" sldId="2147375703"/>
            <ac:spMk id="7" creationId="{5A6E50BE-9601-8E41-1683-EA26EA3EBBD0}"/>
          </ac:spMkLst>
        </pc:spChg>
        <pc:spChg chg="add del mod">
          <ac:chgData name="Cyprien DE CHAMBURE" userId="954ca6a6-7c37-422b-ae6a-3f5a5fea4ba3" providerId="ADAL" clId="{782B8CA3-36D7-4A50-86F0-ED0C39BEF0F8}" dt="2023-05-16T14:18:44.316" v="5198" actId="478"/>
          <ac:spMkLst>
            <pc:docMk/>
            <pc:sldMk cId="87826803" sldId="2147375703"/>
            <ac:spMk id="8" creationId="{35C88E7F-861B-F2FE-DA99-2360C0BD02DB}"/>
          </ac:spMkLst>
        </pc:spChg>
      </pc:sldChg>
      <pc:sldMasterChg chg="delSldLayout">
        <pc:chgData name="Cyprien DE CHAMBURE" userId="954ca6a6-7c37-422b-ae6a-3f5a5fea4ba3" providerId="ADAL" clId="{782B8CA3-36D7-4A50-86F0-ED0C39BEF0F8}" dt="2023-05-11T15:32:08.307" v="1511" actId="47"/>
        <pc:sldMasterMkLst>
          <pc:docMk/>
          <pc:sldMasterMk cId="0" sldId="2147483648"/>
        </pc:sldMasterMkLst>
        <pc:sldLayoutChg chg="del">
          <pc:chgData name="Cyprien DE CHAMBURE" userId="954ca6a6-7c37-422b-ae6a-3f5a5fea4ba3" providerId="ADAL" clId="{782B8CA3-36D7-4A50-86F0-ED0C39BEF0F8}" dt="2023-05-11T15:32:08.307" v="1511" actId="47"/>
          <pc:sldLayoutMkLst>
            <pc:docMk/>
            <pc:sldMasterMk cId="0" sldId="2147483648"/>
            <pc:sldLayoutMk cId="637644652" sldId="2147483692"/>
          </pc:sldLayoutMkLst>
        </pc:sldLayoutChg>
      </pc:sldMasterChg>
    </pc:docChg>
  </pc:docChgLst>
  <pc:docChgLst>
    <pc:chgData name="Cyprien DE CHAMBURE" userId="954ca6a6-7c37-422b-ae6a-3f5a5fea4ba3" providerId="ADAL" clId="{96A5198A-6BDF-4CD8-9CDF-B10336371EBC}"/>
    <pc:docChg chg="undo custSel addSld delSld modSld sldOrd">
      <pc:chgData name="Cyprien DE CHAMBURE" userId="954ca6a6-7c37-422b-ae6a-3f5a5fea4ba3" providerId="ADAL" clId="{96A5198A-6BDF-4CD8-9CDF-B10336371EBC}" dt="2023-03-28T08:35:07.232" v="7700" actId="207"/>
      <pc:docMkLst>
        <pc:docMk/>
      </pc:docMkLst>
      <pc:sldChg chg="addSp delSp modSp mod">
        <pc:chgData name="Cyprien DE CHAMBURE" userId="954ca6a6-7c37-422b-ae6a-3f5a5fea4ba3" providerId="ADAL" clId="{96A5198A-6BDF-4CD8-9CDF-B10336371EBC}" dt="2023-03-15T13:35:56.739" v="4549" actId="478"/>
        <pc:sldMkLst>
          <pc:docMk/>
          <pc:sldMk cId="1238462846" sldId="1484"/>
        </pc:sldMkLst>
        <pc:spChg chg="add mod">
          <ac:chgData name="Cyprien DE CHAMBURE" userId="954ca6a6-7c37-422b-ae6a-3f5a5fea4ba3" providerId="ADAL" clId="{96A5198A-6BDF-4CD8-9CDF-B10336371EBC}" dt="2023-03-15T13:35:10.352" v="4545" actId="207"/>
          <ac:spMkLst>
            <pc:docMk/>
            <pc:sldMk cId="1238462846" sldId="1484"/>
            <ac:spMk id="3" creationId="{C460800E-C2D5-1CDB-2348-C71D4FACF6CA}"/>
          </ac:spMkLst>
        </pc:spChg>
        <pc:spChg chg="add del mod">
          <ac:chgData name="Cyprien DE CHAMBURE" userId="954ca6a6-7c37-422b-ae6a-3f5a5fea4ba3" providerId="ADAL" clId="{96A5198A-6BDF-4CD8-9CDF-B10336371EBC}" dt="2023-03-15T13:35:56.739" v="4549" actId="478"/>
          <ac:spMkLst>
            <pc:docMk/>
            <pc:sldMk cId="1238462846" sldId="1484"/>
            <ac:spMk id="4" creationId="{B4AFBD18-6111-BF92-0480-41640F6BE034}"/>
          </ac:spMkLst>
        </pc:spChg>
        <pc:graphicFrameChg chg="mod modGraphic">
          <ac:chgData name="Cyprien DE CHAMBURE" userId="954ca6a6-7c37-422b-ae6a-3f5a5fea4ba3" providerId="ADAL" clId="{96A5198A-6BDF-4CD8-9CDF-B10336371EBC}" dt="2023-03-15T13:34:17.435" v="4510" actId="20577"/>
          <ac:graphicFrameMkLst>
            <pc:docMk/>
            <pc:sldMk cId="1238462846" sldId="1484"/>
            <ac:graphicFrameMk id="7" creationId="{07863B29-CBEE-47BE-8E20-6E27F1796450}"/>
          </ac:graphicFrameMkLst>
        </pc:graphicFrameChg>
      </pc:sldChg>
      <pc:sldChg chg="del">
        <pc:chgData name="Cyprien DE CHAMBURE" userId="954ca6a6-7c37-422b-ae6a-3f5a5fea4ba3" providerId="ADAL" clId="{96A5198A-6BDF-4CD8-9CDF-B10336371EBC}" dt="2023-03-15T09:43:26.689" v="4054" actId="47"/>
        <pc:sldMkLst>
          <pc:docMk/>
          <pc:sldMk cId="3484701222" sldId="1596"/>
        </pc:sldMkLst>
      </pc:sldChg>
      <pc:sldChg chg="modSp mod">
        <pc:chgData name="Cyprien DE CHAMBURE" userId="954ca6a6-7c37-422b-ae6a-3f5a5fea4ba3" providerId="ADAL" clId="{96A5198A-6BDF-4CD8-9CDF-B10336371EBC}" dt="2023-03-14T15:22:48.161" v="1552" actId="20577"/>
        <pc:sldMkLst>
          <pc:docMk/>
          <pc:sldMk cId="2714787426" sldId="1624"/>
        </pc:sldMkLst>
        <pc:spChg chg="mod">
          <ac:chgData name="Cyprien DE CHAMBURE" userId="954ca6a6-7c37-422b-ae6a-3f5a5fea4ba3" providerId="ADAL" clId="{96A5198A-6BDF-4CD8-9CDF-B10336371EBC}" dt="2023-03-14T15:22:48.161" v="1552" actId="20577"/>
          <ac:spMkLst>
            <pc:docMk/>
            <pc:sldMk cId="2714787426" sldId="1624"/>
            <ac:spMk id="10" creationId="{87DE51B1-5052-4085-BCC6-D3474C0C80CF}"/>
          </ac:spMkLst>
        </pc:spChg>
      </pc:sldChg>
      <pc:sldChg chg="modSp mod">
        <pc:chgData name="Cyprien DE CHAMBURE" userId="954ca6a6-7c37-422b-ae6a-3f5a5fea4ba3" providerId="ADAL" clId="{96A5198A-6BDF-4CD8-9CDF-B10336371EBC}" dt="2023-03-14T11:08:02.491" v="1093" actId="1037"/>
        <pc:sldMkLst>
          <pc:docMk/>
          <pc:sldMk cId="573581300" sldId="1627"/>
        </pc:sldMkLst>
        <pc:spChg chg="mod">
          <ac:chgData name="Cyprien DE CHAMBURE" userId="954ca6a6-7c37-422b-ae6a-3f5a5fea4ba3" providerId="ADAL" clId="{96A5198A-6BDF-4CD8-9CDF-B10336371EBC}" dt="2023-03-14T10:50:27.382" v="10" actId="6549"/>
          <ac:spMkLst>
            <pc:docMk/>
            <pc:sldMk cId="573581300" sldId="1627"/>
            <ac:spMk id="10" creationId="{6CCD590B-B70F-4EE7-BE01-5D30F8226878}"/>
          </ac:spMkLst>
        </pc:spChg>
        <pc:spChg chg="mod">
          <ac:chgData name="Cyprien DE CHAMBURE" userId="954ca6a6-7c37-422b-ae6a-3f5a5fea4ba3" providerId="ADAL" clId="{96A5198A-6BDF-4CD8-9CDF-B10336371EBC}" dt="2023-03-14T11:08:02.491" v="1093" actId="1037"/>
          <ac:spMkLst>
            <pc:docMk/>
            <pc:sldMk cId="573581300" sldId="1627"/>
            <ac:spMk id="16" creationId="{13F21443-9B2D-4729-A0F2-4E09892C9114}"/>
          </ac:spMkLst>
        </pc:spChg>
      </pc:sldChg>
      <pc:sldChg chg="modSp mod">
        <pc:chgData name="Cyprien DE CHAMBURE" userId="954ca6a6-7c37-422b-ae6a-3f5a5fea4ba3" providerId="ADAL" clId="{96A5198A-6BDF-4CD8-9CDF-B10336371EBC}" dt="2023-03-14T11:13:10.455" v="1094" actId="6549"/>
        <pc:sldMkLst>
          <pc:docMk/>
          <pc:sldMk cId="3015061511" sldId="1628"/>
        </pc:sldMkLst>
        <pc:graphicFrameChg chg="modGraphic">
          <ac:chgData name="Cyprien DE CHAMBURE" userId="954ca6a6-7c37-422b-ae6a-3f5a5fea4ba3" providerId="ADAL" clId="{96A5198A-6BDF-4CD8-9CDF-B10336371EBC}" dt="2023-03-14T11:13:10.455" v="1094" actId="6549"/>
          <ac:graphicFrameMkLst>
            <pc:docMk/>
            <pc:sldMk cId="3015061511" sldId="1628"/>
            <ac:graphicFrameMk id="3" creationId="{475DC004-A18E-40A2-91BD-0F0AA309CC83}"/>
          </ac:graphicFrameMkLst>
        </pc:graphicFrameChg>
      </pc:sldChg>
      <pc:sldChg chg="del">
        <pc:chgData name="Cyprien DE CHAMBURE" userId="954ca6a6-7c37-422b-ae6a-3f5a5fea4ba3" providerId="ADAL" clId="{96A5198A-6BDF-4CD8-9CDF-B10336371EBC}" dt="2023-03-15T13:28:34.316" v="4330" actId="47"/>
        <pc:sldMkLst>
          <pc:docMk/>
          <pc:sldMk cId="754186402" sldId="1639"/>
        </pc:sldMkLst>
      </pc:sldChg>
      <pc:sldChg chg="modSp mod">
        <pc:chgData name="Cyprien DE CHAMBURE" userId="954ca6a6-7c37-422b-ae6a-3f5a5fea4ba3" providerId="ADAL" clId="{96A5198A-6BDF-4CD8-9CDF-B10336371EBC}" dt="2023-03-15T13:38:11.936" v="4566" actId="20577"/>
        <pc:sldMkLst>
          <pc:docMk/>
          <pc:sldMk cId="4086594777" sldId="2146847021"/>
        </pc:sldMkLst>
        <pc:spChg chg="mod">
          <ac:chgData name="Cyprien DE CHAMBURE" userId="954ca6a6-7c37-422b-ae6a-3f5a5fea4ba3" providerId="ADAL" clId="{96A5198A-6BDF-4CD8-9CDF-B10336371EBC}" dt="2023-03-15T13:38:11.936" v="4566" actId="20577"/>
          <ac:spMkLst>
            <pc:docMk/>
            <pc:sldMk cId="4086594777" sldId="2146847021"/>
            <ac:spMk id="9" creationId="{AF0B4955-EBD1-469E-B6CB-0E7DFC9CA2CD}"/>
          </ac:spMkLst>
        </pc:spChg>
      </pc:sldChg>
      <pc:sldChg chg="del">
        <pc:chgData name="Cyprien DE CHAMBURE" userId="954ca6a6-7c37-422b-ae6a-3f5a5fea4ba3" providerId="ADAL" clId="{96A5198A-6BDF-4CD8-9CDF-B10336371EBC}" dt="2023-03-14T11:13:53.016" v="1099" actId="47"/>
        <pc:sldMkLst>
          <pc:docMk/>
          <pc:sldMk cId="258915183" sldId="2146847024"/>
        </pc:sldMkLst>
      </pc:sldChg>
      <pc:sldChg chg="modSp mod">
        <pc:chgData name="Cyprien DE CHAMBURE" userId="954ca6a6-7c37-422b-ae6a-3f5a5fea4ba3" providerId="ADAL" clId="{96A5198A-6BDF-4CD8-9CDF-B10336371EBC}" dt="2023-03-15T13:29:02.062" v="4354" actId="20577"/>
        <pc:sldMkLst>
          <pc:docMk/>
          <pc:sldMk cId="4208128481" sldId="2146847028"/>
        </pc:sldMkLst>
        <pc:spChg chg="mod">
          <ac:chgData name="Cyprien DE CHAMBURE" userId="954ca6a6-7c37-422b-ae6a-3f5a5fea4ba3" providerId="ADAL" clId="{96A5198A-6BDF-4CD8-9CDF-B10336371EBC}" dt="2023-03-15T13:29:02.062" v="4354" actId="20577"/>
          <ac:spMkLst>
            <pc:docMk/>
            <pc:sldMk cId="4208128481" sldId="2146847028"/>
            <ac:spMk id="7" creationId="{5A6E50BE-9601-8E41-1683-EA26EA3EBBD0}"/>
          </ac:spMkLst>
        </pc:spChg>
      </pc:sldChg>
      <pc:sldChg chg="del">
        <pc:chgData name="Cyprien DE CHAMBURE" userId="954ca6a6-7c37-422b-ae6a-3f5a5fea4ba3" providerId="ADAL" clId="{96A5198A-6BDF-4CD8-9CDF-B10336371EBC}" dt="2023-03-14T15:43:32.799" v="1795" actId="47"/>
        <pc:sldMkLst>
          <pc:docMk/>
          <pc:sldMk cId="1687410550" sldId="2146847032"/>
        </pc:sldMkLst>
      </pc:sldChg>
      <pc:sldChg chg="modSp mod">
        <pc:chgData name="Cyprien DE CHAMBURE" userId="954ca6a6-7c37-422b-ae6a-3f5a5fea4ba3" providerId="ADAL" clId="{96A5198A-6BDF-4CD8-9CDF-B10336371EBC}" dt="2023-03-14T16:00:48.689" v="2568" actId="5793"/>
        <pc:sldMkLst>
          <pc:docMk/>
          <pc:sldMk cId="3689621063" sldId="2146847033"/>
        </pc:sldMkLst>
        <pc:spChg chg="mod">
          <ac:chgData name="Cyprien DE CHAMBURE" userId="954ca6a6-7c37-422b-ae6a-3f5a5fea4ba3" providerId="ADAL" clId="{96A5198A-6BDF-4CD8-9CDF-B10336371EBC}" dt="2023-03-14T16:00:48.689" v="2568" actId="5793"/>
          <ac:spMkLst>
            <pc:docMk/>
            <pc:sldMk cId="3689621063" sldId="2146847033"/>
            <ac:spMk id="3" creationId="{DE2435D4-B6C5-DB11-0FF5-5620A3B371E1}"/>
          </ac:spMkLst>
        </pc:spChg>
      </pc:sldChg>
      <pc:sldChg chg="modSp">
        <pc:chgData name="Cyprien DE CHAMBURE" userId="954ca6a6-7c37-422b-ae6a-3f5a5fea4ba3" providerId="ADAL" clId="{96A5198A-6BDF-4CD8-9CDF-B10336371EBC}" dt="2023-03-14T16:09:44.984" v="3556" actId="1038"/>
        <pc:sldMkLst>
          <pc:docMk/>
          <pc:sldMk cId="1222101992" sldId="2146847036"/>
        </pc:sldMkLst>
        <pc:spChg chg="mod">
          <ac:chgData name="Cyprien DE CHAMBURE" userId="954ca6a6-7c37-422b-ae6a-3f5a5fea4ba3" providerId="ADAL" clId="{96A5198A-6BDF-4CD8-9CDF-B10336371EBC}" dt="2023-03-14T16:09:44.984" v="3556" actId="1038"/>
          <ac:spMkLst>
            <pc:docMk/>
            <pc:sldMk cId="1222101992" sldId="2146847036"/>
            <ac:spMk id="12" creationId="{13C4DB73-5541-515B-3A66-315EB0C15C5B}"/>
          </ac:spMkLst>
        </pc:spChg>
        <pc:spChg chg="mod">
          <ac:chgData name="Cyprien DE CHAMBURE" userId="954ca6a6-7c37-422b-ae6a-3f5a5fea4ba3" providerId="ADAL" clId="{96A5198A-6BDF-4CD8-9CDF-B10336371EBC}" dt="2023-03-14T16:09:44.984" v="3556" actId="1038"/>
          <ac:spMkLst>
            <pc:docMk/>
            <pc:sldMk cId="1222101992" sldId="2146847036"/>
            <ac:spMk id="13" creationId="{C6BB8DEC-DF71-31CD-2990-402963A84FBD}"/>
          </ac:spMkLst>
        </pc:spChg>
        <pc:cxnChg chg="mod">
          <ac:chgData name="Cyprien DE CHAMBURE" userId="954ca6a6-7c37-422b-ae6a-3f5a5fea4ba3" providerId="ADAL" clId="{96A5198A-6BDF-4CD8-9CDF-B10336371EBC}" dt="2023-03-14T16:09:44.984" v="3556" actId="1038"/>
          <ac:cxnSpMkLst>
            <pc:docMk/>
            <pc:sldMk cId="1222101992" sldId="2146847036"/>
            <ac:cxnSpMk id="14" creationId="{DAC82A32-1F44-5C3B-7327-973E8565E4A9}"/>
          </ac:cxnSpMkLst>
        </pc:cxnChg>
      </pc:sldChg>
      <pc:sldChg chg="modSp mod">
        <pc:chgData name="Cyprien DE CHAMBURE" userId="954ca6a6-7c37-422b-ae6a-3f5a5fea4ba3" providerId="ADAL" clId="{96A5198A-6BDF-4CD8-9CDF-B10336371EBC}" dt="2023-03-15T14:23:09.964" v="5431" actId="403"/>
        <pc:sldMkLst>
          <pc:docMk/>
          <pc:sldMk cId="1803395661" sldId="2146847040"/>
        </pc:sldMkLst>
        <pc:spChg chg="mod">
          <ac:chgData name="Cyprien DE CHAMBURE" userId="954ca6a6-7c37-422b-ae6a-3f5a5fea4ba3" providerId="ADAL" clId="{96A5198A-6BDF-4CD8-9CDF-B10336371EBC}" dt="2023-03-15T09:46:16.481" v="4071" actId="20577"/>
          <ac:spMkLst>
            <pc:docMk/>
            <pc:sldMk cId="1803395661" sldId="2146847040"/>
            <ac:spMk id="6" creationId="{00000000-0000-0000-0000-000000000000}"/>
          </ac:spMkLst>
        </pc:spChg>
        <pc:spChg chg="mod">
          <ac:chgData name="Cyprien DE CHAMBURE" userId="954ca6a6-7c37-422b-ae6a-3f5a5fea4ba3" providerId="ADAL" clId="{96A5198A-6BDF-4CD8-9CDF-B10336371EBC}" dt="2023-03-15T14:23:09.964" v="5431" actId="403"/>
          <ac:spMkLst>
            <pc:docMk/>
            <pc:sldMk cId="1803395661" sldId="2146847040"/>
            <ac:spMk id="8" creationId="{A1D54523-6D95-7FF5-253F-E1BBAFB2D930}"/>
          </ac:spMkLst>
        </pc:spChg>
      </pc:sldChg>
      <pc:sldChg chg="modSp mod">
        <pc:chgData name="Cyprien DE CHAMBURE" userId="954ca6a6-7c37-422b-ae6a-3f5a5fea4ba3" providerId="ADAL" clId="{96A5198A-6BDF-4CD8-9CDF-B10336371EBC}" dt="2023-03-14T15:34:38.259" v="1586" actId="403"/>
        <pc:sldMkLst>
          <pc:docMk/>
          <pc:sldMk cId="527443829" sldId="2146847051"/>
        </pc:sldMkLst>
        <pc:spChg chg="mod">
          <ac:chgData name="Cyprien DE CHAMBURE" userId="954ca6a6-7c37-422b-ae6a-3f5a5fea4ba3" providerId="ADAL" clId="{96A5198A-6BDF-4CD8-9CDF-B10336371EBC}" dt="2023-03-14T15:34:38.259" v="1586" actId="403"/>
          <ac:spMkLst>
            <pc:docMk/>
            <pc:sldMk cId="527443829" sldId="2146847051"/>
            <ac:spMk id="10" creationId="{87DE51B1-5052-4085-BCC6-D3474C0C80CF}"/>
          </ac:spMkLst>
        </pc:spChg>
      </pc:sldChg>
      <pc:sldChg chg="addSp modSp mod">
        <pc:chgData name="Cyprien DE CHAMBURE" userId="954ca6a6-7c37-422b-ae6a-3f5a5fea4ba3" providerId="ADAL" clId="{96A5198A-6BDF-4CD8-9CDF-B10336371EBC}" dt="2023-03-28T08:35:07.232" v="7700" actId="207"/>
        <pc:sldMkLst>
          <pc:docMk/>
          <pc:sldMk cId="2270800957" sldId="2146847053"/>
        </pc:sldMkLst>
        <pc:spChg chg="mod">
          <ac:chgData name="Cyprien DE CHAMBURE" userId="954ca6a6-7c37-422b-ae6a-3f5a5fea4ba3" providerId="ADAL" clId="{96A5198A-6BDF-4CD8-9CDF-B10336371EBC}" dt="2023-03-15T13:58:22.656" v="5135" actId="20577"/>
          <ac:spMkLst>
            <pc:docMk/>
            <pc:sldMk cId="2270800957" sldId="2146847053"/>
            <ac:spMk id="3" creationId="{DE2435D4-B6C5-DB11-0FF5-5620A3B371E1}"/>
          </ac:spMkLst>
        </pc:spChg>
        <pc:spChg chg="mod">
          <ac:chgData name="Cyprien DE CHAMBURE" userId="954ca6a6-7c37-422b-ae6a-3f5a5fea4ba3" providerId="ADAL" clId="{96A5198A-6BDF-4CD8-9CDF-B10336371EBC}" dt="2023-03-28T08:34:36.189" v="7610" actId="400"/>
          <ac:spMkLst>
            <pc:docMk/>
            <pc:sldMk cId="2270800957" sldId="2146847053"/>
            <ac:spMk id="4" creationId="{EC1BF19C-B97B-B720-2AAD-78E83A462F2A}"/>
          </ac:spMkLst>
        </pc:spChg>
        <pc:spChg chg="add mod">
          <ac:chgData name="Cyprien DE CHAMBURE" userId="954ca6a6-7c37-422b-ae6a-3f5a5fea4ba3" providerId="ADAL" clId="{96A5198A-6BDF-4CD8-9CDF-B10336371EBC}" dt="2023-03-28T08:35:07.232" v="7700" actId="207"/>
          <ac:spMkLst>
            <pc:docMk/>
            <pc:sldMk cId="2270800957" sldId="2146847053"/>
            <ac:spMk id="6" creationId="{C2F6BEAF-9C8F-AB61-1F18-73E388200B02}"/>
          </ac:spMkLst>
        </pc:spChg>
        <pc:spChg chg="mod">
          <ac:chgData name="Cyprien DE CHAMBURE" userId="954ca6a6-7c37-422b-ae6a-3f5a5fea4ba3" providerId="ADAL" clId="{96A5198A-6BDF-4CD8-9CDF-B10336371EBC}" dt="2023-03-14T16:01:09.234" v="2593" actId="6549"/>
          <ac:spMkLst>
            <pc:docMk/>
            <pc:sldMk cId="2270800957" sldId="2146847053"/>
            <ac:spMk id="15" creationId="{6ECE80BD-44BA-4FB4-B913-655627A2F712}"/>
          </ac:spMkLst>
        </pc:spChg>
      </pc:sldChg>
      <pc:sldChg chg="modSp mod">
        <pc:chgData name="Cyprien DE CHAMBURE" userId="954ca6a6-7c37-422b-ae6a-3f5a5fea4ba3" providerId="ADAL" clId="{96A5198A-6BDF-4CD8-9CDF-B10336371EBC}" dt="2023-03-14T15:57:27.030" v="2465" actId="20577"/>
        <pc:sldMkLst>
          <pc:docMk/>
          <pc:sldMk cId="4246732626" sldId="2146847054"/>
        </pc:sldMkLst>
        <pc:spChg chg="mod">
          <ac:chgData name="Cyprien DE CHAMBURE" userId="954ca6a6-7c37-422b-ae6a-3f5a5fea4ba3" providerId="ADAL" clId="{96A5198A-6BDF-4CD8-9CDF-B10336371EBC}" dt="2023-03-14T15:57:27.030" v="2465" actId="20577"/>
          <ac:spMkLst>
            <pc:docMk/>
            <pc:sldMk cId="4246732626" sldId="2146847054"/>
            <ac:spMk id="3" creationId="{DE2435D4-B6C5-DB11-0FF5-5620A3B371E1}"/>
          </ac:spMkLst>
        </pc:spChg>
      </pc:sldChg>
      <pc:sldChg chg="addSp delSp modSp mod">
        <pc:chgData name="Cyprien DE CHAMBURE" userId="954ca6a6-7c37-422b-ae6a-3f5a5fea4ba3" providerId="ADAL" clId="{96A5198A-6BDF-4CD8-9CDF-B10336371EBC}" dt="2023-03-15T09:43:06.913" v="4053" actId="1036"/>
        <pc:sldMkLst>
          <pc:docMk/>
          <pc:sldMk cId="753387726" sldId="2147375666"/>
        </pc:sldMkLst>
        <pc:spChg chg="mod">
          <ac:chgData name="Cyprien DE CHAMBURE" userId="954ca6a6-7c37-422b-ae6a-3f5a5fea4ba3" providerId="ADAL" clId="{96A5198A-6BDF-4CD8-9CDF-B10336371EBC}" dt="2023-03-15T09:42:57.966" v="4049" actId="20577"/>
          <ac:spMkLst>
            <pc:docMk/>
            <pc:sldMk cId="753387726" sldId="2147375666"/>
            <ac:spMk id="3" creationId="{9AD034A3-FB05-7402-B48D-C23F41CD87D9}"/>
          </ac:spMkLst>
        </pc:spChg>
        <pc:spChg chg="add mod">
          <ac:chgData name="Cyprien DE CHAMBURE" userId="954ca6a6-7c37-422b-ae6a-3f5a5fea4ba3" providerId="ADAL" clId="{96A5198A-6BDF-4CD8-9CDF-B10336371EBC}" dt="2023-03-15T09:43:06.913" v="4053" actId="1036"/>
          <ac:spMkLst>
            <pc:docMk/>
            <pc:sldMk cId="753387726" sldId="2147375666"/>
            <ac:spMk id="4" creationId="{E46A566C-6534-A19C-1C31-AC44708D248D}"/>
          </ac:spMkLst>
        </pc:spChg>
        <pc:picChg chg="del">
          <ac:chgData name="Cyprien DE CHAMBURE" userId="954ca6a6-7c37-422b-ae6a-3f5a5fea4ba3" providerId="ADAL" clId="{96A5198A-6BDF-4CD8-9CDF-B10336371EBC}" dt="2023-03-14T16:11:29.497" v="3557" actId="478"/>
          <ac:picMkLst>
            <pc:docMk/>
            <pc:sldMk cId="753387726" sldId="2147375666"/>
            <ac:picMk id="1026" creationId="{1F35B742-FD12-7BAC-C3C6-F4FF9D70D1DA}"/>
          </ac:picMkLst>
        </pc:picChg>
      </pc:sldChg>
      <pc:sldChg chg="addSp delSp modSp mod">
        <pc:chgData name="Cyprien DE CHAMBURE" userId="954ca6a6-7c37-422b-ae6a-3f5a5fea4ba3" providerId="ADAL" clId="{96A5198A-6BDF-4CD8-9CDF-B10336371EBC}" dt="2023-03-15T13:52:54.387" v="4930" actId="478"/>
        <pc:sldMkLst>
          <pc:docMk/>
          <pc:sldMk cId="31713600" sldId="2147375667"/>
        </pc:sldMkLst>
        <pc:spChg chg="add del mod">
          <ac:chgData name="Cyprien DE CHAMBURE" userId="954ca6a6-7c37-422b-ae6a-3f5a5fea4ba3" providerId="ADAL" clId="{96A5198A-6BDF-4CD8-9CDF-B10336371EBC}" dt="2023-03-15T13:52:54.387" v="4930" actId="478"/>
          <ac:spMkLst>
            <pc:docMk/>
            <pc:sldMk cId="31713600" sldId="2147375667"/>
            <ac:spMk id="2" creationId="{FCBC0CC4-FE50-CF86-FA45-058364F48EC6}"/>
          </ac:spMkLst>
        </pc:spChg>
        <pc:spChg chg="mod">
          <ac:chgData name="Cyprien DE CHAMBURE" userId="954ca6a6-7c37-422b-ae6a-3f5a5fea4ba3" providerId="ADAL" clId="{96A5198A-6BDF-4CD8-9CDF-B10336371EBC}" dt="2023-03-15T13:52:30.718" v="4929" actId="20577"/>
          <ac:spMkLst>
            <pc:docMk/>
            <pc:sldMk cId="31713600" sldId="2147375667"/>
            <ac:spMk id="9" creationId="{AF0B4955-EBD1-469E-B6CB-0E7DFC9CA2CD}"/>
          </ac:spMkLst>
        </pc:spChg>
        <pc:picChg chg="del mod">
          <ac:chgData name="Cyprien DE CHAMBURE" userId="954ca6a6-7c37-422b-ae6a-3f5a5fea4ba3" providerId="ADAL" clId="{96A5198A-6BDF-4CD8-9CDF-B10336371EBC}" dt="2023-03-15T13:43:23.794" v="4611" actId="478"/>
          <ac:picMkLst>
            <pc:docMk/>
            <pc:sldMk cId="31713600" sldId="2147375667"/>
            <ac:picMk id="4" creationId="{FC2A77A3-F8DA-2EB5-AB91-875232BFE332}"/>
          </ac:picMkLst>
        </pc:picChg>
      </pc:sldChg>
      <pc:sldChg chg="modSp mod">
        <pc:chgData name="Cyprien DE CHAMBURE" userId="954ca6a6-7c37-422b-ae6a-3f5a5fea4ba3" providerId="ADAL" clId="{96A5198A-6BDF-4CD8-9CDF-B10336371EBC}" dt="2023-03-15T09:52:42.865" v="4310" actId="404"/>
        <pc:sldMkLst>
          <pc:docMk/>
          <pc:sldMk cId="3392503864" sldId="2147375668"/>
        </pc:sldMkLst>
        <pc:spChg chg="mod">
          <ac:chgData name="Cyprien DE CHAMBURE" userId="954ca6a6-7c37-422b-ae6a-3f5a5fea4ba3" providerId="ADAL" clId="{96A5198A-6BDF-4CD8-9CDF-B10336371EBC}" dt="2023-03-15T09:52:42.865" v="4310" actId="404"/>
          <ac:spMkLst>
            <pc:docMk/>
            <pc:sldMk cId="3392503864" sldId="2147375668"/>
            <ac:spMk id="8" creationId="{A1D54523-6D95-7FF5-253F-E1BBAFB2D930}"/>
          </ac:spMkLst>
        </pc:spChg>
      </pc:sldChg>
      <pc:sldChg chg="del">
        <pc:chgData name="Cyprien DE CHAMBURE" userId="954ca6a6-7c37-422b-ae6a-3f5a5fea4ba3" providerId="ADAL" clId="{96A5198A-6BDF-4CD8-9CDF-B10336371EBC}" dt="2023-03-14T15:43:33.916" v="1796" actId="47"/>
        <pc:sldMkLst>
          <pc:docMk/>
          <pc:sldMk cId="3162911200" sldId="2147375669"/>
        </pc:sldMkLst>
      </pc:sldChg>
      <pc:sldChg chg="del">
        <pc:chgData name="Cyprien DE CHAMBURE" userId="954ca6a6-7c37-422b-ae6a-3f5a5fea4ba3" providerId="ADAL" clId="{96A5198A-6BDF-4CD8-9CDF-B10336371EBC}" dt="2023-03-15T09:43:31.250" v="4055" actId="47"/>
        <pc:sldMkLst>
          <pc:docMk/>
          <pc:sldMk cId="129246906" sldId="2147375670"/>
        </pc:sldMkLst>
      </pc:sldChg>
      <pc:sldChg chg="del">
        <pc:chgData name="Cyprien DE CHAMBURE" userId="954ca6a6-7c37-422b-ae6a-3f5a5fea4ba3" providerId="ADAL" clId="{96A5198A-6BDF-4CD8-9CDF-B10336371EBC}" dt="2023-03-15T13:28:18.616" v="4329" actId="47"/>
        <pc:sldMkLst>
          <pc:docMk/>
          <pc:sldMk cId="890668878" sldId="2147375671"/>
        </pc:sldMkLst>
      </pc:sldChg>
      <pc:sldChg chg="modSp add mod">
        <pc:chgData name="Cyprien DE CHAMBURE" userId="954ca6a6-7c37-422b-ae6a-3f5a5fea4ba3" providerId="ADAL" clId="{96A5198A-6BDF-4CD8-9CDF-B10336371EBC}" dt="2023-03-14T15:38:56.600" v="1793" actId="20577"/>
        <pc:sldMkLst>
          <pc:docMk/>
          <pc:sldMk cId="1660121287" sldId="2147375672"/>
        </pc:sldMkLst>
        <pc:spChg chg="mod">
          <ac:chgData name="Cyprien DE CHAMBURE" userId="954ca6a6-7c37-422b-ae6a-3f5a5fea4ba3" providerId="ADAL" clId="{96A5198A-6BDF-4CD8-9CDF-B10336371EBC}" dt="2023-03-14T15:38:56.600" v="1793" actId="20577"/>
          <ac:spMkLst>
            <pc:docMk/>
            <pc:sldMk cId="1660121287" sldId="2147375672"/>
            <ac:spMk id="10" creationId="{87DE51B1-5052-4085-BCC6-D3474C0C80CF}"/>
          </ac:spMkLst>
        </pc:spChg>
        <pc:spChg chg="mod">
          <ac:chgData name="Cyprien DE CHAMBURE" userId="954ca6a6-7c37-422b-ae6a-3f5a5fea4ba3" providerId="ADAL" clId="{96A5198A-6BDF-4CD8-9CDF-B10336371EBC}" dt="2023-03-14T11:14:26.074" v="1135" actId="20577"/>
          <ac:spMkLst>
            <pc:docMk/>
            <pc:sldMk cId="1660121287" sldId="2147375672"/>
            <ac:spMk id="15" creationId="{6ECE80BD-44BA-4FB4-B913-655627A2F712}"/>
          </ac:spMkLst>
        </pc:spChg>
      </pc:sldChg>
      <pc:sldChg chg="modSp add mod">
        <pc:chgData name="Cyprien DE CHAMBURE" userId="954ca6a6-7c37-422b-ae6a-3f5a5fea4ba3" providerId="ADAL" clId="{96A5198A-6BDF-4CD8-9CDF-B10336371EBC}" dt="2023-03-15T16:47:56.241" v="5870" actId="20577"/>
        <pc:sldMkLst>
          <pc:docMk/>
          <pc:sldMk cId="4108006048" sldId="2147375673"/>
        </pc:sldMkLst>
        <pc:spChg chg="mod">
          <ac:chgData name="Cyprien DE CHAMBURE" userId="954ca6a6-7c37-422b-ae6a-3f5a5fea4ba3" providerId="ADAL" clId="{96A5198A-6BDF-4CD8-9CDF-B10336371EBC}" dt="2023-03-14T15:43:50.477" v="1817" actId="20577"/>
          <ac:spMkLst>
            <pc:docMk/>
            <pc:sldMk cId="4108006048" sldId="2147375673"/>
            <ac:spMk id="2" creationId="{00000000-0000-0000-0000-000000000000}"/>
          </ac:spMkLst>
        </pc:spChg>
        <pc:spChg chg="mod">
          <ac:chgData name="Cyprien DE CHAMBURE" userId="954ca6a6-7c37-422b-ae6a-3f5a5fea4ba3" providerId="ADAL" clId="{96A5198A-6BDF-4CD8-9CDF-B10336371EBC}" dt="2023-03-14T15:48:49.329" v="2058" actId="20577"/>
          <ac:spMkLst>
            <pc:docMk/>
            <pc:sldMk cId="4108006048" sldId="2147375673"/>
            <ac:spMk id="4" creationId="{F70DFF4A-0C11-A2B5-3D68-F738965BF93C}"/>
          </ac:spMkLst>
        </pc:spChg>
        <pc:spChg chg="mod">
          <ac:chgData name="Cyprien DE CHAMBURE" userId="954ca6a6-7c37-422b-ae6a-3f5a5fea4ba3" providerId="ADAL" clId="{96A5198A-6BDF-4CD8-9CDF-B10336371EBC}" dt="2023-03-15T16:47:56.241" v="5870" actId="20577"/>
          <ac:spMkLst>
            <pc:docMk/>
            <pc:sldMk cId="4108006048" sldId="2147375673"/>
            <ac:spMk id="15" creationId="{6ECE80BD-44BA-4FB4-B913-655627A2F712}"/>
          </ac:spMkLst>
        </pc:spChg>
      </pc:sldChg>
      <pc:sldChg chg="addSp delSp modSp add mod">
        <pc:chgData name="Cyprien DE CHAMBURE" userId="954ca6a6-7c37-422b-ae6a-3f5a5fea4ba3" providerId="ADAL" clId="{96A5198A-6BDF-4CD8-9CDF-B10336371EBC}" dt="2023-03-27T14:04:21.863" v="7608" actId="400"/>
        <pc:sldMkLst>
          <pc:docMk/>
          <pc:sldMk cId="1478713363" sldId="2147375688"/>
        </pc:sldMkLst>
        <pc:spChg chg="add del mod">
          <ac:chgData name="Cyprien DE CHAMBURE" userId="954ca6a6-7c37-422b-ae6a-3f5a5fea4ba3" providerId="ADAL" clId="{96A5198A-6BDF-4CD8-9CDF-B10336371EBC}" dt="2023-03-15T16:44:35.793" v="5845" actId="478"/>
          <ac:spMkLst>
            <pc:docMk/>
            <pc:sldMk cId="1478713363" sldId="2147375688"/>
            <ac:spMk id="2" creationId="{00000000-0000-0000-0000-000000000000}"/>
          </ac:spMkLst>
        </pc:spChg>
        <pc:spChg chg="add del mod">
          <ac:chgData name="Cyprien DE CHAMBURE" userId="954ca6a6-7c37-422b-ae6a-3f5a5fea4ba3" providerId="ADAL" clId="{96A5198A-6BDF-4CD8-9CDF-B10336371EBC}" dt="2023-03-15T16:44:40.109" v="5847" actId="478"/>
          <ac:spMkLst>
            <pc:docMk/>
            <pc:sldMk cId="1478713363" sldId="2147375688"/>
            <ac:spMk id="3" creationId="{8228A703-6BD6-E21E-E3B7-DF8C051DA3BD}"/>
          </ac:spMkLst>
        </pc:spChg>
        <pc:spChg chg="mod">
          <ac:chgData name="Cyprien DE CHAMBURE" userId="954ca6a6-7c37-422b-ae6a-3f5a5fea4ba3" providerId="ADAL" clId="{96A5198A-6BDF-4CD8-9CDF-B10336371EBC}" dt="2023-03-14T15:48:57.841" v="2070" actId="20577"/>
          <ac:spMkLst>
            <pc:docMk/>
            <pc:sldMk cId="1478713363" sldId="2147375688"/>
            <ac:spMk id="4" creationId="{F70DFF4A-0C11-A2B5-3D68-F738965BF93C}"/>
          </ac:spMkLst>
        </pc:spChg>
        <pc:spChg chg="add mod">
          <ac:chgData name="Cyprien DE CHAMBURE" userId="954ca6a6-7c37-422b-ae6a-3f5a5fea4ba3" providerId="ADAL" clId="{96A5198A-6BDF-4CD8-9CDF-B10336371EBC}" dt="2023-03-16T10:58:47.496" v="7415" actId="20577"/>
          <ac:spMkLst>
            <pc:docMk/>
            <pc:sldMk cId="1478713363" sldId="2147375688"/>
            <ac:spMk id="7" creationId="{623B8ED9-4D36-BE98-A538-20529F958756}"/>
          </ac:spMkLst>
        </pc:spChg>
        <pc:spChg chg="add del mod">
          <ac:chgData name="Cyprien DE CHAMBURE" userId="954ca6a6-7c37-422b-ae6a-3f5a5fea4ba3" providerId="ADAL" clId="{96A5198A-6BDF-4CD8-9CDF-B10336371EBC}" dt="2023-03-27T14:04:21.863" v="7608" actId="400"/>
          <ac:spMkLst>
            <pc:docMk/>
            <pc:sldMk cId="1478713363" sldId="2147375688"/>
            <ac:spMk id="8" creationId="{4B08067A-7F4E-165A-9BA5-D0E67707A884}"/>
          </ac:spMkLst>
        </pc:spChg>
        <pc:spChg chg="add del mod">
          <ac:chgData name="Cyprien DE CHAMBURE" userId="954ca6a6-7c37-422b-ae6a-3f5a5fea4ba3" providerId="ADAL" clId="{96A5198A-6BDF-4CD8-9CDF-B10336371EBC}" dt="2023-03-15T16:44:42.640" v="5850" actId="478"/>
          <ac:spMkLst>
            <pc:docMk/>
            <pc:sldMk cId="1478713363" sldId="2147375688"/>
            <ac:spMk id="9" creationId="{1494437E-C2CF-C3A8-B3E1-1A6C9F735C13}"/>
          </ac:spMkLst>
        </pc:spChg>
        <pc:spChg chg="add del mod">
          <ac:chgData name="Cyprien DE CHAMBURE" userId="954ca6a6-7c37-422b-ae6a-3f5a5fea4ba3" providerId="ADAL" clId="{96A5198A-6BDF-4CD8-9CDF-B10336371EBC}" dt="2023-03-15T16:44:44.183" v="5851" actId="478"/>
          <ac:spMkLst>
            <pc:docMk/>
            <pc:sldMk cId="1478713363" sldId="2147375688"/>
            <ac:spMk id="10" creationId="{1C0F11BC-D7D0-359C-F1BA-31DBA918A9A7}"/>
          </ac:spMkLst>
        </pc:spChg>
        <pc:spChg chg="add del mod">
          <ac:chgData name="Cyprien DE CHAMBURE" userId="954ca6a6-7c37-422b-ae6a-3f5a5fea4ba3" providerId="ADAL" clId="{96A5198A-6BDF-4CD8-9CDF-B10336371EBC}" dt="2023-03-15T16:44:47.718" v="5852" actId="478"/>
          <ac:spMkLst>
            <pc:docMk/>
            <pc:sldMk cId="1478713363" sldId="2147375688"/>
            <ac:spMk id="11" creationId="{796DC9E4-0EFF-18E8-3C69-616309166F5A}"/>
          </ac:spMkLst>
        </pc:spChg>
        <pc:spChg chg="add del mod">
          <ac:chgData name="Cyprien DE CHAMBURE" userId="954ca6a6-7c37-422b-ae6a-3f5a5fea4ba3" providerId="ADAL" clId="{96A5198A-6BDF-4CD8-9CDF-B10336371EBC}" dt="2023-03-15T16:44:30.854" v="5843" actId="478"/>
          <ac:spMkLst>
            <pc:docMk/>
            <pc:sldMk cId="1478713363" sldId="2147375688"/>
            <ac:spMk id="12" creationId="{BC4E1DAD-8F9F-58FA-7115-859F3E39C1BF}"/>
          </ac:spMkLst>
        </pc:spChg>
        <pc:spChg chg="add del mod">
          <ac:chgData name="Cyprien DE CHAMBURE" userId="954ca6a6-7c37-422b-ae6a-3f5a5fea4ba3" providerId="ADAL" clId="{96A5198A-6BDF-4CD8-9CDF-B10336371EBC}" dt="2023-03-15T16:44:35.793" v="5845" actId="478"/>
          <ac:spMkLst>
            <pc:docMk/>
            <pc:sldMk cId="1478713363" sldId="2147375688"/>
            <ac:spMk id="13" creationId="{8A1AB907-004B-E54C-2A5A-92A90047C9A2}"/>
          </ac:spMkLst>
        </pc:spChg>
        <pc:spChg chg="add del mod">
          <ac:chgData name="Cyprien DE CHAMBURE" userId="954ca6a6-7c37-422b-ae6a-3f5a5fea4ba3" providerId="ADAL" clId="{96A5198A-6BDF-4CD8-9CDF-B10336371EBC}" dt="2023-03-15T16:44:35.793" v="5845" actId="478"/>
          <ac:spMkLst>
            <pc:docMk/>
            <pc:sldMk cId="1478713363" sldId="2147375688"/>
            <ac:spMk id="14" creationId="{B6CAE3B1-8B1A-E2E1-B1B9-5F3E87C27ABA}"/>
          </ac:spMkLst>
        </pc:spChg>
        <pc:spChg chg="add del mod">
          <ac:chgData name="Cyprien DE CHAMBURE" userId="954ca6a6-7c37-422b-ae6a-3f5a5fea4ba3" providerId="ADAL" clId="{96A5198A-6BDF-4CD8-9CDF-B10336371EBC}" dt="2023-03-15T16:48:04.498" v="5878" actId="20577"/>
          <ac:spMkLst>
            <pc:docMk/>
            <pc:sldMk cId="1478713363" sldId="2147375688"/>
            <ac:spMk id="15" creationId="{6ECE80BD-44BA-4FB4-B913-655627A2F712}"/>
          </ac:spMkLst>
        </pc:spChg>
        <pc:spChg chg="add del mod">
          <ac:chgData name="Cyprien DE CHAMBURE" userId="954ca6a6-7c37-422b-ae6a-3f5a5fea4ba3" providerId="ADAL" clId="{96A5198A-6BDF-4CD8-9CDF-B10336371EBC}" dt="2023-03-15T16:45:07.815" v="5856" actId="478"/>
          <ac:spMkLst>
            <pc:docMk/>
            <pc:sldMk cId="1478713363" sldId="2147375688"/>
            <ac:spMk id="16" creationId="{CF34250B-65BC-1E9A-00C9-C8A4FD2DA557}"/>
          </ac:spMkLst>
        </pc:spChg>
      </pc:sldChg>
      <pc:sldChg chg="addSp delSp modSp add mod">
        <pc:chgData name="Cyprien DE CHAMBURE" userId="954ca6a6-7c37-422b-ae6a-3f5a5fea4ba3" providerId="ADAL" clId="{96A5198A-6BDF-4CD8-9CDF-B10336371EBC}" dt="2023-03-14T16:07:03.686" v="3550" actId="20577"/>
        <pc:sldMkLst>
          <pc:docMk/>
          <pc:sldMk cId="546997005" sldId="2147375689"/>
        </pc:sldMkLst>
        <pc:spChg chg="mod">
          <ac:chgData name="Cyprien DE CHAMBURE" userId="954ca6a6-7c37-422b-ae6a-3f5a5fea4ba3" providerId="ADAL" clId="{96A5198A-6BDF-4CD8-9CDF-B10336371EBC}" dt="2023-03-14T16:07:03.686" v="3550" actId="20577"/>
          <ac:spMkLst>
            <pc:docMk/>
            <pc:sldMk cId="546997005" sldId="2147375689"/>
            <ac:spMk id="3" creationId="{DE2435D4-B6C5-DB11-0FF5-5620A3B371E1}"/>
          </ac:spMkLst>
        </pc:spChg>
        <pc:spChg chg="del">
          <ac:chgData name="Cyprien DE CHAMBURE" userId="954ca6a6-7c37-422b-ae6a-3f5a5fea4ba3" providerId="ADAL" clId="{96A5198A-6BDF-4CD8-9CDF-B10336371EBC}" dt="2023-03-14T16:05:07.047" v="3290" actId="478"/>
          <ac:spMkLst>
            <pc:docMk/>
            <pc:sldMk cId="546997005" sldId="2147375689"/>
            <ac:spMk id="4" creationId="{EC1BF19C-B97B-B720-2AAD-78E83A462F2A}"/>
          </ac:spMkLst>
        </pc:spChg>
        <pc:spChg chg="add del mod">
          <ac:chgData name="Cyprien DE CHAMBURE" userId="954ca6a6-7c37-422b-ae6a-3f5a5fea4ba3" providerId="ADAL" clId="{96A5198A-6BDF-4CD8-9CDF-B10336371EBC}" dt="2023-03-14T16:06:21.188" v="3367" actId="478"/>
          <ac:spMkLst>
            <pc:docMk/>
            <pc:sldMk cId="546997005" sldId="2147375689"/>
            <ac:spMk id="6" creationId="{C9A4515A-2003-5099-8433-BD08733FBD15}"/>
          </ac:spMkLst>
        </pc:spChg>
        <pc:spChg chg="mod">
          <ac:chgData name="Cyprien DE CHAMBURE" userId="954ca6a6-7c37-422b-ae6a-3f5a5fea4ba3" providerId="ADAL" clId="{96A5198A-6BDF-4CD8-9CDF-B10336371EBC}" dt="2023-03-14T16:04:45.752" v="3210" actId="20577"/>
          <ac:spMkLst>
            <pc:docMk/>
            <pc:sldMk cId="546997005" sldId="2147375689"/>
            <ac:spMk id="15" creationId="{6ECE80BD-44BA-4FB4-B913-655627A2F712}"/>
          </ac:spMkLst>
        </pc:spChg>
        <pc:picChg chg="add del mod">
          <ac:chgData name="Cyprien DE CHAMBURE" userId="954ca6a6-7c37-422b-ae6a-3f5a5fea4ba3" providerId="ADAL" clId="{96A5198A-6BDF-4CD8-9CDF-B10336371EBC}" dt="2023-03-14T16:06:22.328" v="3368" actId="478"/>
          <ac:picMkLst>
            <pc:docMk/>
            <pc:sldMk cId="546997005" sldId="2147375689"/>
            <ac:picMk id="7" creationId="{36B569E3-17D1-75A5-7C94-72F85D00D800}"/>
          </ac:picMkLst>
        </pc:picChg>
      </pc:sldChg>
      <pc:sldChg chg="delSp modSp add mod">
        <pc:chgData name="Cyprien DE CHAMBURE" userId="954ca6a6-7c37-422b-ae6a-3f5a5fea4ba3" providerId="ADAL" clId="{96A5198A-6BDF-4CD8-9CDF-B10336371EBC}" dt="2023-03-14T16:06:11.903" v="3366" actId="1076"/>
        <pc:sldMkLst>
          <pc:docMk/>
          <pc:sldMk cId="1301428030" sldId="2147375690"/>
        </pc:sldMkLst>
        <pc:spChg chg="del">
          <ac:chgData name="Cyprien DE CHAMBURE" userId="954ca6a6-7c37-422b-ae6a-3f5a5fea4ba3" providerId="ADAL" clId="{96A5198A-6BDF-4CD8-9CDF-B10336371EBC}" dt="2023-03-14T16:06:05.595" v="3364" actId="478"/>
          <ac:spMkLst>
            <pc:docMk/>
            <pc:sldMk cId="1301428030" sldId="2147375690"/>
            <ac:spMk id="3" creationId="{DE2435D4-B6C5-DB11-0FF5-5620A3B371E1}"/>
          </ac:spMkLst>
        </pc:spChg>
        <pc:spChg chg="mod">
          <ac:chgData name="Cyprien DE CHAMBURE" userId="954ca6a6-7c37-422b-ae6a-3f5a5fea4ba3" providerId="ADAL" clId="{96A5198A-6BDF-4CD8-9CDF-B10336371EBC}" dt="2023-03-14T16:06:09.235" v="3365" actId="1076"/>
          <ac:spMkLst>
            <pc:docMk/>
            <pc:sldMk cId="1301428030" sldId="2147375690"/>
            <ac:spMk id="6" creationId="{C9A4515A-2003-5099-8433-BD08733FBD15}"/>
          </ac:spMkLst>
        </pc:spChg>
        <pc:picChg chg="mod">
          <ac:chgData name="Cyprien DE CHAMBURE" userId="954ca6a6-7c37-422b-ae6a-3f5a5fea4ba3" providerId="ADAL" clId="{96A5198A-6BDF-4CD8-9CDF-B10336371EBC}" dt="2023-03-14T16:06:11.903" v="3366" actId="1076"/>
          <ac:picMkLst>
            <pc:docMk/>
            <pc:sldMk cId="1301428030" sldId="2147375690"/>
            <ac:picMk id="7" creationId="{36B569E3-17D1-75A5-7C94-72F85D00D800}"/>
          </ac:picMkLst>
        </pc:picChg>
      </pc:sldChg>
      <pc:sldChg chg="modSp add mod">
        <pc:chgData name="Cyprien DE CHAMBURE" userId="954ca6a6-7c37-422b-ae6a-3f5a5fea4ba3" providerId="ADAL" clId="{96A5198A-6BDF-4CD8-9CDF-B10336371EBC}" dt="2023-03-15T13:57:48.320" v="5122" actId="20577"/>
        <pc:sldMkLst>
          <pc:docMk/>
          <pc:sldMk cId="4259021300" sldId="2147375691"/>
        </pc:sldMkLst>
        <pc:spChg chg="mod">
          <ac:chgData name="Cyprien DE CHAMBURE" userId="954ca6a6-7c37-422b-ae6a-3f5a5fea4ba3" providerId="ADAL" clId="{96A5198A-6BDF-4CD8-9CDF-B10336371EBC}" dt="2023-03-15T09:53:06.854" v="4328" actId="20577"/>
          <ac:spMkLst>
            <pc:docMk/>
            <pc:sldMk cId="4259021300" sldId="2147375691"/>
            <ac:spMk id="6" creationId="{00000000-0000-0000-0000-000000000000}"/>
          </ac:spMkLst>
        </pc:spChg>
        <pc:spChg chg="mod">
          <ac:chgData name="Cyprien DE CHAMBURE" userId="954ca6a6-7c37-422b-ae6a-3f5a5fea4ba3" providerId="ADAL" clId="{96A5198A-6BDF-4CD8-9CDF-B10336371EBC}" dt="2023-03-15T13:57:48.320" v="5122" actId="20577"/>
          <ac:spMkLst>
            <pc:docMk/>
            <pc:sldMk cId="4259021300" sldId="2147375691"/>
            <ac:spMk id="8" creationId="{A1D54523-6D95-7FF5-253F-E1BBAFB2D930}"/>
          </ac:spMkLst>
        </pc:spChg>
      </pc:sldChg>
      <pc:sldChg chg="modSp add mod ord">
        <pc:chgData name="Cyprien DE CHAMBURE" userId="954ca6a6-7c37-422b-ae6a-3f5a5fea4ba3" providerId="ADAL" clId="{96A5198A-6BDF-4CD8-9CDF-B10336371EBC}" dt="2023-03-15T14:21:06.531" v="5429" actId="5793"/>
        <pc:sldMkLst>
          <pc:docMk/>
          <pc:sldMk cId="1950768040" sldId="2147375692"/>
        </pc:sldMkLst>
        <pc:spChg chg="mod">
          <ac:chgData name="Cyprien DE CHAMBURE" userId="954ca6a6-7c37-422b-ae6a-3f5a5fea4ba3" providerId="ADAL" clId="{96A5198A-6BDF-4CD8-9CDF-B10336371EBC}" dt="2023-03-15T14:21:06.531" v="5429" actId="5793"/>
          <ac:spMkLst>
            <pc:docMk/>
            <pc:sldMk cId="1950768040" sldId="2147375692"/>
            <ac:spMk id="10" creationId="{87DE51B1-5052-4085-BCC6-D3474C0C80CF}"/>
          </ac:spMkLst>
        </pc:spChg>
        <pc:spChg chg="mod">
          <ac:chgData name="Cyprien DE CHAMBURE" userId="954ca6a6-7c37-422b-ae6a-3f5a5fea4ba3" providerId="ADAL" clId="{96A5198A-6BDF-4CD8-9CDF-B10336371EBC}" dt="2023-03-15T14:00:57.436" v="5141" actId="20577"/>
          <ac:spMkLst>
            <pc:docMk/>
            <pc:sldMk cId="1950768040" sldId="2147375692"/>
            <ac:spMk id="15" creationId="{6ECE80BD-44BA-4FB4-B913-655627A2F712}"/>
          </ac:spMkLst>
        </pc:spChg>
      </pc:sldChg>
      <pc:sldChg chg="delSp modSp add mod">
        <pc:chgData name="Cyprien DE CHAMBURE" userId="954ca6a6-7c37-422b-ae6a-3f5a5fea4ba3" providerId="ADAL" clId="{96A5198A-6BDF-4CD8-9CDF-B10336371EBC}" dt="2023-03-16T10:58:09.446" v="7414" actId="20577"/>
        <pc:sldMkLst>
          <pc:docMk/>
          <pc:sldMk cId="2673920977" sldId="2147375693"/>
        </pc:sldMkLst>
        <pc:spChg chg="del">
          <ac:chgData name="Cyprien DE CHAMBURE" userId="954ca6a6-7c37-422b-ae6a-3f5a5fea4ba3" providerId="ADAL" clId="{96A5198A-6BDF-4CD8-9CDF-B10336371EBC}" dt="2023-03-15T16:47:47.542" v="5866" actId="478"/>
          <ac:spMkLst>
            <pc:docMk/>
            <pc:sldMk cId="2673920977" sldId="2147375693"/>
            <ac:spMk id="4" creationId="{F70DFF4A-0C11-A2B5-3D68-F738965BF93C}"/>
          </ac:spMkLst>
        </pc:spChg>
        <pc:spChg chg="del">
          <ac:chgData name="Cyprien DE CHAMBURE" userId="954ca6a6-7c37-422b-ae6a-3f5a5fea4ba3" providerId="ADAL" clId="{96A5198A-6BDF-4CD8-9CDF-B10336371EBC}" dt="2023-03-15T16:47:49.344" v="5867" actId="478"/>
          <ac:spMkLst>
            <pc:docMk/>
            <pc:sldMk cId="2673920977" sldId="2147375693"/>
            <ac:spMk id="7" creationId="{623B8ED9-4D36-BE98-A538-20529F958756}"/>
          </ac:spMkLst>
        </pc:spChg>
        <pc:spChg chg="mod">
          <ac:chgData name="Cyprien DE CHAMBURE" userId="954ca6a6-7c37-422b-ae6a-3f5a5fea4ba3" providerId="ADAL" clId="{96A5198A-6BDF-4CD8-9CDF-B10336371EBC}" dt="2023-03-16T10:58:09.446" v="7414" actId="20577"/>
          <ac:spMkLst>
            <pc:docMk/>
            <pc:sldMk cId="2673920977" sldId="2147375693"/>
            <ac:spMk id="8" creationId="{4B08067A-7F4E-165A-9BA5-D0E67707A884}"/>
          </ac:spMkLst>
        </pc:spChg>
        <pc:spChg chg="mod">
          <ac:chgData name="Cyprien DE CHAMBURE" userId="954ca6a6-7c37-422b-ae6a-3f5a5fea4ba3" providerId="ADAL" clId="{96A5198A-6BDF-4CD8-9CDF-B10336371EBC}" dt="2023-03-15T16:48:09.320" v="5884" actId="20577"/>
          <ac:spMkLst>
            <pc:docMk/>
            <pc:sldMk cId="2673920977" sldId="2147375693"/>
            <ac:spMk id="15" creationId="{6ECE80BD-44BA-4FB4-B913-655627A2F712}"/>
          </ac:spMkLst>
        </pc:spChg>
      </pc:sldChg>
      <pc:sldChg chg="addSp delSp modSp new mod">
        <pc:chgData name="Cyprien DE CHAMBURE" userId="954ca6a6-7c37-422b-ae6a-3f5a5fea4ba3" providerId="ADAL" clId="{96A5198A-6BDF-4CD8-9CDF-B10336371EBC}" dt="2023-03-16T10:47:20.188" v="7276" actId="1076"/>
        <pc:sldMkLst>
          <pc:docMk/>
          <pc:sldMk cId="914884057" sldId="2147375694"/>
        </pc:sldMkLst>
        <pc:spChg chg="del">
          <ac:chgData name="Cyprien DE CHAMBURE" userId="954ca6a6-7c37-422b-ae6a-3f5a5fea4ba3" providerId="ADAL" clId="{96A5198A-6BDF-4CD8-9CDF-B10336371EBC}" dt="2023-03-16T10:42:51.790" v="7164" actId="478"/>
          <ac:spMkLst>
            <pc:docMk/>
            <pc:sldMk cId="914884057" sldId="2147375694"/>
            <ac:spMk id="4" creationId="{8EF36A9C-0348-BDFA-3509-3B258B550DC4}"/>
          </ac:spMkLst>
        </pc:spChg>
        <pc:spChg chg="add del mod">
          <ac:chgData name="Cyprien DE CHAMBURE" userId="954ca6a6-7c37-422b-ae6a-3f5a5fea4ba3" providerId="ADAL" clId="{96A5198A-6BDF-4CD8-9CDF-B10336371EBC}" dt="2023-03-16T10:45:22.143" v="7181" actId="21"/>
          <ac:spMkLst>
            <pc:docMk/>
            <pc:sldMk cId="914884057" sldId="2147375694"/>
            <ac:spMk id="6" creationId="{6BDC3EED-6BBA-38CA-8398-2FAB18B30195}"/>
          </ac:spMkLst>
        </pc:spChg>
        <pc:spChg chg="add mod">
          <ac:chgData name="Cyprien DE CHAMBURE" userId="954ca6a6-7c37-422b-ae6a-3f5a5fea4ba3" providerId="ADAL" clId="{96A5198A-6BDF-4CD8-9CDF-B10336371EBC}" dt="2023-03-16T10:47:13.875" v="7274" actId="207"/>
          <ac:spMkLst>
            <pc:docMk/>
            <pc:sldMk cId="914884057" sldId="2147375694"/>
            <ac:spMk id="7" creationId="{828E489D-4B2D-F191-0135-6242812DC503}"/>
          </ac:spMkLst>
        </pc:spChg>
        <pc:spChg chg="add del mod">
          <ac:chgData name="Cyprien DE CHAMBURE" userId="954ca6a6-7c37-422b-ae6a-3f5a5fea4ba3" providerId="ADAL" clId="{96A5198A-6BDF-4CD8-9CDF-B10336371EBC}" dt="2023-03-16T10:46:52.099" v="7272" actId="478"/>
          <ac:spMkLst>
            <pc:docMk/>
            <pc:sldMk cId="914884057" sldId="2147375694"/>
            <ac:spMk id="9" creationId="{C5436494-AA02-9D57-4DD2-F6E57E3CE951}"/>
          </ac:spMkLst>
        </pc:spChg>
        <pc:picChg chg="add del">
          <ac:chgData name="Cyprien DE CHAMBURE" userId="954ca6a6-7c37-422b-ae6a-3f5a5fea4ba3" providerId="ADAL" clId="{96A5198A-6BDF-4CD8-9CDF-B10336371EBC}" dt="2023-03-16T10:47:16.107" v="7275" actId="478"/>
          <ac:picMkLst>
            <pc:docMk/>
            <pc:sldMk cId="914884057" sldId="2147375694"/>
            <ac:picMk id="11" creationId="{4A47ACE3-C48F-9F4B-F12F-10FE8D9AFE61}"/>
          </ac:picMkLst>
        </pc:picChg>
        <pc:picChg chg="add mod">
          <ac:chgData name="Cyprien DE CHAMBURE" userId="954ca6a6-7c37-422b-ae6a-3f5a5fea4ba3" providerId="ADAL" clId="{96A5198A-6BDF-4CD8-9CDF-B10336371EBC}" dt="2023-03-16T10:47:20.188" v="7276" actId="1076"/>
          <ac:picMkLst>
            <pc:docMk/>
            <pc:sldMk cId="914884057" sldId="2147375694"/>
            <ac:picMk id="1026" creationId="{A30487C1-78DD-9A22-D6CC-6C8C8A99E808}"/>
          </ac:picMkLst>
        </pc:picChg>
      </pc:sldChg>
      <pc:sldChg chg="addSp delSp modSp new mod">
        <pc:chgData name="Cyprien DE CHAMBURE" userId="954ca6a6-7c37-422b-ae6a-3f5a5fea4ba3" providerId="ADAL" clId="{96A5198A-6BDF-4CD8-9CDF-B10336371EBC}" dt="2023-03-16T10:46:30.593" v="7269" actId="207"/>
        <pc:sldMkLst>
          <pc:docMk/>
          <pc:sldMk cId="3926683070" sldId="2147375695"/>
        </pc:sldMkLst>
        <pc:spChg chg="del">
          <ac:chgData name="Cyprien DE CHAMBURE" userId="954ca6a6-7c37-422b-ae6a-3f5a5fea4ba3" providerId="ADAL" clId="{96A5198A-6BDF-4CD8-9CDF-B10336371EBC}" dt="2023-03-16T10:45:26.989" v="7184" actId="478"/>
          <ac:spMkLst>
            <pc:docMk/>
            <pc:sldMk cId="3926683070" sldId="2147375695"/>
            <ac:spMk id="4" creationId="{A366A4FF-DDAD-6908-861D-D0C3D9CB6DFE}"/>
          </ac:spMkLst>
        </pc:spChg>
        <pc:spChg chg="add mod">
          <ac:chgData name="Cyprien DE CHAMBURE" userId="954ca6a6-7c37-422b-ae6a-3f5a5fea4ba3" providerId="ADAL" clId="{96A5198A-6BDF-4CD8-9CDF-B10336371EBC}" dt="2023-03-16T10:46:28.555" v="7268" actId="1076"/>
          <ac:spMkLst>
            <pc:docMk/>
            <pc:sldMk cId="3926683070" sldId="2147375695"/>
            <ac:spMk id="5" creationId="{AEA485BE-51DA-D8AA-759E-83771F08AEEC}"/>
          </ac:spMkLst>
        </pc:spChg>
        <pc:spChg chg="add mod">
          <ac:chgData name="Cyprien DE CHAMBURE" userId="954ca6a6-7c37-422b-ae6a-3f5a5fea4ba3" providerId="ADAL" clId="{96A5198A-6BDF-4CD8-9CDF-B10336371EBC}" dt="2023-03-16T10:46:30.593" v="7269" actId="207"/>
          <ac:spMkLst>
            <pc:docMk/>
            <pc:sldMk cId="3926683070" sldId="2147375695"/>
            <ac:spMk id="6" creationId="{C0B02B57-BA33-4AD5-F018-0B85F62FA11D}"/>
          </ac:spMkLst>
        </pc:spChg>
      </pc:sldChg>
      <pc:sldChg chg="addSp delSp modSp new mod">
        <pc:chgData name="Cyprien DE CHAMBURE" userId="954ca6a6-7c37-422b-ae6a-3f5a5fea4ba3" providerId="ADAL" clId="{96A5198A-6BDF-4CD8-9CDF-B10336371EBC}" dt="2023-03-16T10:48:19.195" v="7350" actId="1035"/>
        <pc:sldMkLst>
          <pc:docMk/>
          <pc:sldMk cId="3346997723" sldId="2147375696"/>
        </pc:sldMkLst>
        <pc:spChg chg="del">
          <ac:chgData name="Cyprien DE CHAMBURE" userId="954ca6a6-7c37-422b-ae6a-3f5a5fea4ba3" providerId="ADAL" clId="{96A5198A-6BDF-4CD8-9CDF-B10336371EBC}" dt="2023-03-16T10:47:47.648" v="7278" actId="478"/>
          <ac:spMkLst>
            <pc:docMk/>
            <pc:sldMk cId="3346997723" sldId="2147375696"/>
            <ac:spMk id="4" creationId="{C43961F0-7E50-64AF-2002-43B72346188D}"/>
          </ac:spMkLst>
        </pc:spChg>
        <pc:spChg chg="add mod">
          <ac:chgData name="Cyprien DE CHAMBURE" userId="954ca6a6-7c37-422b-ae6a-3f5a5fea4ba3" providerId="ADAL" clId="{96A5198A-6BDF-4CD8-9CDF-B10336371EBC}" dt="2023-03-16T10:48:19.195" v="7350" actId="1035"/>
          <ac:spMkLst>
            <pc:docMk/>
            <pc:sldMk cId="3346997723" sldId="2147375696"/>
            <ac:spMk id="5" creationId="{8771A4C9-04EA-E3E1-6259-F43798B01412}"/>
          </ac:spMkLst>
        </pc:spChg>
        <pc:picChg chg="add mod">
          <ac:chgData name="Cyprien DE CHAMBURE" userId="954ca6a6-7c37-422b-ae6a-3f5a5fea4ba3" providerId="ADAL" clId="{96A5198A-6BDF-4CD8-9CDF-B10336371EBC}" dt="2023-03-16T10:47:52.844" v="7282" actId="1076"/>
          <ac:picMkLst>
            <pc:docMk/>
            <pc:sldMk cId="3346997723" sldId="2147375696"/>
            <ac:picMk id="2050" creationId="{0EE55CDD-DE86-C6B5-4A6C-FFFEC4372E69}"/>
          </ac:picMkLst>
        </pc:picChg>
      </pc:sldChg>
      <pc:sldChg chg="modSp add mod">
        <pc:chgData name="Cyprien DE CHAMBURE" userId="954ca6a6-7c37-422b-ae6a-3f5a5fea4ba3" providerId="ADAL" clId="{96A5198A-6BDF-4CD8-9CDF-B10336371EBC}" dt="2023-03-16T11:31:06.901" v="7607" actId="20577"/>
        <pc:sldMkLst>
          <pc:docMk/>
          <pc:sldMk cId="2547718653" sldId="2147375697"/>
        </pc:sldMkLst>
        <pc:spChg chg="mod">
          <ac:chgData name="Cyprien DE CHAMBURE" userId="954ca6a6-7c37-422b-ae6a-3f5a5fea4ba3" providerId="ADAL" clId="{96A5198A-6BDF-4CD8-9CDF-B10336371EBC}" dt="2023-03-16T11:31:06.901" v="7607" actId="20577"/>
          <ac:spMkLst>
            <pc:docMk/>
            <pc:sldMk cId="2547718653" sldId="2147375697"/>
            <ac:spMk id="8" creationId="{4B08067A-7F4E-165A-9BA5-D0E67707A88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5659" cy="496332"/>
          </a:xfrm>
          <a:prstGeom prst="rect">
            <a:avLst/>
          </a:prstGeom>
        </p:spPr>
        <p:txBody>
          <a:bodyPr vert="horz" lIns="91413" tIns="45706" rIns="91413" bIns="45706" rtlCol="0"/>
          <a:lstStyle>
            <a:lvl1pPr algn="l">
              <a:defRPr sz="1200"/>
            </a:lvl1pPr>
          </a:lstStyle>
          <a:p>
            <a:endParaRPr lang="fr-FR"/>
          </a:p>
        </p:txBody>
      </p:sp>
      <p:sp>
        <p:nvSpPr>
          <p:cNvPr id="3" name="Espace réservé de la date 2"/>
          <p:cNvSpPr>
            <a:spLocks noGrp="1"/>
          </p:cNvSpPr>
          <p:nvPr>
            <p:ph type="dt" idx="1"/>
          </p:nvPr>
        </p:nvSpPr>
        <p:spPr>
          <a:xfrm>
            <a:off x="3850443" y="1"/>
            <a:ext cx="2945659" cy="496332"/>
          </a:xfrm>
          <a:prstGeom prst="rect">
            <a:avLst/>
          </a:prstGeom>
        </p:spPr>
        <p:txBody>
          <a:bodyPr vert="horz" lIns="91413" tIns="45706" rIns="91413" bIns="45706" rtlCol="0"/>
          <a:lstStyle>
            <a:lvl1pPr algn="r">
              <a:defRPr sz="1200"/>
            </a:lvl1pPr>
          </a:lstStyle>
          <a:p>
            <a:fld id="{594F8A28-930A-4DAB-B848-AF8ADEC772C0}" type="datetimeFigureOut">
              <a:rPr lang="fr-FR" smtClean="0"/>
              <a:pPr/>
              <a:t>07/06/2023</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13" tIns="45706" rIns="91413" bIns="45706"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13" tIns="45706" rIns="91413" bIns="45706"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91413" tIns="45706" rIns="91413" bIns="45706"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91413" tIns="45706" rIns="91413" bIns="45706" rtlCol="0" anchor="b"/>
          <a:lstStyle>
            <a:lvl1pPr algn="r">
              <a:defRPr sz="1200"/>
            </a:lvl1pPr>
          </a:lstStyle>
          <a:p>
            <a:fld id="{561334EA-784F-4FAA-A6AE-D362D0EA046E}" type="slidenum">
              <a:rPr lang="fr-FR" smtClean="0"/>
              <a:pPr/>
              <a:t>‹#›</a:t>
            </a:fld>
            <a:endParaRPr lang="fr-FR"/>
          </a:p>
        </p:txBody>
      </p:sp>
    </p:spTree>
    <p:extLst>
      <p:ext uri="{BB962C8B-B14F-4D97-AF65-F5344CB8AC3E}">
        <p14:creationId xmlns:p14="http://schemas.microsoft.com/office/powerpoint/2010/main" val="3756373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dirty="0"/>
          </a:p>
          <a:p>
            <a:endParaRPr lang="fr-BE" dirty="0"/>
          </a:p>
        </p:txBody>
      </p:sp>
      <p:sp>
        <p:nvSpPr>
          <p:cNvPr id="4" name="Slide Number Placeholder 3"/>
          <p:cNvSpPr>
            <a:spLocks noGrp="1"/>
          </p:cNvSpPr>
          <p:nvPr>
            <p:ph type="sldNum" sz="quarter" idx="10"/>
          </p:nvPr>
        </p:nvSpPr>
        <p:spPr/>
        <p:txBody>
          <a:bodyPr/>
          <a:lstStyle/>
          <a:p>
            <a:fld id="{561334EA-784F-4FAA-A6AE-D362D0EA046E}" type="slidenum">
              <a:rPr lang="fr-FR" smtClean="0"/>
              <a:pPr/>
              <a:t>1</a:t>
            </a:fld>
            <a:endParaRPr lang="fr-FR" dirty="0"/>
          </a:p>
        </p:txBody>
      </p:sp>
    </p:spTree>
    <p:extLst>
      <p:ext uri="{BB962C8B-B14F-4D97-AF65-F5344CB8AC3E}">
        <p14:creationId xmlns:p14="http://schemas.microsoft.com/office/powerpoint/2010/main" val="418533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fld id="{561334EA-784F-4FAA-A6AE-D362D0EA046E}" type="slidenum">
              <a:rPr lang="fr-FR" smtClean="0"/>
              <a:pPr/>
              <a:t>6</a:t>
            </a:fld>
            <a:endParaRPr lang="fr-FR"/>
          </a:p>
        </p:txBody>
      </p:sp>
    </p:spTree>
    <p:extLst>
      <p:ext uri="{BB962C8B-B14F-4D97-AF65-F5344CB8AC3E}">
        <p14:creationId xmlns:p14="http://schemas.microsoft.com/office/powerpoint/2010/main" val="1607891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fld id="{561334EA-784F-4FAA-A6AE-D362D0EA046E}" type="slidenum">
              <a:rPr lang="fr-FR" smtClean="0"/>
              <a:pPr/>
              <a:t>7</a:t>
            </a:fld>
            <a:endParaRPr lang="fr-FR"/>
          </a:p>
        </p:txBody>
      </p:sp>
    </p:spTree>
    <p:extLst>
      <p:ext uri="{BB962C8B-B14F-4D97-AF65-F5344CB8AC3E}">
        <p14:creationId xmlns:p14="http://schemas.microsoft.com/office/powerpoint/2010/main" val="2777473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fld id="{561334EA-784F-4FAA-A6AE-D362D0EA046E}" type="slidenum">
              <a:rPr lang="fr-FR" smtClean="0"/>
              <a:pPr/>
              <a:t>8</a:t>
            </a:fld>
            <a:endParaRPr lang="fr-FR"/>
          </a:p>
        </p:txBody>
      </p:sp>
    </p:spTree>
    <p:extLst>
      <p:ext uri="{BB962C8B-B14F-4D97-AF65-F5344CB8AC3E}">
        <p14:creationId xmlns:p14="http://schemas.microsoft.com/office/powerpoint/2010/main" val="4178190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50.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53.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57.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57.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63.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66.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78.png"/><Relationship Id="rId2" Type="http://schemas.openxmlformats.org/officeDocument/2006/relationships/image" Target="../media/image41.png"/><Relationship Id="rId1" Type="http://schemas.openxmlformats.org/officeDocument/2006/relationships/slideMaster" Target="../slideMasters/slideMaster3.xml"/><Relationship Id="rId6" Type="http://schemas.openxmlformats.org/officeDocument/2006/relationships/image" Target="../media/image77.png"/><Relationship Id="rId5" Type="http://schemas.openxmlformats.org/officeDocument/2006/relationships/image" Target="../media/image55.png"/><Relationship Id="rId4" Type="http://schemas.openxmlformats.org/officeDocument/2006/relationships/image" Target="../media/image7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9.png"/><Relationship Id="rId3" Type="http://schemas.openxmlformats.org/officeDocument/2006/relationships/image" Target="../media/image6.jpeg"/><Relationship Id="rId21" Type="http://schemas.openxmlformats.org/officeDocument/2006/relationships/image" Target="../media/image24.png"/><Relationship Id="rId34" Type="http://schemas.openxmlformats.org/officeDocument/2006/relationships/image" Target="../media/image37.svg"/><Relationship Id="rId7" Type="http://schemas.openxmlformats.org/officeDocument/2006/relationships/image" Target="../media/image10.jpeg"/><Relationship Id="rId12" Type="http://schemas.openxmlformats.org/officeDocument/2006/relationships/image" Target="../media/image15.png"/><Relationship Id="rId17" Type="http://schemas.openxmlformats.org/officeDocument/2006/relationships/image" Target="../media/image20.wmf"/><Relationship Id="rId25" Type="http://schemas.openxmlformats.org/officeDocument/2006/relationships/image" Target="../media/image28.jpeg"/><Relationship Id="rId33" Type="http://schemas.openxmlformats.org/officeDocument/2006/relationships/image" Target="../media/image36.png"/><Relationship Id="rId2" Type="http://schemas.openxmlformats.org/officeDocument/2006/relationships/image" Target="../media/image5.png"/><Relationship Id="rId16" Type="http://schemas.openxmlformats.org/officeDocument/2006/relationships/image" Target="../media/image19.jpeg"/><Relationship Id="rId20" Type="http://schemas.openxmlformats.org/officeDocument/2006/relationships/image" Target="../media/image23.svg"/><Relationship Id="rId29"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9.jpeg"/><Relationship Id="rId11" Type="http://schemas.openxmlformats.org/officeDocument/2006/relationships/image" Target="../media/image14.gif"/><Relationship Id="rId24" Type="http://schemas.openxmlformats.org/officeDocument/2006/relationships/image" Target="../media/image27.svg"/><Relationship Id="rId32" Type="http://schemas.openxmlformats.org/officeDocument/2006/relationships/image" Target="../media/image35.png"/><Relationship Id="rId5" Type="http://schemas.openxmlformats.org/officeDocument/2006/relationships/image" Target="../media/image8.jpeg"/><Relationship Id="rId15" Type="http://schemas.openxmlformats.org/officeDocument/2006/relationships/image" Target="../media/image18.png"/><Relationship Id="rId23" Type="http://schemas.openxmlformats.org/officeDocument/2006/relationships/image" Target="../media/image26.png"/><Relationship Id="rId28" Type="http://schemas.openxmlformats.org/officeDocument/2006/relationships/image" Target="../media/image31.jpeg"/><Relationship Id="rId10" Type="http://schemas.openxmlformats.org/officeDocument/2006/relationships/image" Target="../media/image13.jpeg"/><Relationship Id="rId19" Type="http://schemas.openxmlformats.org/officeDocument/2006/relationships/image" Target="../media/image22.png"/><Relationship Id="rId31" Type="http://schemas.openxmlformats.org/officeDocument/2006/relationships/image" Target="../media/image34.sv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jpeg"/><Relationship Id="rId22" Type="http://schemas.openxmlformats.org/officeDocument/2006/relationships/image" Target="../media/image25.svg"/><Relationship Id="rId27" Type="http://schemas.openxmlformats.org/officeDocument/2006/relationships/image" Target="../media/image30.svg"/><Relationship Id="rId30" Type="http://schemas.openxmlformats.org/officeDocument/2006/relationships/image" Target="../media/image33.png"/><Relationship Id="rId35" Type="http://schemas.openxmlformats.org/officeDocument/2006/relationships/image" Target="../media/image38.tiff"/><Relationship Id="rId8"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51520" y="1526927"/>
            <a:ext cx="3312368" cy="1470025"/>
          </a:xfrm>
        </p:spPr>
        <p:txBody>
          <a:bodyPr>
            <a:noAutofit/>
          </a:bodyPr>
          <a:lstStyle>
            <a:lvl1pPr>
              <a:defRPr sz="3200"/>
            </a:lvl1pPr>
          </a:lstStyle>
          <a:p>
            <a:r>
              <a:rPr lang="fr-FR" dirty="0"/>
              <a:t>Cliquez pour modifier le style du titre</a:t>
            </a:r>
          </a:p>
        </p:txBody>
      </p:sp>
      <p:sp>
        <p:nvSpPr>
          <p:cNvPr id="3" name="Sous-titre 2"/>
          <p:cNvSpPr>
            <a:spLocks noGrp="1"/>
          </p:cNvSpPr>
          <p:nvPr>
            <p:ph type="subTitle" idx="1"/>
          </p:nvPr>
        </p:nvSpPr>
        <p:spPr>
          <a:xfrm>
            <a:off x="251520" y="3284984"/>
            <a:ext cx="2736304" cy="1752600"/>
          </a:xfrm>
        </p:spPr>
        <p:txBody>
          <a:bodyPr>
            <a:normAutofit/>
          </a:bodyPr>
          <a:lstStyle>
            <a:lvl1pPr marL="0" indent="0" algn="ctr">
              <a:buNone/>
              <a:defRPr sz="20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p>
        </p:txBody>
      </p:sp>
      <p:sp>
        <p:nvSpPr>
          <p:cNvPr id="7" name="Rectangle 6"/>
          <p:cNvSpPr/>
          <p:nvPr userDrawn="1"/>
        </p:nvSpPr>
        <p:spPr>
          <a:xfrm>
            <a:off x="0" y="0"/>
            <a:ext cx="9144000" cy="548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251520" y="836712"/>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e 5"/>
          <p:cNvGrpSpPr/>
          <p:nvPr userDrawn="1"/>
        </p:nvGrpSpPr>
        <p:grpSpPr>
          <a:xfrm>
            <a:off x="3048000" y="990600"/>
            <a:ext cx="4976813" cy="5240426"/>
            <a:chOff x="3048000" y="990600"/>
            <a:chExt cx="4976813" cy="5240426"/>
          </a:xfrm>
        </p:grpSpPr>
        <p:sp>
          <p:nvSpPr>
            <p:cNvPr id="9" name="RS" descr="80%"/>
            <p:cNvSpPr>
              <a:spLocks noChangeAspect="1"/>
            </p:cNvSpPr>
            <p:nvPr/>
          </p:nvSpPr>
          <p:spPr bwMode="auto">
            <a:xfrm>
              <a:off x="6699250" y="4576763"/>
              <a:ext cx="520700" cy="654050"/>
            </a:xfrm>
            <a:custGeom>
              <a:avLst/>
              <a:gdLst>
                <a:gd name="T0" fmla="*/ 152 w 414"/>
                <a:gd name="T1" fmla="*/ 4 h 550"/>
                <a:gd name="T2" fmla="*/ 213 w 414"/>
                <a:gd name="T3" fmla="*/ 1 h 550"/>
                <a:gd name="T4" fmla="*/ 228 w 414"/>
                <a:gd name="T5" fmla="*/ 17 h 550"/>
                <a:gd name="T6" fmla="*/ 237 w 414"/>
                <a:gd name="T7" fmla="*/ 30 h 550"/>
                <a:gd name="T8" fmla="*/ 248 w 414"/>
                <a:gd name="T9" fmla="*/ 82 h 550"/>
                <a:gd name="T10" fmla="*/ 282 w 414"/>
                <a:gd name="T11" fmla="*/ 94 h 550"/>
                <a:gd name="T12" fmla="*/ 297 w 414"/>
                <a:gd name="T13" fmla="*/ 168 h 550"/>
                <a:gd name="T14" fmla="*/ 319 w 414"/>
                <a:gd name="T15" fmla="*/ 188 h 550"/>
                <a:gd name="T16" fmla="*/ 357 w 414"/>
                <a:gd name="T17" fmla="*/ 181 h 550"/>
                <a:gd name="T18" fmla="*/ 384 w 414"/>
                <a:gd name="T19" fmla="*/ 222 h 550"/>
                <a:gd name="T20" fmla="*/ 381 w 414"/>
                <a:gd name="T21" fmla="*/ 256 h 550"/>
                <a:gd name="T22" fmla="*/ 376 w 414"/>
                <a:gd name="T23" fmla="*/ 274 h 550"/>
                <a:gd name="T24" fmla="*/ 387 w 414"/>
                <a:gd name="T25" fmla="*/ 326 h 550"/>
                <a:gd name="T26" fmla="*/ 414 w 414"/>
                <a:gd name="T27" fmla="*/ 347 h 550"/>
                <a:gd name="T28" fmla="*/ 377 w 414"/>
                <a:gd name="T29" fmla="*/ 411 h 550"/>
                <a:gd name="T30" fmla="*/ 373 w 414"/>
                <a:gd name="T31" fmla="*/ 488 h 550"/>
                <a:gd name="T32" fmla="*/ 343 w 414"/>
                <a:gd name="T33" fmla="*/ 505 h 550"/>
                <a:gd name="T34" fmla="*/ 305 w 414"/>
                <a:gd name="T35" fmla="*/ 513 h 550"/>
                <a:gd name="T36" fmla="*/ 259 w 414"/>
                <a:gd name="T37" fmla="*/ 525 h 550"/>
                <a:gd name="T38" fmla="*/ 225 w 414"/>
                <a:gd name="T39" fmla="*/ 501 h 550"/>
                <a:gd name="T40" fmla="*/ 194 w 414"/>
                <a:gd name="T41" fmla="*/ 483 h 550"/>
                <a:gd name="T42" fmla="*/ 171 w 414"/>
                <a:gd name="T43" fmla="*/ 461 h 550"/>
                <a:gd name="T44" fmla="*/ 133 w 414"/>
                <a:gd name="T45" fmla="*/ 461 h 550"/>
                <a:gd name="T46" fmla="*/ 115 w 414"/>
                <a:gd name="T47" fmla="*/ 509 h 550"/>
                <a:gd name="T48" fmla="*/ 16 w 414"/>
                <a:gd name="T49" fmla="*/ 454 h 550"/>
                <a:gd name="T50" fmla="*/ 23 w 414"/>
                <a:gd name="T51" fmla="*/ 402 h 550"/>
                <a:gd name="T52" fmla="*/ 42 w 414"/>
                <a:gd name="T53" fmla="*/ 360 h 550"/>
                <a:gd name="T54" fmla="*/ 69 w 414"/>
                <a:gd name="T55" fmla="*/ 324 h 550"/>
                <a:gd name="T56" fmla="*/ 95 w 414"/>
                <a:gd name="T57" fmla="*/ 287 h 550"/>
                <a:gd name="T58" fmla="*/ 106 w 414"/>
                <a:gd name="T59" fmla="*/ 252 h 550"/>
                <a:gd name="T60" fmla="*/ 107 w 414"/>
                <a:gd name="T61" fmla="*/ 175 h 550"/>
                <a:gd name="T62" fmla="*/ 91 w 414"/>
                <a:gd name="T63" fmla="*/ 112 h 550"/>
                <a:gd name="T64" fmla="*/ 69 w 414"/>
                <a:gd name="T65" fmla="*/ 38 h 55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2778 w 10000"/>
                <a:gd name="connsiteY47" fmla="*/ 9255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3989 w 10000"/>
                <a:gd name="connsiteY48" fmla="*/ 7969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111 w 9444"/>
                <a:gd name="connsiteY0" fmla="*/ 691 h 10000"/>
                <a:gd name="connsiteX1" fmla="*/ 3115 w 9444"/>
                <a:gd name="connsiteY1" fmla="*/ 73 h 10000"/>
                <a:gd name="connsiteX2" fmla="*/ 4033 w 9444"/>
                <a:gd name="connsiteY2" fmla="*/ 0 h 10000"/>
                <a:gd name="connsiteX3" fmla="*/ 4589 w 9444"/>
                <a:gd name="connsiteY3" fmla="*/ 18 h 10000"/>
                <a:gd name="connsiteX4" fmla="*/ 4782 w 9444"/>
                <a:gd name="connsiteY4" fmla="*/ 145 h 10000"/>
                <a:gd name="connsiteX5" fmla="*/ 4951 w 9444"/>
                <a:gd name="connsiteY5" fmla="*/ 309 h 10000"/>
                <a:gd name="connsiteX6" fmla="*/ 4975 w 9444"/>
                <a:gd name="connsiteY6" fmla="*/ 491 h 10000"/>
                <a:gd name="connsiteX7" fmla="*/ 5169 w 9444"/>
                <a:gd name="connsiteY7" fmla="*/ 545 h 10000"/>
                <a:gd name="connsiteX8" fmla="*/ 5410 w 9444"/>
                <a:gd name="connsiteY8" fmla="*/ 927 h 10000"/>
                <a:gd name="connsiteX9" fmla="*/ 5434 w 9444"/>
                <a:gd name="connsiteY9" fmla="*/ 1491 h 10000"/>
                <a:gd name="connsiteX10" fmla="*/ 5676 w 9444"/>
                <a:gd name="connsiteY10" fmla="*/ 1709 h 10000"/>
                <a:gd name="connsiteX11" fmla="*/ 6256 w 9444"/>
                <a:gd name="connsiteY11" fmla="*/ 1709 h 10000"/>
                <a:gd name="connsiteX12" fmla="*/ 6618 w 9444"/>
                <a:gd name="connsiteY12" fmla="*/ 2509 h 10000"/>
                <a:gd name="connsiteX13" fmla="*/ 6618 w 9444"/>
                <a:gd name="connsiteY13" fmla="*/ 3055 h 10000"/>
                <a:gd name="connsiteX14" fmla="*/ 6884 w 9444"/>
                <a:gd name="connsiteY14" fmla="*/ 3418 h 10000"/>
                <a:gd name="connsiteX15" fmla="*/ 7149 w 9444"/>
                <a:gd name="connsiteY15" fmla="*/ 3418 h 10000"/>
                <a:gd name="connsiteX16" fmla="*/ 7729 w 9444"/>
                <a:gd name="connsiteY16" fmla="*/ 3055 h 10000"/>
                <a:gd name="connsiteX17" fmla="*/ 8067 w 9444"/>
                <a:gd name="connsiteY17" fmla="*/ 3291 h 10000"/>
                <a:gd name="connsiteX18" fmla="*/ 8091 w 9444"/>
                <a:gd name="connsiteY18" fmla="*/ 3745 h 10000"/>
                <a:gd name="connsiteX19" fmla="*/ 8719 w 9444"/>
                <a:gd name="connsiteY19" fmla="*/ 4036 h 10000"/>
                <a:gd name="connsiteX20" fmla="*/ 8623 w 9444"/>
                <a:gd name="connsiteY20" fmla="*/ 4527 h 10000"/>
                <a:gd name="connsiteX21" fmla="*/ 8647 w 9444"/>
                <a:gd name="connsiteY21" fmla="*/ 4655 h 10000"/>
                <a:gd name="connsiteX22" fmla="*/ 8744 w 9444"/>
                <a:gd name="connsiteY22" fmla="*/ 4727 h 10000"/>
                <a:gd name="connsiteX23" fmla="*/ 8526 w 9444"/>
                <a:gd name="connsiteY23" fmla="*/ 4982 h 10000"/>
                <a:gd name="connsiteX24" fmla="*/ 8454 w 9444"/>
                <a:gd name="connsiteY24" fmla="*/ 5291 h 10000"/>
                <a:gd name="connsiteX25" fmla="*/ 8792 w 9444"/>
                <a:gd name="connsiteY25" fmla="*/ 5927 h 10000"/>
                <a:gd name="connsiteX26" fmla="*/ 9299 w 9444"/>
                <a:gd name="connsiteY26" fmla="*/ 6000 h 10000"/>
                <a:gd name="connsiteX27" fmla="*/ 9444 w 9444"/>
                <a:gd name="connsiteY27" fmla="*/ 6309 h 10000"/>
                <a:gd name="connsiteX28" fmla="*/ 9299 w 9444"/>
                <a:gd name="connsiteY28" fmla="*/ 6927 h 10000"/>
                <a:gd name="connsiteX29" fmla="*/ 8550 w 9444"/>
                <a:gd name="connsiteY29" fmla="*/ 7473 h 10000"/>
                <a:gd name="connsiteX30" fmla="*/ 8744 w 9444"/>
                <a:gd name="connsiteY30" fmla="*/ 8455 h 10000"/>
                <a:gd name="connsiteX31" fmla="*/ 8454 w 9444"/>
                <a:gd name="connsiteY31" fmla="*/ 8873 h 10000"/>
                <a:gd name="connsiteX32" fmla="*/ 8647 w 9444"/>
                <a:gd name="connsiteY32" fmla="*/ 9327 h 10000"/>
                <a:gd name="connsiteX33" fmla="*/ 7729 w 9444"/>
                <a:gd name="connsiteY33" fmla="*/ 9182 h 10000"/>
                <a:gd name="connsiteX34" fmla="*/ 7270 w 9444"/>
                <a:gd name="connsiteY34" fmla="*/ 9327 h 10000"/>
                <a:gd name="connsiteX35" fmla="*/ 6811 w 9444"/>
                <a:gd name="connsiteY35" fmla="*/ 9327 h 10000"/>
                <a:gd name="connsiteX36" fmla="*/ 6256 w 9444"/>
                <a:gd name="connsiteY36" fmla="*/ 9455 h 10000"/>
                <a:gd name="connsiteX37" fmla="*/ 5700 w 9444"/>
                <a:gd name="connsiteY37" fmla="*/ 9545 h 10000"/>
                <a:gd name="connsiteX38" fmla="*/ 4855 w 9444"/>
                <a:gd name="connsiteY38" fmla="*/ 10000 h 10000"/>
                <a:gd name="connsiteX39" fmla="*/ 4879 w 9444"/>
                <a:gd name="connsiteY39" fmla="*/ 9109 h 10000"/>
                <a:gd name="connsiteX40" fmla="*/ 4710 w 9444"/>
                <a:gd name="connsiteY40" fmla="*/ 8873 h 10000"/>
                <a:gd name="connsiteX41" fmla="*/ 4130 w 9444"/>
                <a:gd name="connsiteY41" fmla="*/ 8782 h 10000"/>
                <a:gd name="connsiteX42" fmla="*/ 3937 w 9444"/>
                <a:gd name="connsiteY42" fmla="*/ 8400 h 10000"/>
                <a:gd name="connsiteX43" fmla="*/ 3574 w 9444"/>
                <a:gd name="connsiteY43" fmla="*/ 8382 h 10000"/>
                <a:gd name="connsiteX44" fmla="*/ 3405 w 9444"/>
                <a:gd name="connsiteY44" fmla="*/ 8473 h 10000"/>
                <a:gd name="connsiteX45" fmla="*/ 2657 w 9444"/>
                <a:gd name="connsiteY45" fmla="*/ 8382 h 10000"/>
                <a:gd name="connsiteX46" fmla="*/ 2367 w 9444"/>
                <a:gd name="connsiteY46" fmla="*/ 8564 h 10000"/>
                <a:gd name="connsiteX47" fmla="*/ 2850 w 9444"/>
                <a:gd name="connsiteY47" fmla="*/ 8173 h 10000"/>
                <a:gd name="connsiteX48" fmla="*/ 3433 w 9444"/>
                <a:gd name="connsiteY48" fmla="*/ 7969 h 10000"/>
                <a:gd name="connsiteX49" fmla="*/ 1444 w 9444"/>
                <a:gd name="connsiteY49" fmla="*/ 7090 h 10000"/>
                <a:gd name="connsiteX50" fmla="*/ 1238 w 9444"/>
                <a:gd name="connsiteY50" fmla="*/ 6861 h 10000"/>
                <a:gd name="connsiteX51" fmla="*/ 0 w 9444"/>
                <a:gd name="connsiteY51" fmla="*/ 7309 h 10000"/>
                <a:gd name="connsiteX52" fmla="*/ 458 w 9444"/>
                <a:gd name="connsiteY52" fmla="*/ 7127 h 10000"/>
                <a:gd name="connsiteX53" fmla="*/ 458 w 9444"/>
                <a:gd name="connsiteY53" fmla="*/ 6545 h 10000"/>
                <a:gd name="connsiteX54" fmla="*/ 917 w 9444"/>
                <a:gd name="connsiteY54" fmla="*/ 6309 h 10000"/>
                <a:gd name="connsiteX55" fmla="*/ 1111 w 9444"/>
                <a:gd name="connsiteY55" fmla="*/ 5891 h 10000"/>
                <a:gd name="connsiteX56" fmla="*/ 1642 w 9444"/>
                <a:gd name="connsiteY56" fmla="*/ 5618 h 10000"/>
                <a:gd name="connsiteX57" fmla="*/ 1739 w 9444"/>
                <a:gd name="connsiteY57" fmla="*/ 5218 h 10000"/>
                <a:gd name="connsiteX58" fmla="*/ 1666 w 9444"/>
                <a:gd name="connsiteY58" fmla="*/ 4800 h 10000"/>
                <a:gd name="connsiteX59" fmla="*/ 2004 w 9444"/>
                <a:gd name="connsiteY59" fmla="*/ 4582 h 10000"/>
                <a:gd name="connsiteX60" fmla="*/ 1545 w 9444"/>
                <a:gd name="connsiteY60" fmla="*/ 3982 h 10000"/>
                <a:gd name="connsiteX61" fmla="*/ 2029 w 9444"/>
                <a:gd name="connsiteY61" fmla="*/ 3182 h 10000"/>
                <a:gd name="connsiteX62" fmla="*/ 1497 w 9444"/>
                <a:gd name="connsiteY62" fmla="*/ 2636 h 10000"/>
                <a:gd name="connsiteX63" fmla="*/ 1642 w 9444"/>
                <a:gd name="connsiteY63" fmla="*/ 2036 h 10000"/>
                <a:gd name="connsiteX64" fmla="*/ 1111 w 9444"/>
                <a:gd name="connsiteY64" fmla="*/ 1491 h 10000"/>
                <a:gd name="connsiteX65" fmla="*/ 1111 w 9444"/>
                <a:gd name="connsiteY65" fmla="*/ 691 h 10000"/>
                <a:gd name="connsiteX0" fmla="*/ 691 w 9515"/>
                <a:gd name="connsiteY0" fmla="*/ 691 h 10000"/>
                <a:gd name="connsiteX1" fmla="*/ 2813 w 9515"/>
                <a:gd name="connsiteY1" fmla="*/ 73 h 10000"/>
                <a:gd name="connsiteX2" fmla="*/ 3785 w 9515"/>
                <a:gd name="connsiteY2" fmla="*/ 0 h 10000"/>
                <a:gd name="connsiteX3" fmla="*/ 4374 w 9515"/>
                <a:gd name="connsiteY3" fmla="*/ 18 h 10000"/>
                <a:gd name="connsiteX4" fmla="*/ 4579 w 9515"/>
                <a:gd name="connsiteY4" fmla="*/ 145 h 10000"/>
                <a:gd name="connsiteX5" fmla="*/ 4757 w 9515"/>
                <a:gd name="connsiteY5" fmla="*/ 309 h 10000"/>
                <a:gd name="connsiteX6" fmla="*/ 4783 w 9515"/>
                <a:gd name="connsiteY6" fmla="*/ 491 h 10000"/>
                <a:gd name="connsiteX7" fmla="*/ 4988 w 9515"/>
                <a:gd name="connsiteY7" fmla="*/ 545 h 10000"/>
                <a:gd name="connsiteX8" fmla="*/ 5244 w 9515"/>
                <a:gd name="connsiteY8" fmla="*/ 927 h 10000"/>
                <a:gd name="connsiteX9" fmla="*/ 5269 w 9515"/>
                <a:gd name="connsiteY9" fmla="*/ 1491 h 10000"/>
                <a:gd name="connsiteX10" fmla="*/ 5525 w 9515"/>
                <a:gd name="connsiteY10" fmla="*/ 1709 h 10000"/>
                <a:gd name="connsiteX11" fmla="*/ 6139 w 9515"/>
                <a:gd name="connsiteY11" fmla="*/ 1709 h 10000"/>
                <a:gd name="connsiteX12" fmla="*/ 6523 w 9515"/>
                <a:gd name="connsiteY12" fmla="*/ 2509 h 10000"/>
                <a:gd name="connsiteX13" fmla="*/ 6523 w 9515"/>
                <a:gd name="connsiteY13" fmla="*/ 3055 h 10000"/>
                <a:gd name="connsiteX14" fmla="*/ 6804 w 9515"/>
                <a:gd name="connsiteY14" fmla="*/ 3418 h 10000"/>
                <a:gd name="connsiteX15" fmla="*/ 7085 w 9515"/>
                <a:gd name="connsiteY15" fmla="*/ 3418 h 10000"/>
                <a:gd name="connsiteX16" fmla="*/ 7699 w 9515"/>
                <a:gd name="connsiteY16" fmla="*/ 3055 h 10000"/>
                <a:gd name="connsiteX17" fmla="*/ 8057 w 9515"/>
                <a:gd name="connsiteY17" fmla="*/ 3291 h 10000"/>
                <a:gd name="connsiteX18" fmla="*/ 8082 w 9515"/>
                <a:gd name="connsiteY18" fmla="*/ 3745 h 10000"/>
                <a:gd name="connsiteX19" fmla="*/ 8747 w 9515"/>
                <a:gd name="connsiteY19" fmla="*/ 4036 h 10000"/>
                <a:gd name="connsiteX20" fmla="*/ 8646 w 9515"/>
                <a:gd name="connsiteY20" fmla="*/ 4527 h 10000"/>
                <a:gd name="connsiteX21" fmla="*/ 8671 w 9515"/>
                <a:gd name="connsiteY21" fmla="*/ 4655 h 10000"/>
                <a:gd name="connsiteX22" fmla="*/ 8774 w 9515"/>
                <a:gd name="connsiteY22" fmla="*/ 4727 h 10000"/>
                <a:gd name="connsiteX23" fmla="*/ 8543 w 9515"/>
                <a:gd name="connsiteY23" fmla="*/ 4982 h 10000"/>
                <a:gd name="connsiteX24" fmla="*/ 8467 w 9515"/>
                <a:gd name="connsiteY24" fmla="*/ 5291 h 10000"/>
                <a:gd name="connsiteX25" fmla="*/ 8825 w 9515"/>
                <a:gd name="connsiteY25" fmla="*/ 5927 h 10000"/>
                <a:gd name="connsiteX26" fmla="*/ 9361 w 9515"/>
                <a:gd name="connsiteY26" fmla="*/ 6000 h 10000"/>
                <a:gd name="connsiteX27" fmla="*/ 9515 w 9515"/>
                <a:gd name="connsiteY27" fmla="*/ 6309 h 10000"/>
                <a:gd name="connsiteX28" fmla="*/ 9361 w 9515"/>
                <a:gd name="connsiteY28" fmla="*/ 6927 h 10000"/>
                <a:gd name="connsiteX29" fmla="*/ 8568 w 9515"/>
                <a:gd name="connsiteY29" fmla="*/ 7473 h 10000"/>
                <a:gd name="connsiteX30" fmla="*/ 8774 w 9515"/>
                <a:gd name="connsiteY30" fmla="*/ 8455 h 10000"/>
                <a:gd name="connsiteX31" fmla="*/ 8467 w 9515"/>
                <a:gd name="connsiteY31" fmla="*/ 8873 h 10000"/>
                <a:gd name="connsiteX32" fmla="*/ 8671 w 9515"/>
                <a:gd name="connsiteY32" fmla="*/ 9327 h 10000"/>
                <a:gd name="connsiteX33" fmla="*/ 7699 w 9515"/>
                <a:gd name="connsiteY33" fmla="*/ 9182 h 10000"/>
                <a:gd name="connsiteX34" fmla="*/ 7213 w 9515"/>
                <a:gd name="connsiteY34" fmla="*/ 9327 h 10000"/>
                <a:gd name="connsiteX35" fmla="*/ 6727 w 9515"/>
                <a:gd name="connsiteY35" fmla="*/ 9327 h 10000"/>
                <a:gd name="connsiteX36" fmla="*/ 6139 w 9515"/>
                <a:gd name="connsiteY36" fmla="*/ 9455 h 10000"/>
                <a:gd name="connsiteX37" fmla="*/ 5551 w 9515"/>
                <a:gd name="connsiteY37" fmla="*/ 9545 h 10000"/>
                <a:gd name="connsiteX38" fmla="*/ 4656 w 9515"/>
                <a:gd name="connsiteY38" fmla="*/ 10000 h 10000"/>
                <a:gd name="connsiteX39" fmla="*/ 4681 w 9515"/>
                <a:gd name="connsiteY39" fmla="*/ 9109 h 10000"/>
                <a:gd name="connsiteX40" fmla="*/ 4502 w 9515"/>
                <a:gd name="connsiteY40" fmla="*/ 8873 h 10000"/>
                <a:gd name="connsiteX41" fmla="*/ 3888 w 9515"/>
                <a:gd name="connsiteY41" fmla="*/ 8782 h 10000"/>
                <a:gd name="connsiteX42" fmla="*/ 3684 w 9515"/>
                <a:gd name="connsiteY42" fmla="*/ 8400 h 10000"/>
                <a:gd name="connsiteX43" fmla="*/ 3299 w 9515"/>
                <a:gd name="connsiteY43" fmla="*/ 8382 h 10000"/>
                <a:gd name="connsiteX44" fmla="*/ 3120 w 9515"/>
                <a:gd name="connsiteY44" fmla="*/ 8473 h 10000"/>
                <a:gd name="connsiteX45" fmla="*/ 2328 w 9515"/>
                <a:gd name="connsiteY45" fmla="*/ 8382 h 10000"/>
                <a:gd name="connsiteX46" fmla="*/ 2021 w 9515"/>
                <a:gd name="connsiteY46" fmla="*/ 8564 h 10000"/>
                <a:gd name="connsiteX47" fmla="*/ 2533 w 9515"/>
                <a:gd name="connsiteY47" fmla="*/ 8173 h 10000"/>
                <a:gd name="connsiteX48" fmla="*/ 3150 w 9515"/>
                <a:gd name="connsiteY48" fmla="*/ 7969 h 10000"/>
                <a:gd name="connsiteX49" fmla="*/ 1044 w 9515"/>
                <a:gd name="connsiteY49" fmla="*/ 7090 h 10000"/>
                <a:gd name="connsiteX50" fmla="*/ 826 w 9515"/>
                <a:gd name="connsiteY50" fmla="*/ 6861 h 10000"/>
                <a:gd name="connsiteX51" fmla="*/ 1034 w 9515"/>
                <a:gd name="connsiteY51" fmla="*/ 6726 h 10000"/>
                <a:gd name="connsiteX52" fmla="*/ 0 w 9515"/>
                <a:gd name="connsiteY52" fmla="*/ 7127 h 10000"/>
                <a:gd name="connsiteX53" fmla="*/ 0 w 9515"/>
                <a:gd name="connsiteY53" fmla="*/ 6545 h 10000"/>
                <a:gd name="connsiteX54" fmla="*/ 486 w 9515"/>
                <a:gd name="connsiteY54" fmla="*/ 6309 h 10000"/>
                <a:gd name="connsiteX55" fmla="*/ 691 w 9515"/>
                <a:gd name="connsiteY55" fmla="*/ 5891 h 10000"/>
                <a:gd name="connsiteX56" fmla="*/ 1254 w 9515"/>
                <a:gd name="connsiteY56" fmla="*/ 5618 h 10000"/>
                <a:gd name="connsiteX57" fmla="*/ 1356 w 9515"/>
                <a:gd name="connsiteY57" fmla="*/ 5218 h 10000"/>
                <a:gd name="connsiteX58" fmla="*/ 1279 w 9515"/>
                <a:gd name="connsiteY58" fmla="*/ 4800 h 10000"/>
                <a:gd name="connsiteX59" fmla="*/ 1637 w 9515"/>
                <a:gd name="connsiteY59" fmla="*/ 4582 h 10000"/>
                <a:gd name="connsiteX60" fmla="*/ 1151 w 9515"/>
                <a:gd name="connsiteY60" fmla="*/ 3982 h 10000"/>
                <a:gd name="connsiteX61" fmla="*/ 1663 w 9515"/>
                <a:gd name="connsiteY61" fmla="*/ 3182 h 10000"/>
                <a:gd name="connsiteX62" fmla="*/ 1100 w 9515"/>
                <a:gd name="connsiteY62" fmla="*/ 2636 h 10000"/>
                <a:gd name="connsiteX63" fmla="*/ 1254 w 9515"/>
                <a:gd name="connsiteY63" fmla="*/ 2036 h 10000"/>
                <a:gd name="connsiteX64" fmla="*/ 691 w 9515"/>
                <a:gd name="connsiteY64" fmla="*/ 1491 h 10000"/>
                <a:gd name="connsiteX65" fmla="*/ 691 w 9515"/>
                <a:gd name="connsiteY65" fmla="*/ 691 h 10000"/>
                <a:gd name="connsiteX0" fmla="*/ 726 w 10000"/>
                <a:gd name="connsiteY0" fmla="*/ 691 h 10000"/>
                <a:gd name="connsiteX1" fmla="*/ 2956 w 10000"/>
                <a:gd name="connsiteY1" fmla="*/ 73 h 10000"/>
                <a:gd name="connsiteX2" fmla="*/ 3978 w 10000"/>
                <a:gd name="connsiteY2" fmla="*/ 0 h 10000"/>
                <a:gd name="connsiteX3" fmla="*/ 4597 w 10000"/>
                <a:gd name="connsiteY3" fmla="*/ 18 h 10000"/>
                <a:gd name="connsiteX4" fmla="*/ 4812 w 10000"/>
                <a:gd name="connsiteY4" fmla="*/ 145 h 10000"/>
                <a:gd name="connsiteX5" fmla="*/ 4999 w 10000"/>
                <a:gd name="connsiteY5" fmla="*/ 309 h 10000"/>
                <a:gd name="connsiteX6" fmla="*/ 5027 w 10000"/>
                <a:gd name="connsiteY6" fmla="*/ 491 h 10000"/>
                <a:gd name="connsiteX7" fmla="*/ 5242 w 10000"/>
                <a:gd name="connsiteY7" fmla="*/ 545 h 10000"/>
                <a:gd name="connsiteX8" fmla="*/ 5511 w 10000"/>
                <a:gd name="connsiteY8" fmla="*/ 927 h 10000"/>
                <a:gd name="connsiteX9" fmla="*/ 5538 w 10000"/>
                <a:gd name="connsiteY9" fmla="*/ 1491 h 10000"/>
                <a:gd name="connsiteX10" fmla="*/ 5807 w 10000"/>
                <a:gd name="connsiteY10" fmla="*/ 1709 h 10000"/>
                <a:gd name="connsiteX11" fmla="*/ 6452 w 10000"/>
                <a:gd name="connsiteY11" fmla="*/ 1709 h 10000"/>
                <a:gd name="connsiteX12" fmla="*/ 6855 w 10000"/>
                <a:gd name="connsiteY12" fmla="*/ 2509 h 10000"/>
                <a:gd name="connsiteX13" fmla="*/ 6855 w 10000"/>
                <a:gd name="connsiteY13" fmla="*/ 3055 h 10000"/>
                <a:gd name="connsiteX14" fmla="*/ 7151 w 10000"/>
                <a:gd name="connsiteY14" fmla="*/ 3418 h 10000"/>
                <a:gd name="connsiteX15" fmla="*/ 7446 w 10000"/>
                <a:gd name="connsiteY15" fmla="*/ 3418 h 10000"/>
                <a:gd name="connsiteX16" fmla="*/ 8091 w 10000"/>
                <a:gd name="connsiteY16" fmla="*/ 3055 h 10000"/>
                <a:gd name="connsiteX17" fmla="*/ 8468 w 10000"/>
                <a:gd name="connsiteY17" fmla="*/ 3291 h 10000"/>
                <a:gd name="connsiteX18" fmla="*/ 8494 w 10000"/>
                <a:gd name="connsiteY18" fmla="*/ 3745 h 10000"/>
                <a:gd name="connsiteX19" fmla="*/ 9193 w 10000"/>
                <a:gd name="connsiteY19" fmla="*/ 4036 h 10000"/>
                <a:gd name="connsiteX20" fmla="*/ 9087 w 10000"/>
                <a:gd name="connsiteY20" fmla="*/ 4527 h 10000"/>
                <a:gd name="connsiteX21" fmla="*/ 9113 w 10000"/>
                <a:gd name="connsiteY21" fmla="*/ 4655 h 10000"/>
                <a:gd name="connsiteX22" fmla="*/ 9221 w 10000"/>
                <a:gd name="connsiteY22" fmla="*/ 4727 h 10000"/>
                <a:gd name="connsiteX23" fmla="*/ 8978 w 10000"/>
                <a:gd name="connsiteY23" fmla="*/ 4982 h 10000"/>
                <a:gd name="connsiteX24" fmla="*/ 8899 w 10000"/>
                <a:gd name="connsiteY24" fmla="*/ 5291 h 10000"/>
                <a:gd name="connsiteX25" fmla="*/ 9275 w 10000"/>
                <a:gd name="connsiteY25" fmla="*/ 5927 h 10000"/>
                <a:gd name="connsiteX26" fmla="*/ 9838 w 10000"/>
                <a:gd name="connsiteY26" fmla="*/ 6000 h 10000"/>
                <a:gd name="connsiteX27" fmla="*/ 10000 w 10000"/>
                <a:gd name="connsiteY27" fmla="*/ 6309 h 10000"/>
                <a:gd name="connsiteX28" fmla="*/ 9838 w 10000"/>
                <a:gd name="connsiteY28" fmla="*/ 6927 h 10000"/>
                <a:gd name="connsiteX29" fmla="*/ 9005 w 10000"/>
                <a:gd name="connsiteY29" fmla="*/ 7473 h 10000"/>
                <a:gd name="connsiteX30" fmla="*/ 9221 w 10000"/>
                <a:gd name="connsiteY30" fmla="*/ 8455 h 10000"/>
                <a:gd name="connsiteX31" fmla="*/ 8899 w 10000"/>
                <a:gd name="connsiteY31" fmla="*/ 8873 h 10000"/>
                <a:gd name="connsiteX32" fmla="*/ 9113 w 10000"/>
                <a:gd name="connsiteY32" fmla="*/ 9327 h 10000"/>
                <a:gd name="connsiteX33" fmla="*/ 8091 w 10000"/>
                <a:gd name="connsiteY33" fmla="*/ 9182 h 10000"/>
                <a:gd name="connsiteX34" fmla="*/ 7581 w 10000"/>
                <a:gd name="connsiteY34" fmla="*/ 9327 h 10000"/>
                <a:gd name="connsiteX35" fmla="*/ 7070 w 10000"/>
                <a:gd name="connsiteY35" fmla="*/ 9327 h 10000"/>
                <a:gd name="connsiteX36" fmla="*/ 6452 w 10000"/>
                <a:gd name="connsiteY36" fmla="*/ 9455 h 10000"/>
                <a:gd name="connsiteX37" fmla="*/ 5834 w 10000"/>
                <a:gd name="connsiteY37" fmla="*/ 9545 h 10000"/>
                <a:gd name="connsiteX38" fmla="*/ 4893 w 10000"/>
                <a:gd name="connsiteY38" fmla="*/ 10000 h 10000"/>
                <a:gd name="connsiteX39" fmla="*/ 4920 w 10000"/>
                <a:gd name="connsiteY39" fmla="*/ 9109 h 10000"/>
                <a:gd name="connsiteX40" fmla="*/ 4731 w 10000"/>
                <a:gd name="connsiteY40" fmla="*/ 8873 h 10000"/>
                <a:gd name="connsiteX41" fmla="*/ 4086 w 10000"/>
                <a:gd name="connsiteY41" fmla="*/ 8782 h 10000"/>
                <a:gd name="connsiteX42" fmla="*/ 3872 w 10000"/>
                <a:gd name="connsiteY42" fmla="*/ 8400 h 10000"/>
                <a:gd name="connsiteX43" fmla="*/ 3467 w 10000"/>
                <a:gd name="connsiteY43" fmla="*/ 8382 h 10000"/>
                <a:gd name="connsiteX44" fmla="*/ 3279 w 10000"/>
                <a:gd name="connsiteY44" fmla="*/ 8473 h 10000"/>
                <a:gd name="connsiteX45" fmla="*/ 2447 w 10000"/>
                <a:gd name="connsiteY45" fmla="*/ 8382 h 10000"/>
                <a:gd name="connsiteX46" fmla="*/ 2124 w 10000"/>
                <a:gd name="connsiteY46" fmla="*/ 8564 h 10000"/>
                <a:gd name="connsiteX47" fmla="*/ 2662 w 10000"/>
                <a:gd name="connsiteY47" fmla="*/ 8173 h 10000"/>
                <a:gd name="connsiteX48" fmla="*/ 3311 w 10000"/>
                <a:gd name="connsiteY48" fmla="*/ 7969 h 10000"/>
                <a:gd name="connsiteX49" fmla="*/ 1097 w 10000"/>
                <a:gd name="connsiteY49" fmla="*/ 7090 h 10000"/>
                <a:gd name="connsiteX50" fmla="*/ 868 w 10000"/>
                <a:gd name="connsiteY50" fmla="*/ 6861 h 10000"/>
                <a:gd name="connsiteX51" fmla="*/ 1087 w 10000"/>
                <a:gd name="connsiteY51" fmla="*/ 6726 h 10000"/>
                <a:gd name="connsiteX52" fmla="*/ 1497 w 10000"/>
                <a:gd name="connsiteY52" fmla="*/ 6877 h 10000"/>
                <a:gd name="connsiteX53" fmla="*/ 0 w 10000"/>
                <a:gd name="connsiteY53" fmla="*/ 6545 h 10000"/>
                <a:gd name="connsiteX54" fmla="*/ 511 w 10000"/>
                <a:gd name="connsiteY54" fmla="*/ 6309 h 10000"/>
                <a:gd name="connsiteX55" fmla="*/ 726 w 10000"/>
                <a:gd name="connsiteY55" fmla="*/ 5891 h 10000"/>
                <a:gd name="connsiteX56" fmla="*/ 1318 w 10000"/>
                <a:gd name="connsiteY56" fmla="*/ 5618 h 10000"/>
                <a:gd name="connsiteX57" fmla="*/ 1425 w 10000"/>
                <a:gd name="connsiteY57" fmla="*/ 5218 h 10000"/>
                <a:gd name="connsiteX58" fmla="*/ 1344 w 10000"/>
                <a:gd name="connsiteY58" fmla="*/ 4800 h 10000"/>
                <a:gd name="connsiteX59" fmla="*/ 1720 w 10000"/>
                <a:gd name="connsiteY59" fmla="*/ 4582 h 10000"/>
                <a:gd name="connsiteX60" fmla="*/ 1210 w 10000"/>
                <a:gd name="connsiteY60" fmla="*/ 3982 h 10000"/>
                <a:gd name="connsiteX61" fmla="*/ 1748 w 10000"/>
                <a:gd name="connsiteY61" fmla="*/ 3182 h 10000"/>
                <a:gd name="connsiteX62" fmla="*/ 1156 w 10000"/>
                <a:gd name="connsiteY62" fmla="*/ 2636 h 10000"/>
                <a:gd name="connsiteX63" fmla="*/ 1318 w 10000"/>
                <a:gd name="connsiteY63" fmla="*/ 2036 h 10000"/>
                <a:gd name="connsiteX64" fmla="*/ 726 w 10000"/>
                <a:gd name="connsiteY64" fmla="*/ 1491 h 10000"/>
                <a:gd name="connsiteX65" fmla="*/ 726 w 10000"/>
                <a:gd name="connsiteY65" fmla="*/ 691 h 10000"/>
                <a:gd name="connsiteX0" fmla="*/ 215 w 9489"/>
                <a:gd name="connsiteY0" fmla="*/ 691 h 10000"/>
                <a:gd name="connsiteX1" fmla="*/ 2445 w 9489"/>
                <a:gd name="connsiteY1" fmla="*/ 73 h 10000"/>
                <a:gd name="connsiteX2" fmla="*/ 3467 w 9489"/>
                <a:gd name="connsiteY2" fmla="*/ 0 h 10000"/>
                <a:gd name="connsiteX3" fmla="*/ 4086 w 9489"/>
                <a:gd name="connsiteY3" fmla="*/ 18 h 10000"/>
                <a:gd name="connsiteX4" fmla="*/ 4301 w 9489"/>
                <a:gd name="connsiteY4" fmla="*/ 145 h 10000"/>
                <a:gd name="connsiteX5" fmla="*/ 4488 w 9489"/>
                <a:gd name="connsiteY5" fmla="*/ 309 h 10000"/>
                <a:gd name="connsiteX6" fmla="*/ 4516 w 9489"/>
                <a:gd name="connsiteY6" fmla="*/ 491 h 10000"/>
                <a:gd name="connsiteX7" fmla="*/ 4731 w 9489"/>
                <a:gd name="connsiteY7" fmla="*/ 545 h 10000"/>
                <a:gd name="connsiteX8" fmla="*/ 5000 w 9489"/>
                <a:gd name="connsiteY8" fmla="*/ 927 h 10000"/>
                <a:gd name="connsiteX9" fmla="*/ 5027 w 9489"/>
                <a:gd name="connsiteY9" fmla="*/ 1491 h 10000"/>
                <a:gd name="connsiteX10" fmla="*/ 5296 w 9489"/>
                <a:gd name="connsiteY10" fmla="*/ 1709 h 10000"/>
                <a:gd name="connsiteX11" fmla="*/ 5941 w 9489"/>
                <a:gd name="connsiteY11" fmla="*/ 1709 h 10000"/>
                <a:gd name="connsiteX12" fmla="*/ 6344 w 9489"/>
                <a:gd name="connsiteY12" fmla="*/ 2509 h 10000"/>
                <a:gd name="connsiteX13" fmla="*/ 6344 w 9489"/>
                <a:gd name="connsiteY13" fmla="*/ 3055 h 10000"/>
                <a:gd name="connsiteX14" fmla="*/ 6640 w 9489"/>
                <a:gd name="connsiteY14" fmla="*/ 3418 h 10000"/>
                <a:gd name="connsiteX15" fmla="*/ 6935 w 9489"/>
                <a:gd name="connsiteY15" fmla="*/ 3418 h 10000"/>
                <a:gd name="connsiteX16" fmla="*/ 7580 w 9489"/>
                <a:gd name="connsiteY16" fmla="*/ 3055 h 10000"/>
                <a:gd name="connsiteX17" fmla="*/ 7957 w 9489"/>
                <a:gd name="connsiteY17" fmla="*/ 3291 h 10000"/>
                <a:gd name="connsiteX18" fmla="*/ 7983 w 9489"/>
                <a:gd name="connsiteY18" fmla="*/ 3745 h 10000"/>
                <a:gd name="connsiteX19" fmla="*/ 8682 w 9489"/>
                <a:gd name="connsiteY19" fmla="*/ 4036 h 10000"/>
                <a:gd name="connsiteX20" fmla="*/ 8576 w 9489"/>
                <a:gd name="connsiteY20" fmla="*/ 4527 h 10000"/>
                <a:gd name="connsiteX21" fmla="*/ 8602 w 9489"/>
                <a:gd name="connsiteY21" fmla="*/ 4655 h 10000"/>
                <a:gd name="connsiteX22" fmla="*/ 8710 w 9489"/>
                <a:gd name="connsiteY22" fmla="*/ 4727 h 10000"/>
                <a:gd name="connsiteX23" fmla="*/ 8467 w 9489"/>
                <a:gd name="connsiteY23" fmla="*/ 4982 h 10000"/>
                <a:gd name="connsiteX24" fmla="*/ 8388 w 9489"/>
                <a:gd name="connsiteY24" fmla="*/ 5291 h 10000"/>
                <a:gd name="connsiteX25" fmla="*/ 8764 w 9489"/>
                <a:gd name="connsiteY25" fmla="*/ 5927 h 10000"/>
                <a:gd name="connsiteX26" fmla="*/ 9327 w 9489"/>
                <a:gd name="connsiteY26" fmla="*/ 6000 h 10000"/>
                <a:gd name="connsiteX27" fmla="*/ 9489 w 9489"/>
                <a:gd name="connsiteY27" fmla="*/ 6309 h 10000"/>
                <a:gd name="connsiteX28" fmla="*/ 9327 w 9489"/>
                <a:gd name="connsiteY28" fmla="*/ 6927 h 10000"/>
                <a:gd name="connsiteX29" fmla="*/ 8494 w 9489"/>
                <a:gd name="connsiteY29" fmla="*/ 7473 h 10000"/>
                <a:gd name="connsiteX30" fmla="*/ 8710 w 9489"/>
                <a:gd name="connsiteY30" fmla="*/ 8455 h 10000"/>
                <a:gd name="connsiteX31" fmla="*/ 8388 w 9489"/>
                <a:gd name="connsiteY31" fmla="*/ 8873 h 10000"/>
                <a:gd name="connsiteX32" fmla="*/ 8602 w 9489"/>
                <a:gd name="connsiteY32" fmla="*/ 9327 h 10000"/>
                <a:gd name="connsiteX33" fmla="*/ 7580 w 9489"/>
                <a:gd name="connsiteY33" fmla="*/ 9182 h 10000"/>
                <a:gd name="connsiteX34" fmla="*/ 7070 w 9489"/>
                <a:gd name="connsiteY34" fmla="*/ 9327 h 10000"/>
                <a:gd name="connsiteX35" fmla="*/ 6559 w 9489"/>
                <a:gd name="connsiteY35" fmla="*/ 9327 h 10000"/>
                <a:gd name="connsiteX36" fmla="*/ 5941 w 9489"/>
                <a:gd name="connsiteY36" fmla="*/ 9455 h 10000"/>
                <a:gd name="connsiteX37" fmla="*/ 5323 w 9489"/>
                <a:gd name="connsiteY37" fmla="*/ 9545 h 10000"/>
                <a:gd name="connsiteX38" fmla="*/ 4382 w 9489"/>
                <a:gd name="connsiteY38" fmla="*/ 10000 h 10000"/>
                <a:gd name="connsiteX39" fmla="*/ 4409 w 9489"/>
                <a:gd name="connsiteY39" fmla="*/ 9109 h 10000"/>
                <a:gd name="connsiteX40" fmla="*/ 4220 w 9489"/>
                <a:gd name="connsiteY40" fmla="*/ 8873 h 10000"/>
                <a:gd name="connsiteX41" fmla="*/ 3575 w 9489"/>
                <a:gd name="connsiteY41" fmla="*/ 8782 h 10000"/>
                <a:gd name="connsiteX42" fmla="*/ 3361 w 9489"/>
                <a:gd name="connsiteY42" fmla="*/ 8400 h 10000"/>
                <a:gd name="connsiteX43" fmla="*/ 2956 w 9489"/>
                <a:gd name="connsiteY43" fmla="*/ 8382 h 10000"/>
                <a:gd name="connsiteX44" fmla="*/ 2768 w 9489"/>
                <a:gd name="connsiteY44" fmla="*/ 8473 h 10000"/>
                <a:gd name="connsiteX45" fmla="*/ 1936 w 9489"/>
                <a:gd name="connsiteY45" fmla="*/ 8382 h 10000"/>
                <a:gd name="connsiteX46" fmla="*/ 1613 w 9489"/>
                <a:gd name="connsiteY46" fmla="*/ 8564 h 10000"/>
                <a:gd name="connsiteX47" fmla="*/ 2151 w 9489"/>
                <a:gd name="connsiteY47" fmla="*/ 8173 h 10000"/>
                <a:gd name="connsiteX48" fmla="*/ 2800 w 9489"/>
                <a:gd name="connsiteY48" fmla="*/ 7969 h 10000"/>
                <a:gd name="connsiteX49" fmla="*/ 586 w 9489"/>
                <a:gd name="connsiteY49" fmla="*/ 7090 h 10000"/>
                <a:gd name="connsiteX50" fmla="*/ 357 w 9489"/>
                <a:gd name="connsiteY50" fmla="*/ 6861 h 10000"/>
                <a:gd name="connsiteX51" fmla="*/ 576 w 9489"/>
                <a:gd name="connsiteY51" fmla="*/ 6726 h 10000"/>
                <a:gd name="connsiteX52" fmla="*/ 986 w 9489"/>
                <a:gd name="connsiteY52" fmla="*/ 6877 h 10000"/>
                <a:gd name="connsiteX53" fmla="*/ 587 w 9489"/>
                <a:gd name="connsiteY53" fmla="*/ 6295 h 10000"/>
                <a:gd name="connsiteX54" fmla="*/ 0 w 9489"/>
                <a:gd name="connsiteY54" fmla="*/ 6309 h 10000"/>
                <a:gd name="connsiteX55" fmla="*/ 215 w 9489"/>
                <a:gd name="connsiteY55" fmla="*/ 5891 h 10000"/>
                <a:gd name="connsiteX56" fmla="*/ 807 w 9489"/>
                <a:gd name="connsiteY56" fmla="*/ 5618 h 10000"/>
                <a:gd name="connsiteX57" fmla="*/ 914 w 9489"/>
                <a:gd name="connsiteY57" fmla="*/ 5218 h 10000"/>
                <a:gd name="connsiteX58" fmla="*/ 833 w 9489"/>
                <a:gd name="connsiteY58" fmla="*/ 4800 h 10000"/>
                <a:gd name="connsiteX59" fmla="*/ 1209 w 9489"/>
                <a:gd name="connsiteY59" fmla="*/ 4582 h 10000"/>
                <a:gd name="connsiteX60" fmla="*/ 699 w 9489"/>
                <a:gd name="connsiteY60" fmla="*/ 3982 h 10000"/>
                <a:gd name="connsiteX61" fmla="*/ 1237 w 9489"/>
                <a:gd name="connsiteY61" fmla="*/ 3182 h 10000"/>
                <a:gd name="connsiteX62" fmla="*/ 645 w 9489"/>
                <a:gd name="connsiteY62" fmla="*/ 2636 h 10000"/>
                <a:gd name="connsiteX63" fmla="*/ 807 w 9489"/>
                <a:gd name="connsiteY63" fmla="*/ 2036 h 10000"/>
                <a:gd name="connsiteX64" fmla="*/ 215 w 9489"/>
                <a:gd name="connsiteY64" fmla="*/ 1491 h 10000"/>
                <a:gd name="connsiteX65" fmla="*/ 215 w 9489"/>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618 w 10000"/>
                <a:gd name="connsiteY49" fmla="*/ 7090 h 10000"/>
                <a:gd name="connsiteX50" fmla="*/ 1112 w 10000"/>
                <a:gd name="connsiteY50" fmla="*/ 6778 h 10000"/>
                <a:gd name="connsiteX51" fmla="*/ 607 w 10000"/>
                <a:gd name="connsiteY51" fmla="*/ 6726 h 10000"/>
                <a:gd name="connsiteX52" fmla="*/ 1039 w 10000"/>
                <a:gd name="connsiteY52" fmla="*/ 6877 h 10000"/>
                <a:gd name="connsiteX53" fmla="*/ 619 w 10000"/>
                <a:gd name="connsiteY53" fmla="*/ 6295 h 10000"/>
                <a:gd name="connsiteX54" fmla="*/ 0 w 10000"/>
                <a:gd name="connsiteY54" fmla="*/ 6309 h 10000"/>
                <a:gd name="connsiteX55" fmla="*/ 227 w 10000"/>
                <a:gd name="connsiteY55" fmla="*/ 5891 h 10000"/>
                <a:gd name="connsiteX56" fmla="*/ 850 w 10000"/>
                <a:gd name="connsiteY56" fmla="*/ 5618 h 10000"/>
                <a:gd name="connsiteX57" fmla="*/ 963 w 10000"/>
                <a:gd name="connsiteY57" fmla="*/ 5218 h 10000"/>
                <a:gd name="connsiteX58" fmla="*/ 878 w 10000"/>
                <a:gd name="connsiteY58" fmla="*/ 4800 h 10000"/>
                <a:gd name="connsiteX59" fmla="*/ 1274 w 10000"/>
                <a:gd name="connsiteY59" fmla="*/ 4582 h 10000"/>
                <a:gd name="connsiteX60" fmla="*/ 737 w 10000"/>
                <a:gd name="connsiteY60" fmla="*/ 3982 h 10000"/>
                <a:gd name="connsiteX61" fmla="*/ 1304 w 10000"/>
                <a:gd name="connsiteY61" fmla="*/ 3182 h 10000"/>
                <a:gd name="connsiteX62" fmla="*/ 680 w 10000"/>
                <a:gd name="connsiteY62" fmla="*/ 2636 h 10000"/>
                <a:gd name="connsiteX63" fmla="*/ 850 w 10000"/>
                <a:gd name="connsiteY63" fmla="*/ 2036 h 10000"/>
                <a:gd name="connsiteX64" fmla="*/ 227 w 10000"/>
                <a:gd name="connsiteY64" fmla="*/ 1491 h 10000"/>
                <a:gd name="connsiteX65" fmla="*/ 227 w 10000"/>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618 w 10000"/>
                <a:gd name="connsiteY50" fmla="*/ 709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583 w 10000"/>
                <a:gd name="connsiteY48" fmla="*/ 8144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000" h="10000">
                  <a:moveTo>
                    <a:pt x="227" y="691"/>
                  </a:moveTo>
                  <a:lnTo>
                    <a:pt x="2577" y="73"/>
                  </a:lnTo>
                  <a:lnTo>
                    <a:pt x="3654" y="0"/>
                  </a:lnTo>
                  <a:lnTo>
                    <a:pt x="4306" y="18"/>
                  </a:lnTo>
                  <a:lnTo>
                    <a:pt x="4533" y="145"/>
                  </a:lnTo>
                  <a:cubicBezTo>
                    <a:pt x="4598" y="200"/>
                    <a:pt x="4664" y="254"/>
                    <a:pt x="4730" y="309"/>
                  </a:cubicBezTo>
                  <a:cubicBezTo>
                    <a:pt x="4740" y="370"/>
                    <a:pt x="4749" y="430"/>
                    <a:pt x="4759" y="491"/>
                  </a:cubicBezTo>
                  <a:lnTo>
                    <a:pt x="4986" y="545"/>
                  </a:lnTo>
                  <a:lnTo>
                    <a:pt x="5269" y="927"/>
                  </a:lnTo>
                  <a:cubicBezTo>
                    <a:pt x="5279" y="1115"/>
                    <a:pt x="5288" y="1303"/>
                    <a:pt x="5298" y="1491"/>
                  </a:cubicBezTo>
                  <a:lnTo>
                    <a:pt x="5581" y="1709"/>
                  </a:lnTo>
                  <a:lnTo>
                    <a:pt x="6261" y="1709"/>
                  </a:lnTo>
                  <a:lnTo>
                    <a:pt x="6686" y="2509"/>
                  </a:lnTo>
                  <a:lnTo>
                    <a:pt x="6686" y="3055"/>
                  </a:lnTo>
                  <a:lnTo>
                    <a:pt x="6998" y="3418"/>
                  </a:lnTo>
                  <a:lnTo>
                    <a:pt x="7308" y="3418"/>
                  </a:lnTo>
                  <a:lnTo>
                    <a:pt x="7988" y="3055"/>
                  </a:lnTo>
                  <a:lnTo>
                    <a:pt x="8385" y="3291"/>
                  </a:lnTo>
                  <a:cubicBezTo>
                    <a:pt x="8394" y="3442"/>
                    <a:pt x="8404" y="3594"/>
                    <a:pt x="8413" y="3745"/>
                  </a:cubicBezTo>
                  <a:lnTo>
                    <a:pt x="9150" y="4036"/>
                  </a:lnTo>
                  <a:cubicBezTo>
                    <a:pt x="9112" y="4200"/>
                    <a:pt x="9075" y="4363"/>
                    <a:pt x="9038" y="4527"/>
                  </a:cubicBezTo>
                  <a:cubicBezTo>
                    <a:pt x="9046" y="4570"/>
                    <a:pt x="9057" y="4612"/>
                    <a:pt x="9065" y="4655"/>
                  </a:cubicBezTo>
                  <a:lnTo>
                    <a:pt x="9179" y="4727"/>
                  </a:lnTo>
                  <a:lnTo>
                    <a:pt x="8923" y="4982"/>
                  </a:lnTo>
                  <a:cubicBezTo>
                    <a:pt x="8896" y="5085"/>
                    <a:pt x="8867" y="5188"/>
                    <a:pt x="8840" y="5291"/>
                  </a:cubicBezTo>
                  <a:lnTo>
                    <a:pt x="9236" y="5927"/>
                  </a:lnTo>
                  <a:lnTo>
                    <a:pt x="9829" y="6000"/>
                  </a:lnTo>
                  <a:lnTo>
                    <a:pt x="10000" y="6309"/>
                  </a:lnTo>
                  <a:lnTo>
                    <a:pt x="9829" y="6927"/>
                  </a:lnTo>
                  <a:lnTo>
                    <a:pt x="8951" y="7473"/>
                  </a:lnTo>
                  <a:lnTo>
                    <a:pt x="9179" y="8455"/>
                  </a:lnTo>
                  <a:lnTo>
                    <a:pt x="8840" y="8873"/>
                  </a:lnTo>
                  <a:lnTo>
                    <a:pt x="9065" y="9327"/>
                  </a:lnTo>
                  <a:lnTo>
                    <a:pt x="7988" y="9182"/>
                  </a:lnTo>
                  <a:lnTo>
                    <a:pt x="7451" y="9327"/>
                  </a:lnTo>
                  <a:lnTo>
                    <a:pt x="6912" y="9327"/>
                  </a:lnTo>
                  <a:lnTo>
                    <a:pt x="6261" y="9455"/>
                  </a:lnTo>
                  <a:lnTo>
                    <a:pt x="5610" y="9545"/>
                  </a:lnTo>
                  <a:lnTo>
                    <a:pt x="4618" y="10000"/>
                  </a:lnTo>
                  <a:cubicBezTo>
                    <a:pt x="4627" y="9703"/>
                    <a:pt x="4637" y="9406"/>
                    <a:pt x="4646" y="9109"/>
                  </a:cubicBezTo>
                  <a:cubicBezTo>
                    <a:pt x="4581" y="9030"/>
                    <a:pt x="4515" y="8952"/>
                    <a:pt x="4447" y="8873"/>
                  </a:cubicBezTo>
                  <a:lnTo>
                    <a:pt x="3768" y="8782"/>
                  </a:lnTo>
                  <a:lnTo>
                    <a:pt x="3542" y="8400"/>
                  </a:lnTo>
                  <a:lnTo>
                    <a:pt x="3115" y="8382"/>
                  </a:lnTo>
                  <a:lnTo>
                    <a:pt x="2917" y="8473"/>
                  </a:lnTo>
                  <a:lnTo>
                    <a:pt x="2040" y="8382"/>
                  </a:lnTo>
                  <a:lnTo>
                    <a:pt x="1700" y="8564"/>
                  </a:lnTo>
                  <a:cubicBezTo>
                    <a:pt x="1644" y="8794"/>
                    <a:pt x="2324" y="7943"/>
                    <a:pt x="2267" y="8173"/>
                  </a:cubicBezTo>
                  <a:lnTo>
                    <a:pt x="2583" y="8144"/>
                  </a:lnTo>
                  <a:cubicBezTo>
                    <a:pt x="2364" y="8005"/>
                    <a:pt x="2290" y="7400"/>
                    <a:pt x="1901" y="7254"/>
                  </a:cubicBezTo>
                  <a:cubicBezTo>
                    <a:pt x="1512" y="7108"/>
                    <a:pt x="1118" y="6933"/>
                    <a:pt x="1144" y="6840"/>
                  </a:cubicBezTo>
                  <a:cubicBezTo>
                    <a:pt x="1133" y="6819"/>
                    <a:pt x="1123" y="6799"/>
                    <a:pt x="1112" y="6778"/>
                  </a:cubicBezTo>
                  <a:lnTo>
                    <a:pt x="607" y="6726"/>
                  </a:lnTo>
                  <a:lnTo>
                    <a:pt x="1039" y="6877"/>
                  </a:lnTo>
                  <a:lnTo>
                    <a:pt x="619" y="6295"/>
                  </a:lnTo>
                  <a:lnTo>
                    <a:pt x="0" y="6309"/>
                  </a:lnTo>
                  <a:cubicBezTo>
                    <a:pt x="76" y="6170"/>
                    <a:pt x="152" y="6030"/>
                    <a:pt x="227" y="5891"/>
                  </a:cubicBezTo>
                  <a:lnTo>
                    <a:pt x="850" y="5618"/>
                  </a:lnTo>
                  <a:cubicBezTo>
                    <a:pt x="888" y="5485"/>
                    <a:pt x="925" y="5351"/>
                    <a:pt x="963" y="5218"/>
                  </a:cubicBezTo>
                  <a:cubicBezTo>
                    <a:pt x="936" y="5079"/>
                    <a:pt x="905" y="4939"/>
                    <a:pt x="878" y="4800"/>
                  </a:cubicBezTo>
                  <a:lnTo>
                    <a:pt x="1274" y="4582"/>
                  </a:lnTo>
                  <a:lnTo>
                    <a:pt x="737" y="3982"/>
                  </a:lnTo>
                  <a:lnTo>
                    <a:pt x="1304" y="3182"/>
                  </a:lnTo>
                  <a:lnTo>
                    <a:pt x="680" y="2636"/>
                  </a:lnTo>
                  <a:cubicBezTo>
                    <a:pt x="737" y="2436"/>
                    <a:pt x="793" y="2236"/>
                    <a:pt x="850" y="2036"/>
                  </a:cubicBezTo>
                  <a:lnTo>
                    <a:pt x="227" y="1491"/>
                  </a:lnTo>
                  <a:lnTo>
                    <a:pt x="227" y="69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 name="AL"/>
            <p:cNvSpPr>
              <a:spLocks noChangeAspect="1"/>
            </p:cNvSpPr>
            <p:nvPr/>
          </p:nvSpPr>
          <p:spPr bwMode="auto">
            <a:xfrm>
              <a:off x="6745288" y="5126038"/>
              <a:ext cx="276225" cy="419100"/>
            </a:xfrm>
            <a:custGeom>
              <a:avLst/>
              <a:gdLst>
                <a:gd name="T0" fmla="*/ 14 w 188"/>
                <a:gd name="T1" fmla="*/ 80 h 353"/>
                <a:gd name="T2" fmla="*/ 26 w 188"/>
                <a:gd name="T3" fmla="*/ 90 h 353"/>
                <a:gd name="T4" fmla="*/ 26 w 188"/>
                <a:gd name="T5" fmla="*/ 106 h 353"/>
                <a:gd name="T6" fmla="*/ 24 w 188"/>
                <a:gd name="T7" fmla="*/ 116 h 353"/>
                <a:gd name="T8" fmla="*/ 17 w 188"/>
                <a:gd name="T9" fmla="*/ 130 h 353"/>
                <a:gd name="T10" fmla="*/ 17 w 188"/>
                <a:gd name="T11" fmla="*/ 164 h 353"/>
                <a:gd name="T12" fmla="*/ 22 w 188"/>
                <a:gd name="T13" fmla="*/ 177 h 353"/>
                <a:gd name="T14" fmla="*/ 5 w 188"/>
                <a:gd name="T15" fmla="*/ 205 h 353"/>
                <a:gd name="T16" fmla="*/ 9 w 188"/>
                <a:gd name="T17" fmla="*/ 211 h 353"/>
                <a:gd name="T18" fmla="*/ 0 w 188"/>
                <a:gd name="T19" fmla="*/ 226 h 353"/>
                <a:gd name="T20" fmla="*/ 8 w 188"/>
                <a:gd name="T21" fmla="*/ 242 h 353"/>
                <a:gd name="T22" fmla="*/ 9 w 188"/>
                <a:gd name="T23" fmla="*/ 253 h 353"/>
                <a:gd name="T24" fmla="*/ 14 w 188"/>
                <a:gd name="T25" fmla="*/ 239 h 353"/>
                <a:gd name="T26" fmla="*/ 28 w 188"/>
                <a:gd name="T27" fmla="*/ 258 h 353"/>
                <a:gd name="T28" fmla="*/ 26 w 188"/>
                <a:gd name="T29" fmla="*/ 276 h 353"/>
                <a:gd name="T30" fmla="*/ 19 w 188"/>
                <a:gd name="T31" fmla="*/ 285 h 353"/>
                <a:gd name="T32" fmla="*/ 28 w 188"/>
                <a:gd name="T33" fmla="*/ 300 h 353"/>
                <a:gd name="T34" fmla="*/ 40 w 188"/>
                <a:gd name="T35" fmla="*/ 306 h 353"/>
                <a:gd name="T36" fmla="*/ 59 w 188"/>
                <a:gd name="T37" fmla="*/ 319 h 353"/>
                <a:gd name="T38" fmla="*/ 75 w 188"/>
                <a:gd name="T39" fmla="*/ 335 h 353"/>
                <a:gd name="T40" fmla="*/ 78 w 188"/>
                <a:gd name="T41" fmla="*/ 345 h 353"/>
                <a:gd name="T42" fmla="*/ 97 w 188"/>
                <a:gd name="T43" fmla="*/ 353 h 353"/>
                <a:gd name="T44" fmla="*/ 113 w 188"/>
                <a:gd name="T45" fmla="*/ 345 h 353"/>
                <a:gd name="T46" fmla="*/ 133 w 188"/>
                <a:gd name="T47" fmla="*/ 332 h 353"/>
                <a:gd name="T48" fmla="*/ 143 w 188"/>
                <a:gd name="T49" fmla="*/ 309 h 353"/>
                <a:gd name="T50" fmla="*/ 152 w 188"/>
                <a:gd name="T51" fmla="*/ 295 h 353"/>
                <a:gd name="T52" fmla="*/ 169 w 188"/>
                <a:gd name="T53" fmla="*/ 261 h 353"/>
                <a:gd name="T54" fmla="*/ 174 w 188"/>
                <a:gd name="T55" fmla="*/ 235 h 353"/>
                <a:gd name="T56" fmla="*/ 176 w 188"/>
                <a:gd name="T57" fmla="*/ 211 h 353"/>
                <a:gd name="T58" fmla="*/ 188 w 188"/>
                <a:gd name="T59" fmla="*/ 195 h 353"/>
                <a:gd name="T60" fmla="*/ 169 w 188"/>
                <a:gd name="T61" fmla="*/ 189 h 353"/>
                <a:gd name="T62" fmla="*/ 162 w 188"/>
                <a:gd name="T63" fmla="*/ 180 h 353"/>
                <a:gd name="T64" fmla="*/ 152 w 188"/>
                <a:gd name="T65" fmla="*/ 182 h 353"/>
                <a:gd name="T66" fmla="*/ 136 w 188"/>
                <a:gd name="T67" fmla="*/ 174 h 353"/>
                <a:gd name="T68" fmla="*/ 132 w 188"/>
                <a:gd name="T69" fmla="*/ 150 h 353"/>
                <a:gd name="T70" fmla="*/ 127 w 188"/>
                <a:gd name="T71" fmla="*/ 133 h 353"/>
                <a:gd name="T72" fmla="*/ 136 w 188"/>
                <a:gd name="T73" fmla="*/ 114 h 353"/>
                <a:gd name="T74" fmla="*/ 136 w 188"/>
                <a:gd name="T75" fmla="*/ 59 h 353"/>
                <a:gd name="T76" fmla="*/ 136 w 188"/>
                <a:gd name="T77" fmla="*/ 40 h 353"/>
                <a:gd name="T78" fmla="*/ 127 w 188"/>
                <a:gd name="T79" fmla="*/ 29 h 353"/>
                <a:gd name="T80" fmla="*/ 110 w 188"/>
                <a:gd name="T81" fmla="*/ 27 h 353"/>
                <a:gd name="T82" fmla="*/ 99 w 188"/>
                <a:gd name="T83" fmla="*/ 22 h 353"/>
                <a:gd name="T84" fmla="*/ 89 w 188"/>
                <a:gd name="T85" fmla="*/ 3 h 353"/>
                <a:gd name="T86" fmla="*/ 78 w 188"/>
                <a:gd name="T87" fmla="*/ 0 h 353"/>
                <a:gd name="T88" fmla="*/ 72 w 188"/>
                <a:gd name="T89" fmla="*/ 9 h 353"/>
                <a:gd name="T90" fmla="*/ 71 w 188"/>
                <a:gd name="T91" fmla="*/ 3 h 353"/>
                <a:gd name="T92" fmla="*/ 52 w 188"/>
                <a:gd name="T93" fmla="*/ 6 h 353"/>
                <a:gd name="T94" fmla="*/ 42 w 188"/>
                <a:gd name="T95" fmla="*/ 0 h 353"/>
                <a:gd name="T96" fmla="*/ 28 w 188"/>
                <a:gd name="T97" fmla="*/ 10 h 353"/>
                <a:gd name="T98" fmla="*/ 26 w 188"/>
                <a:gd name="T99" fmla="*/ 43 h 353"/>
                <a:gd name="T100" fmla="*/ 22 w 188"/>
                <a:gd name="T101" fmla="*/ 63 h 353"/>
                <a:gd name="T102" fmla="*/ 14 w 188"/>
                <a:gd name="T103" fmla="*/ 8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353">
                  <a:moveTo>
                    <a:pt x="14" y="80"/>
                  </a:moveTo>
                  <a:lnTo>
                    <a:pt x="26" y="90"/>
                  </a:lnTo>
                  <a:lnTo>
                    <a:pt x="26" y="106"/>
                  </a:lnTo>
                  <a:lnTo>
                    <a:pt x="24" y="116"/>
                  </a:lnTo>
                  <a:lnTo>
                    <a:pt x="17" y="130"/>
                  </a:lnTo>
                  <a:lnTo>
                    <a:pt x="17" y="164"/>
                  </a:lnTo>
                  <a:lnTo>
                    <a:pt x="22" y="177"/>
                  </a:lnTo>
                  <a:lnTo>
                    <a:pt x="5" y="205"/>
                  </a:lnTo>
                  <a:lnTo>
                    <a:pt x="9" y="211"/>
                  </a:lnTo>
                  <a:lnTo>
                    <a:pt x="0" y="226"/>
                  </a:lnTo>
                  <a:lnTo>
                    <a:pt x="8" y="242"/>
                  </a:lnTo>
                  <a:lnTo>
                    <a:pt x="9" y="253"/>
                  </a:lnTo>
                  <a:lnTo>
                    <a:pt x="14" y="239"/>
                  </a:lnTo>
                  <a:lnTo>
                    <a:pt x="28" y="258"/>
                  </a:lnTo>
                  <a:lnTo>
                    <a:pt x="26" y="276"/>
                  </a:lnTo>
                  <a:lnTo>
                    <a:pt x="19" y="285"/>
                  </a:lnTo>
                  <a:lnTo>
                    <a:pt x="28" y="300"/>
                  </a:lnTo>
                  <a:lnTo>
                    <a:pt x="40" y="306"/>
                  </a:lnTo>
                  <a:lnTo>
                    <a:pt x="59" y="319"/>
                  </a:lnTo>
                  <a:lnTo>
                    <a:pt x="75" y="335"/>
                  </a:lnTo>
                  <a:lnTo>
                    <a:pt x="78" y="345"/>
                  </a:lnTo>
                  <a:lnTo>
                    <a:pt x="97" y="353"/>
                  </a:lnTo>
                  <a:lnTo>
                    <a:pt x="113" y="345"/>
                  </a:lnTo>
                  <a:lnTo>
                    <a:pt x="133" y="332"/>
                  </a:lnTo>
                  <a:lnTo>
                    <a:pt x="143" y="309"/>
                  </a:lnTo>
                  <a:lnTo>
                    <a:pt x="152" y="295"/>
                  </a:lnTo>
                  <a:lnTo>
                    <a:pt x="169" y="261"/>
                  </a:lnTo>
                  <a:lnTo>
                    <a:pt x="174" y="235"/>
                  </a:lnTo>
                  <a:lnTo>
                    <a:pt x="176" y="211"/>
                  </a:lnTo>
                  <a:lnTo>
                    <a:pt x="188" y="195"/>
                  </a:lnTo>
                  <a:lnTo>
                    <a:pt x="169" y="189"/>
                  </a:lnTo>
                  <a:lnTo>
                    <a:pt x="162" y="180"/>
                  </a:lnTo>
                  <a:lnTo>
                    <a:pt x="152" y="182"/>
                  </a:lnTo>
                  <a:lnTo>
                    <a:pt x="136" y="174"/>
                  </a:lnTo>
                  <a:lnTo>
                    <a:pt x="132" y="150"/>
                  </a:lnTo>
                  <a:lnTo>
                    <a:pt x="127" y="133"/>
                  </a:lnTo>
                  <a:lnTo>
                    <a:pt x="136" y="114"/>
                  </a:lnTo>
                  <a:lnTo>
                    <a:pt x="136" y="59"/>
                  </a:lnTo>
                  <a:lnTo>
                    <a:pt x="136" y="40"/>
                  </a:lnTo>
                  <a:lnTo>
                    <a:pt x="127" y="29"/>
                  </a:lnTo>
                  <a:lnTo>
                    <a:pt x="110" y="27"/>
                  </a:lnTo>
                  <a:lnTo>
                    <a:pt x="99" y="22"/>
                  </a:lnTo>
                  <a:lnTo>
                    <a:pt x="89" y="3"/>
                  </a:lnTo>
                  <a:lnTo>
                    <a:pt x="78" y="0"/>
                  </a:lnTo>
                  <a:lnTo>
                    <a:pt x="72" y="9"/>
                  </a:lnTo>
                  <a:lnTo>
                    <a:pt x="71" y="3"/>
                  </a:lnTo>
                  <a:lnTo>
                    <a:pt x="52" y="6"/>
                  </a:lnTo>
                  <a:lnTo>
                    <a:pt x="42" y="0"/>
                  </a:lnTo>
                  <a:lnTo>
                    <a:pt x="28" y="10"/>
                  </a:lnTo>
                  <a:lnTo>
                    <a:pt x="26" y="43"/>
                  </a:lnTo>
                  <a:lnTo>
                    <a:pt x="22" y="63"/>
                  </a:lnTo>
                  <a:lnTo>
                    <a:pt x="14" y="8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1" name="BA"/>
            <p:cNvSpPr>
              <a:spLocks noChangeAspect="1"/>
            </p:cNvSpPr>
            <p:nvPr/>
          </p:nvSpPr>
          <p:spPr bwMode="auto">
            <a:xfrm>
              <a:off x="6326188" y="4695825"/>
              <a:ext cx="444500" cy="369888"/>
            </a:xfrm>
            <a:custGeom>
              <a:avLst/>
              <a:gdLst>
                <a:gd name="T0" fmla="*/ 277 w 300"/>
                <a:gd name="T1" fmla="*/ 44 h 313"/>
                <a:gd name="T2" fmla="*/ 262 w 300"/>
                <a:gd name="T3" fmla="*/ 44 h 313"/>
                <a:gd name="T4" fmla="*/ 245 w 300"/>
                <a:gd name="T5" fmla="*/ 31 h 313"/>
                <a:gd name="T6" fmla="*/ 224 w 300"/>
                <a:gd name="T7" fmla="*/ 18 h 313"/>
                <a:gd name="T8" fmla="*/ 197 w 300"/>
                <a:gd name="T9" fmla="*/ 34 h 313"/>
                <a:gd name="T10" fmla="*/ 173 w 300"/>
                <a:gd name="T11" fmla="*/ 27 h 313"/>
                <a:gd name="T12" fmla="*/ 152 w 300"/>
                <a:gd name="T13" fmla="*/ 38 h 313"/>
                <a:gd name="T14" fmla="*/ 150 w 300"/>
                <a:gd name="T15" fmla="*/ 27 h 313"/>
                <a:gd name="T16" fmla="*/ 131 w 300"/>
                <a:gd name="T17" fmla="*/ 26 h 313"/>
                <a:gd name="T18" fmla="*/ 109 w 300"/>
                <a:gd name="T19" fmla="*/ 0 h 313"/>
                <a:gd name="T20" fmla="*/ 74 w 300"/>
                <a:gd name="T21" fmla="*/ 43 h 313"/>
                <a:gd name="T22" fmla="*/ 21 w 300"/>
                <a:gd name="T23" fmla="*/ 23 h 313"/>
                <a:gd name="T24" fmla="*/ 0 w 300"/>
                <a:gd name="T25" fmla="*/ 30 h 313"/>
                <a:gd name="T26" fmla="*/ 0 w 300"/>
                <a:gd name="T27" fmla="*/ 44 h 313"/>
                <a:gd name="T28" fmla="*/ 57 w 300"/>
                <a:gd name="T29" fmla="*/ 111 h 313"/>
                <a:gd name="T30" fmla="*/ 71 w 300"/>
                <a:gd name="T31" fmla="*/ 155 h 313"/>
                <a:gd name="T32" fmla="*/ 101 w 300"/>
                <a:gd name="T33" fmla="*/ 181 h 313"/>
                <a:gd name="T34" fmla="*/ 114 w 300"/>
                <a:gd name="T35" fmla="*/ 176 h 313"/>
                <a:gd name="T36" fmla="*/ 188 w 300"/>
                <a:gd name="T37" fmla="*/ 266 h 313"/>
                <a:gd name="T38" fmla="*/ 193 w 300"/>
                <a:gd name="T39" fmla="*/ 286 h 313"/>
                <a:gd name="T40" fmla="*/ 188 w 300"/>
                <a:gd name="T41" fmla="*/ 299 h 313"/>
                <a:gd name="T42" fmla="*/ 193 w 300"/>
                <a:gd name="T43" fmla="*/ 313 h 313"/>
                <a:gd name="T44" fmla="*/ 215 w 300"/>
                <a:gd name="T45" fmla="*/ 300 h 313"/>
                <a:gd name="T46" fmla="*/ 231 w 300"/>
                <a:gd name="T47" fmla="*/ 294 h 313"/>
                <a:gd name="T48" fmla="*/ 231 w 300"/>
                <a:gd name="T49" fmla="*/ 265 h 313"/>
                <a:gd name="T50" fmla="*/ 253 w 300"/>
                <a:gd name="T51" fmla="*/ 245 h 313"/>
                <a:gd name="T52" fmla="*/ 262 w 300"/>
                <a:gd name="T53" fmla="*/ 223 h 313"/>
                <a:gd name="T54" fmla="*/ 285 w 300"/>
                <a:gd name="T55" fmla="*/ 213 h 313"/>
                <a:gd name="T56" fmla="*/ 288 w 300"/>
                <a:gd name="T57" fmla="*/ 188 h 313"/>
                <a:gd name="T58" fmla="*/ 285 w 300"/>
                <a:gd name="T59" fmla="*/ 164 h 313"/>
                <a:gd name="T60" fmla="*/ 296 w 300"/>
                <a:gd name="T61" fmla="*/ 154 h 313"/>
                <a:gd name="T62" fmla="*/ 276 w 300"/>
                <a:gd name="T63" fmla="*/ 121 h 313"/>
                <a:gd name="T64" fmla="*/ 300 w 300"/>
                <a:gd name="T65" fmla="*/ 74 h 313"/>
                <a:gd name="T66" fmla="*/ 277 w 300"/>
                <a:gd name="T6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13">
                  <a:moveTo>
                    <a:pt x="277" y="44"/>
                  </a:moveTo>
                  <a:lnTo>
                    <a:pt x="262" y="44"/>
                  </a:lnTo>
                  <a:lnTo>
                    <a:pt x="245" y="31"/>
                  </a:lnTo>
                  <a:lnTo>
                    <a:pt x="224" y="18"/>
                  </a:lnTo>
                  <a:lnTo>
                    <a:pt x="197" y="34"/>
                  </a:lnTo>
                  <a:lnTo>
                    <a:pt x="173" y="27"/>
                  </a:lnTo>
                  <a:lnTo>
                    <a:pt x="152" y="38"/>
                  </a:lnTo>
                  <a:lnTo>
                    <a:pt x="150" y="27"/>
                  </a:lnTo>
                  <a:lnTo>
                    <a:pt x="131" y="26"/>
                  </a:lnTo>
                  <a:lnTo>
                    <a:pt x="109" y="0"/>
                  </a:lnTo>
                  <a:lnTo>
                    <a:pt x="74" y="43"/>
                  </a:lnTo>
                  <a:lnTo>
                    <a:pt x="21" y="23"/>
                  </a:lnTo>
                  <a:lnTo>
                    <a:pt x="0" y="30"/>
                  </a:lnTo>
                  <a:lnTo>
                    <a:pt x="0" y="44"/>
                  </a:lnTo>
                  <a:lnTo>
                    <a:pt x="57" y="111"/>
                  </a:lnTo>
                  <a:lnTo>
                    <a:pt x="71" y="155"/>
                  </a:lnTo>
                  <a:lnTo>
                    <a:pt x="101" y="181"/>
                  </a:lnTo>
                  <a:lnTo>
                    <a:pt x="114" y="176"/>
                  </a:lnTo>
                  <a:lnTo>
                    <a:pt x="188" y="266"/>
                  </a:lnTo>
                  <a:lnTo>
                    <a:pt x="193" y="286"/>
                  </a:lnTo>
                  <a:lnTo>
                    <a:pt x="188" y="299"/>
                  </a:lnTo>
                  <a:lnTo>
                    <a:pt x="193" y="313"/>
                  </a:lnTo>
                  <a:lnTo>
                    <a:pt x="215" y="300"/>
                  </a:lnTo>
                  <a:lnTo>
                    <a:pt x="231" y="294"/>
                  </a:lnTo>
                  <a:lnTo>
                    <a:pt x="231" y="265"/>
                  </a:lnTo>
                  <a:lnTo>
                    <a:pt x="253" y="245"/>
                  </a:lnTo>
                  <a:lnTo>
                    <a:pt x="262" y="223"/>
                  </a:lnTo>
                  <a:lnTo>
                    <a:pt x="285" y="213"/>
                  </a:lnTo>
                  <a:lnTo>
                    <a:pt x="288" y="188"/>
                  </a:lnTo>
                  <a:lnTo>
                    <a:pt x="285" y="164"/>
                  </a:lnTo>
                  <a:lnTo>
                    <a:pt x="296" y="154"/>
                  </a:lnTo>
                  <a:lnTo>
                    <a:pt x="276" y="121"/>
                  </a:lnTo>
                  <a:lnTo>
                    <a:pt x="300" y="74"/>
                  </a:lnTo>
                  <a:lnTo>
                    <a:pt x="277" y="44"/>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12" name="IE"/>
            <p:cNvGrpSpPr/>
            <p:nvPr/>
          </p:nvGrpSpPr>
          <p:grpSpPr>
            <a:xfrm>
              <a:off x="3801983" y="2760668"/>
              <a:ext cx="611448" cy="468313"/>
              <a:chOff x="754064" y="3078843"/>
              <a:chExt cx="611449" cy="468313"/>
            </a:xfrm>
            <a:solidFill>
              <a:schemeClr val="bg1">
                <a:lumMod val="95000"/>
              </a:schemeClr>
            </a:solidFill>
            <a:effectLst/>
          </p:grpSpPr>
          <p:sp>
            <p:nvSpPr>
              <p:cNvPr id="103" name="Freeform 575"/>
              <p:cNvSpPr>
                <a:spLocks noChangeAspect="1"/>
              </p:cNvSpPr>
              <p:nvPr/>
            </p:nvSpPr>
            <p:spPr bwMode="auto">
              <a:xfrm>
                <a:off x="754064" y="3078843"/>
                <a:ext cx="566737" cy="468313"/>
              </a:xfrm>
              <a:custGeom>
                <a:avLst/>
                <a:gdLst>
                  <a:gd name="T0" fmla="*/ 137 w 384"/>
                  <a:gd name="T1" fmla="*/ 163 h 392"/>
                  <a:gd name="T2" fmla="*/ 135 w 384"/>
                  <a:gd name="T3" fmla="*/ 198 h 392"/>
                  <a:gd name="T4" fmla="*/ 109 w 384"/>
                  <a:gd name="T5" fmla="*/ 192 h 392"/>
                  <a:gd name="T6" fmla="*/ 80 w 384"/>
                  <a:gd name="T7" fmla="*/ 237 h 392"/>
                  <a:gd name="T8" fmla="*/ 42 w 384"/>
                  <a:gd name="T9" fmla="*/ 272 h 392"/>
                  <a:gd name="T10" fmla="*/ 17 w 384"/>
                  <a:gd name="T11" fmla="*/ 277 h 392"/>
                  <a:gd name="T12" fmla="*/ 8 w 384"/>
                  <a:gd name="T13" fmla="*/ 286 h 392"/>
                  <a:gd name="T14" fmla="*/ 14 w 384"/>
                  <a:gd name="T15" fmla="*/ 313 h 392"/>
                  <a:gd name="T16" fmla="*/ 6 w 384"/>
                  <a:gd name="T17" fmla="*/ 347 h 392"/>
                  <a:gd name="T18" fmla="*/ 22 w 384"/>
                  <a:gd name="T19" fmla="*/ 347 h 392"/>
                  <a:gd name="T20" fmla="*/ 38 w 384"/>
                  <a:gd name="T21" fmla="*/ 346 h 392"/>
                  <a:gd name="T22" fmla="*/ 31 w 384"/>
                  <a:gd name="T23" fmla="*/ 371 h 392"/>
                  <a:gd name="T24" fmla="*/ 69 w 384"/>
                  <a:gd name="T25" fmla="*/ 380 h 392"/>
                  <a:gd name="T26" fmla="*/ 102 w 384"/>
                  <a:gd name="T27" fmla="*/ 392 h 392"/>
                  <a:gd name="T28" fmla="*/ 137 w 384"/>
                  <a:gd name="T29" fmla="*/ 371 h 392"/>
                  <a:gd name="T30" fmla="*/ 236 w 384"/>
                  <a:gd name="T31" fmla="*/ 380 h 392"/>
                  <a:gd name="T32" fmla="*/ 288 w 384"/>
                  <a:gd name="T33" fmla="*/ 343 h 392"/>
                  <a:gd name="T34" fmla="*/ 316 w 384"/>
                  <a:gd name="T35" fmla="*/ 313 h 392"/>
                  <a:gd name="T36" fmla="*/ 340 w 384"/>
                  <a:gd name="T37" fmla="*/ 277 h 392"/>
                  <a:gd name="T38" fmla="*/ 351 w 384"/>
                  <a:gd name="T39" fmla="*/ 192 h 392"/>
                  <a:gd name="T40" fmla="*/ 365 w 384"/>
                  <a:gd name="T41" fmla="*/ 152 h 392"/>
                  <a:gd name="T42" fmla="*/ 346 w 384"/>
                  <a:gd name="T43" fmla="*/ 108 h 392"/>
                  <a:gd name="T44" fmla="*/ 318 w 384"/>
                  <a:gd name="T45" fmla="*/ 99 h 392"/>
                  <a:gd name="T46" fmla="*/ 304 w 384"/>
                  <a:gd name="T47" fmla="*/ 58 h 392"/>
                  <a:gd name="T48" fmla="*/ 344 w 384"/>
                  <a:gd name="T49" fmla="*/ 0 h 392"/>
                  <a:gd name="T50" fmla="*/ 283 w 384"/>
                  <a:gd name="T51" fmla="*/ 6 h 392"/>
                  <a:gd name="T52" fmla="*/ 255 w 384"/>
                  <a:gd name="T53" fmla="*/ 27 h 392"/>
                  <a:gd name="T54" fmla="*/ 228 w 384"/>
                  <a:gd name="T55" fmla="*/ 31 h 392"/>
                  <a:gd name="T56" fmla="*/ 259 w 384"/>
                  <a:gd name="T57" fmla="*/ 62 h 392"/>
                  <a:gd name="T58" fmla="*/ 201 w 384"/>
                  <a:gd name="T59" fmla="*/ 71 h 392"/>
                  <a:gd name="T60" fmla="*/ 144 w 384"/>
                  <a:gd name="T61" fmla="*/ 45 h 392"/>
                  <a:gd name="T62" fmla="*/ 127 w 384"/>
                  <a:gd name="T63" fmla="*/ 77 h 392"/>
                  <a:gd name="T64" fmla="*/ 126 w 384"/>
                  <a:gd name="T65" fmla="*/ 95 h 392"/>
                  <a:gd name="T66" fmla="*/ 111 w 384"/>
                  <a:gd name="T67" fmla="*/ 126 h 392"/>
                  <a:gd name="T68" fmla="*/ 92 w 384"/>
                  <a:gd name="T69" fmla="*/ 158 h 392"/>
                  <a:gd name="T70" fmla="*/ 113 w 384"/>
                  <a:gd name="T71" fmla="*/ 17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92">
                    <a:moveTo>
                      <a:pt x="142" y="148"/>
                    </a:moveTo>
                    <a:lnTo>
                      <a:pt x="137" y="163"/>
                    </a:lnTo>
                    <a:lnTo>
                      <a:pt x="142" y="185"/>
                    </a:lnTo>
                    <a:lnTo>
                      <a:pt x="135" y="198"/>
                    </a:lnTo>
                    <a:lnTo>
                      <a:pt x="123" y="189"/>
                    </a:lnTo>
                    <a:lnTo>
                      <a:pt x="109" y="192"/>
                    </a:lnTo>
                    <a:lnTo>
                      <a:pt x="109" y="208"/>
                    </a:lnTo>
                    <a:lnTo>
                      <a:pt x="80" y="237"/>
                    </a:lnTo>
                    <a:lnTo>
                      <a:pt x="64" y="245"/>
                    </a:lnTo>
                    <a:lnTo>
                      <a:pt x="42" y="272"/>
                    </a:lnTo>
                    <a:lnTo>
                      <a:pt x="28" y="279"/>
                    </a:lnTo>
                    <a:lnTo>
                      <a:pt x="17" y="277"/>
                    </a:lnTo>
                    <a:lnTo>
                      <a:pt x="12" y="281"/>
                    </a:lnTo>
                    <a:lnTo>
                      <a:pt x="8" y="286"/>
                    </a:lnTo>
                    <a:lnTo>
                      <a:pt x="14" y="294"/>
                    </a:lnTo>
                    <a:lnTo>
                      <a:pt x="14" y="313"/>
                    </a:lnTo>
                    <a:lnTo>
                      <a:pt x="0" y="330"/>
                    </a:lnTo>
                    <a:lnTo>
                      <a:pt x="6" y="347"/>
                    </a:lnTo>
                    <a:lnTo>
                      <a:pt x="6" y="347"/>
                    </a:lnTo>
                    <a:lnTo>
                      <a:pt x="22" y="347"/>
                    </a:lnTo>
                    <a:lnTo>
                      <a:pt x="28" y="334"/>
                    </a:lnTo>
                    <a:lnTo>
                      <a:pt x="38" y="346"/>
                    </a:lnTo>
                    <a:lnTo>
                      <a:pt x="26" y="355"/>
                    </a:lnTo>
                    <a:lnTo>
                      <a:pt x="31" y="371"/>
                    </a:lnTo>
                    <a:lnTo>
                      <a:pt x="38" y="374"/>
                    </a:lnTo>
                    <a:lnTo>
                      <a:pt x="69" y="380"/>
                    </a:lnTo>
                    <a:lnTo>
                      <a:pt x="74" y="382"/>
                    </a:lnTo>
                    <a:lnTo>
                      <a:pt x="102" y="392"/>
                    </a:lnTo>
                    <a:lnTo>
                      <a:pt x="113" y="387"/>
                    </a:lnTo>
                    <a:lnTo>
                      <a:pt x="137" y="371"/>
                    </a:lnTo>
                    <a:lnTo>
                      <a:pt x="173" y="380"/>
                    </a:lnTo>
                    <a:lnTo>
                      <a:pt x="236" y="380"/>
                    </a:lnTo>
                    <a:lnTo>
                      <a:pt x="271" y="371"/>
                    </a:lnTo>
                    <a:lnTo>
                      <a:pt x="288" y="343"/>
                    </a:lnTo>
                    <a:lnTo>
                      <a:pt x="309" y="330"/>
                    </a:lnTo>
                    <a:lnTo>
                      <a:pt x="316" y="313"/>
                    </a:lnTo>
                    <a:lnTo>
                      <a:pt x="323" y="290"/>
                    </a:lnTo>
                    <a:lnTo>
                      <a:pt x="340" y="277"/>
                    </a:lnTo>
                    <a:lnTo>
                      <a:pt x="354" y="237"/>
                    </a:lnTo>
                    <a:lnTo>
                      <a:pt x="351" y="192"/>
                    </a:lnTo>
                    <a:lnTo>
                      <a:pt x="384" y="171"/>
                    </a:lnTo>
                    <a:lnTo>
                      <a:pt x="365" y="152"/>
                    </a:lnTo>
                    <a:lnTo>
                      <a:pt x="359" y="121"/>
                    </a:lnTo>
                    <a:lnTo>
                      <a:pt x="346" y="108"/>
                    </a:lnTo>
                    <a:lnTo>
                      <a:pt x="332" y="108"/>
                    </a:lnTo>
                    <a:lnTo>
                      <a:pt x="318" y="99"/>
                    </a:lnTo>
                    <a:lnTo>
                      <a:pt x="293" y="65"/>
                    </a:lnTo>
                    <a:lnTo>
                      <a:pt x="304" y="58"/>
                    </a:lnTo>
                    <a:lnTo>
                      <a:pt x="349" y="13"/>
                    </a:lnTo>
                    <a:lnTo>
                      <a:pt x="344" y="0"/>
                    </a:lnTo>
                    <a:lnTo>
                      <a:pt x="330" y="3"/>
                    </a:lnTo>
                    <a:lnTo>
                      <a:pt x="283" y="6"/>
                    </a:lnTo>
                    <a:lnTo>
                      <a:pt x="266" y="18"/>
                    </a:lnTo>
                    <a:lnTo>
                      <a:pt x="255" y="27"/>
                    </a:lnTo>
                    <a:lnTo>
                      <a:pt x="239" y="24"/>
                    </a:lnTo>
                    <a:lnTo>
                      <a:pt x="228" y="31"/>
                    </a:lnTo>
                    <a:lnTo>
                      <a:pt x="236" y="45"/>
                    </a:lnTo>
                    <a:lnTo>
                      <a:pt x="259" y="62"/>
                    </a:lnTo>
                    <a:lnTo>
                      <a:pt x="242" y="65"/>
                    </a:lnTo>
                    <a:lnTo>
                      <a:pt x="201" y="71"/>
                    </a:lnTo>
                    <a:lnTo>
                      <a:pt x="173" y="58"/>
                    </a:lnTo>
                    <a:lnTo>
                      <a:pt x="144" y="45"/>
                    </a:lnTo>
                    <a:lnTo>
                      <a:pt x="135" y="52"/>
                    </a:lnTo>
                    <a:lnTo>
                      <a:pt x="127" y="77"/>
                    </a:lnTo>
                    <a:lnTo>
                      <a:pt x="130" y="89"/>
                    </a:lnTo>
                    <a:lnTo>
                      <a:pt x="126" y="95"/>
                    </a:lnTo>
                    <a:lnTo>
                      <a:pt x="109" y="102"/>
                    </a:lnTo>
                    <a:lnTo>
                      <a:pt x="111" y="126"/>
                    </a:lnTo>
                    <a:lnTo>
                      <a:pt x="109" y="132"/>
                    </a:lnTo>
                    <a:lnTo>
                      <a:pt x="92" y="158"/>
                    </a:lnTo>
                    <a:lnTo>
                      <a:pt x="107" y="182"/>
                    </a:lnTo>
                    <a:lnTo>
                      <a:pt x="113" y="179"/>
                    </a:lnTo>
                    <a:lnTo>
                      <a:pt x="142" y="14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4" name="Freeform 576"/>
              <p:cNvSpPr>
                <a:spLocks noChangeAspect="1"/>
              </p:cNvSpPr>
              <p:nvPr/>
            </p:nvSpPr>
            <p:spPr bwMode="auto">
              <a:xfrm>
                <a:off x="1182114" y="3116440"/>
                <a:ext cx="183399" cy="169877"/>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13" name="NI"/>
            <p:cNvSpPr>
              <a:spLocks noChangeAspect="1"/>
            </p:cNvSpPr>
            <p:nvPr/>
          </p:nvSpPr>
          <p:spPr bwMode="auto">
            <a:xfrm>
              <a:off x="4224338" y="2790825"/>
              <a:ext cx="192087" cy="169863"/>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ea typeface="ＭＳ Ｐゴシック" charset="-128"/>
              </a:endParaRPr>
            </a:p>
          </p:txBody>
        </p:sp>
        <p:sp>
          <p:nvSpPr>
            <p:cNvPr id="14" name="CH"/>
            <p:cNvSpPr>
              <a:spLocks/>
            </p:cNvSpPr>
            <p:nvPr/>
          </p:nvSpPr>
          <p:spPr bwMode="auto">
            <a:xfrm>
              <a:off x="5226050" y="4206799"/>
              <a:ext cx="550863" cy="307975"/>
            </a:xfrm>
            <a:custGeom>
              <a:avLst/>
              <a:gdLst>
                <a:gd name="T0" fmla="*/ 197 w 376"/>
                <a:gd name="T1" fmla="*/ 53 h 276"/>
                <a:gd name="T2" fmla="*/ 178 w 376"/>
                <a:gd name="T3" fmla="*/ 34 h 276"/>
                <a:gd name="T4" fmla="*/ 181 w 376"/>
                <a:gd name="T5" fmla="*/ 27 h 276"/>
                <a:gd name="T6" fmla="*/ 170 w 376"/>
                <a:gd name="T7" fmla="*/ 16 h 276"/>
                <a:gd name="T8" fmla="*/ 159 w 376"/>
                <a:gd name="T9" fmla="*/ 0 h 276"/>
                <a:gd name="T10" fmla="*/ 148 w 376"/>
                <a:gd name="T11" fmla="*/ 16 h 276"/>
                <a:gd name="T12" fmla="*/ 140 w 376"/>
                <a:gd name="T13" fmla="*/ 10 h 276"/>
                <a:gd name="T14" fmla="*/ 127 w 376"/>
                <a:gd name="T15" fmla="*/ 24 h 276"/>
                <a:gd name="T16" fmla="*/ 127 w 376"/>
                <a:gd name="T17" fmla="*/ 32 h 276"/>
                <a:gd name="T18" fmla="*/ 110 w 376"/>
                <a:gd name="T19" fmla="*/ 40 h 276"/>
                <a:gd name="T20" fmla="*/ 68 w 376"/>
                <a:gd name="T21" fmla="*/ 77 h 276"/>
                <a:gd name="T22" fmla="*/ 57 w 376"/>
                <a:gd name="T23" fmla="*/ 93 h 276"/>
                <a:gd name="T24" fmla="*/ 57 w 376"/>
                <a:gd name="T25" fmla="*/ 111 h 276"/>
                <a:gd name="T26" fmla="*/ 42 w 376"/>
                <a:gd name="T27" fmla="*/ 117 h 276"/>
                <a:gd name="T28" fmla="*/ 11 w 376"/>
                <a:gd name="T29" fmla="*/ 154 h 276"/>
                <a:gd name="T30" fmla="*/ 11 w 376"/>
                <a:gd name="T31" fmla="*/ 167 h 276"/>
                <a:gd name="T32" fmla="*/ 0 w 376"/>
                <a:gd name="T33" fmla="*/ 182 h 276"/>
                <a:gd name="T34" fmla="*/ 5 w 376"/>
                <a:gd name="T35" fmla="*/ 201 h 276"/>
                <a:gd name="T36" fmla="*/ 19 w 376"/>
                <a:gd name="T37" fmla="*/ 191 h 276"/>
                <a:gd name="T38" fmla="*/ 33 w 376"/>
                <a:gd name="T39" fmla="*/ 174 h 276"/>
                <a:gd name="T40" fmla="*/ 54 w 376"/>
                <a:gd name="T41" fmla="*/ 169 h 276"/>
                <a:gd name="T42" fmla="*/ 68 w 376"/>
                <a:gd name="T43" fmla="*/ 174 h 276"/>
                <a:gd name="T44" fmla="*/ 73 w 376"/>
                <a:gd name="T45" fmla="*/ 201 h 276"/>
                <a:gd name="T46" fmla="*/ 71 w 376"/>
                <a:gd name="T47" fmla="*/ 219 h 276"/>
                <a:gd name="T48" fmla="*/ 80 w 376"/>
                <a:gd name="T49" fmla="*/ 232 h 276"/>
                <a:gd name="T50" fmla="*/ 91 w 376"/>
                <a:gd name="T51" fmla="*/ 241 h 276"/>
                <a:gd name="T52" fmla="*/ 115 w 376"/>
                <a:gd name="T53" fmla="*/ 243 h 276"/>
                <a:gd name="T54" fmla="*/ 167 w 376"/>
                <a:gd name="T55" fmla="*/ 251 h 276"/>
                <a:gd name="T56" fmla="*/ 178 w 376"/>
                <a:gd name="T57" fmla="*/ 243 h 276"/>
                <a:gd name="T58" fmla="*/ 186 w 376"/>
                <a:gd name="T59" fmla="*/ 232 h 276"/>
                <a:gd name="T60" fmla="*/ 191 w 376"/>
                <a:gd name="T61" fmla="*/ 208 h 276"/>
                <a:gd name="T62" fmla="*/ 210 w 376"/>
                <a:gd name="T63" fmla="*/ 206 h 276"/>
                <a:gd name="T64" fmla="*/ 216 w 376"/>
                <a:gd name="T65" fmla="*/ 222 h 276"/>
                <a:gd name="T66" fmla="*/ 216 w 376"/>
                <a:gd name="T67" fmla="*/ 258 h 276"/>
                <a:gd name="T68" fmla="*/ 240 w 376"/>
                <a:gd name="T69" fmla="*/ 276 h 276"/>
                <a:gd name="T70" fmla="*/ 258 w 376"/>
                <a:gd name="T71" fmla="*/ 245 h 276"/>
                <a:gd name="T72" fmla="*/ 277 w 376"/>
                <a:gd name="T73" fmla="*/ 235 h 276"/>
                <a:gd name="T74" fmla="*/ 299 w 376"/>
                <a:gd name="T75" fmla="*/ 238 h 276"/>
                <a:gd name="T76" fmla="*/ 315 w 376"/>
                <a:gd name="T77" fmla="*/ 248 h 276"/>
                <a:gd name="T78" fmla="*/ 322 w 376"/>
                <a:gd name="T79" fmla="*/ 256 h 276"/>
                <a:gd name="T80" fmla="*/ 327 w 376"/>
                <a:gd name="T81" fmla="*/ 229 h 276"/>
                <a:gd name="T82" fmla="*/ 339 w 376"/>
                <a:gd name="T83" fmla="*/ 198 h 276"/>
                <a:gd name="T84" fmla="*/ 367 w 376"/>
                <a:gd name="T85" fmla="*/ 192 h 276"/>
                <a:gd name="T86" fmla="*/ 376 w 376"/>
                <a:gd name="T87" fmla="*/ 172 h 276"/>
                <a:gd name="T88" fmla="*/ 367 w 376"/>
                <a:gd name="T89" fmla="*/ 155 h 276"/>
                <a:gd name="T90" fmla="*/ 354 w 376"/>
                <a:gd name="T91" fmla="*/ 148 h 276"/>
                <a:gd name="T92" fmla="*/ 319 w 376"/>
                <a:gd name="T93" fmla="*/ 141 h 276"/>
                <a:gd name="T94" fmla="*/ 318 w 376"/>
                <a:gd name="T95" fmla="*/ 121 h 276"/>
                <a:gd name="T96" fmla="*/ 318 w 376"/>
                <a:gd name="T97" fmla="*/ 100 h 276"/>
                <a:gd name="T98" fmla="*/ 318 w 376"/>
                <a:gd name="T99" fmla="*/ 84 h 276"/>
                <a:gd name="T100" fmla="*/ 296 w 376"/>
                <a:gd name="T101" fmla="*/ 71 h 276"/>
                <a:gd name="T102" fmla="*/ 285 w 376"/>
                <a:gd name="T103" fmla="*/ 77 h 276"/>
                <a:gd name="T104" fmla="*/ 266 w 376"/>
                <a:gd name="T105" fmla="*/ 61 h 276"/>
                <a:gd name="T106" fmla="*/ 263 w 376"/>
                <a:gd name="T107" fmla="*/ 50 h 276"/>
                <a:gd name="T108" fmla="*/ 256 w 376"/>
                <a:gd name="T109" fmla="*/ 37 h 276"/>
                <a:gd name="T110" fmla="*/ 256 w 376"/>
                <a:gd name="T111" fmla="*/ 32 h 276"/>
                <a:gd name="T112" fmla="*/ 235 w 376"/>
                <a:gd name="T113" fmla="*/ 24 h 276"/>
                <a:gd name="T114" fmla="*/ 228 w 376"/>
                <a:gd name="T115" fmla="*/ 34 h 276"/>
                <a:gd name="T116" fmla="*/ 214 w 376"/>
                <a:gd name="T117" fmla="*/ 46 h 276"/>
                <a:gd name="T118" fmla="*/ 197 w 376"/>
                <a:gd name="T11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276">
                  <a:moveTo>
                    <a:pt x="197" y="53"/>
                  </a:moveTo>
                  <a:lnTo>
                    <a:pt x="178" y="34"/>
                  </a:lnTo>
                  <a:lnTo>
                    <a:pt x="181" y="27"/>
                  </a:lnTo>
                  <a:lnTo>
                    <a:pt x="170" y="16"/>
                  </a:lnTo>
                  <a:lnTo>
                    <a:pt x="159" y="0"/>
                  </a:lnTo>
                  <a:lnTo>
                    <a:pt x="148" y="16"/>
                  </a:lnTo>
                  <a:lnTo>
                    <a:pt x="140" y="10"/>
                  </a:lnTo>
                  <a:lnTo>
                    <a:pt x="127" y="24"/>
                  </a:lnTo>
                  <a:lnTo>
                    <a:pt x="127" y="32"/>
                  </a:lnTo>
                  <a:lnTo>
                    <a:pt x="110" y="40"/>
                  </a:lnTo>
                  <a:lnTo>
                    <a:pt x="68" y="77"/>
                  </a:lnTo>
                  <a:lnTo>
                    <a:pt x="57" y="93"/>
                  </a:lnTo>
                  <a:lnTo>
                    <a:pt x="57" y="111"/>
                  </a:lnTo>
                  <a:lnTo>
                    <a:pt x="42" y="117"/>
                  </a:lnTo>
                  <a:lnTo>
                    <a:pt x="11" y="154"/>
                  </a:lnTo>
                  <a:lnTo>
                    <a:pt x="11" y="167"/>
                  </a:lnTo>
                  <a:lnTo>
                    <a:pt x="0" y="182"/>
                  </a:lnTo>
                  <a:lnTo>
                    <a:pt x="5" y="201"/>
                  </a:lnTo>
                  <a:lnTo>
                    <a:pt x="19" y="191"/>
                  </a:lnTo>
                  <a:lnTo>
                    <a:pt x="33" y="174"/>
                  </a:lnTo>
                  <a:lnTo>
                    <a:pt x="54" y="169"/>
                  </a:lnTo>
                  <a:lnTo>
                    <a:pt x="68" y="174"/>
                  </a:lnTo>
                  <a:lnTo>
                    <a:pt x="73" y="201"/>
                  </a:lnTo>
                  <a:lnTo>
                    <a:pt x="71" y="219"/>
                  </a:lnTo>
                  <a:lnTo>
                    <a:pt x="80" y="232"/>
                  </a:lnTo>
                  <a:lnTo>
                    <a:pt x="91" y="241"/>
                  </a:lnTo>
                  <a:lnTo>
                    <a:pt x="115" y="243"/>
                  </a:lnTo>
                  <a:lnTo>
                    <a:pt x="167" y="251"/>
                  </a:lnTo>
                  <a:lnTo>
                    <a:pt x="178" y="243"/>
                  </a:lnTo>
                  <a:lnTo>
                    <a:pt x="186" y="232"/>
                  </a:lnTo>
                  <a:lnTo>
                    <a:pt x="191" y="208"/>
                  </a:lnTo>
                  <a:lnTo>
                    <a:pt x="210" y="206"/>
                  </a:lnTo>
                  <a:lnTo>
                    <a:pt x="216" y="222"/>
                  </a:lnTo>
                  <a:lnTo>
                    <a:pt x="216" y="258"/>
                  </a:lnTo>
                  <a:lnTo>
                    <a:pt x="240" y="276"/>
                  </a:lnTo>
                  <a:lnTo>
                    <a:pt x="258" y="245"/>
                  </a:lnTo>
                  <a:lnTo>
                    <a:pt x="277" y="235"/>
                  </a:lnTo>
                  <a:lnTo>
                    <a:pt x="299" y="238"/>
                  </a:lnTo>
                  <a:lnTo>
                    <a:pt x="315" y="248"/>
                  </a:lnTo>
                  <a:lnTo>
                    <a:pt x="322" y="256"/>
                  </a:lnTo>
                  <a:lnTo>
                    <a:pt x="327" y="229"/>
                  </a:lnTo>
                  <a:lnTo>
                    <a:pt x="339" y="198"/>
                  </a:lnTo>
                  <a:lnTo>
                    <a:pt x="367" y="192"/>
                  </a:lnTo>
                  <a:lnTo>
                    <a:pt x="376" y="172"/>
                  </a:lnTo>
                  <a:lnTo>
                    <a:pt x="367" y="155"/>
                  </a:lnTo>
                  <a:lnTo>
                    <a:pt x="354" y="148"/>
                  </a:lnTo>
                  <a:lnTo>
                    <a:pt x="319" y="141"/>
                  </a:lnTo>
                  <a:lnTo>
                    <a:pt x="318" y="121"/>
                  </a:lnTo>
                  <a:lnTo>
                    <a:pt x="318" y="100"/>
                  </a:lnTo>
                  <a:lnTo>
                    <a:pt x="318" y="84"/>
                  </a:lnTo>
                  <a:lnTo>
                    <a:pt x="296" y="71"/>
                  </a:lnTo>
                  <a:lnTo>
                    <a:pt x="285" y="77"/>
                  </a:lnTo>
                  <a:lnTo>
                    <a:pt x="266" y="61"/>
                  </a:lnTo>
                  <a:lnTo>
                    <a:pt x="263" y="50"/>
                  </a:lnTo>
                  <a:lnTo>
                    <a:pt x="256" y="37"/>
                  </a:lnTo>
                  <a:lnTo>
                    <a:pt x="256" y="32"/>
                  </a:lnTo>
                  <a:lnTo>
                    <a:pt x="235" y="24"/>
                  </a:lnTo>
                  <a:lnTo>
                    <a:pt x="228" y="34"/>
                  </a:lnTo>
                  <a:lnTo>
                    <a:pt x="214" y="46"/>
                  </a:lnTo>
                  <a:lnTo>
                    <a:pt x="197" y="53"/>
                  </a:lnTo>
                  <a:close/>
                </a:path>
              </a:pathLst>
            </a:custGeom>
            <a:solidFill>
              <a:schemeClr val="accent1">
                <a:lumMod val="20000"/>
                <a:lumOff val="80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ct val="50000"/>
                </a:spcBef>
                <a:spcAft>
                  <a:spcPts val="0"/>
                </a:spcAft>
                <a:defRPr/>
              </a:pPr>
              <a:endParaRPr lang="de-CH" sz="1400" b="1" dirty="0">
                <a:solidFill>
                  <a:schemeClr val="bg1"/>
                </a:solidFill>
              </a:endParaRPr>
            </a:p>
          </p:txBody>
        </p:sp>
        <p:sp>
          <p:nvSpPr>
            <p:cNvPr id="15" name="AT"/>
            <p:cNvSpPr>
              <a:spLocks/>
            </p:cNvSpPr>
            <p:nvPr/>
          </p:nvSpPr>
          <p:spPr bwMode="auto">
            <a:xfrm>
              <a:off x="5668963" y="4160838"/>
              <a:ext cx="846137" cy="342900"/>
            </a:xfrm>
            <a:custGeom>
              <a:avLst/>
              <a:gdLst>
                <a:gd name="T0" fmla="*/ 24 w 573"/>
                <a:gd name="T1" fmla="*/ 102 h 293"/>
                <a:gd name="T2" fmla="*/ 46 w 573"/>
                <a:gd name="T3" fmla="*/ 117 h 293"/>
                <a:gd name="T4" fmla="*/ 80 w 573"/>
                <a:gd name="T5" fmla="*/ 114 h 293"/>
                <a:gd name="T6" fmla="*/ 112 w 573"/>
                <a:gd name="T7" fmla="*/ 111 h 293"/>
                <a:gd name="T8" fmla="*/ 150 w 573"/>
                <a:gd name="T9" fmla="*/ 125 h 293"/>
                <a:gd name="T10" fmla="*/ 175 w 573"/>
                <a:gd name="T11" fmla="*/ 121 h 293"/>
                <a:gd name="T12" fmla="*/ 218 w 573"/>
                <a:gd name="T13" fmla="*/ 115 h 293"/>
                <a:gd name="T14" fmla="*/ 265 w 573"/>
                <a:gd name="T15" fmla="*/ 142 h 293"/>
                <a:gd name="T16" fmla="*/ 288 w 573"/>
                <a:gd name="T17" fmla="*/ 115 h 293"/>
                <a:gd name="T18" fmla="*/ 269 w 573"/>
                <a:gd name="T19" fmla="*/ 57 h 293"/>
                <a:gd name="T20" fmla="*/ 347 w 573"/>
                <a:gd name="T21" fmla="*/ 7 h 293"/>
                <a:gd name="T22" fmla="*/ 369 w 573"/>
                <a:gd name="T23" fmla="*/ 28 h 293"/>
                <a:gd name="T24" fmla="*/ 426 w 573"/>
                <a:gd name="T25" fmla="*/ 3 h 293"/>
                <a:gd name="T26" fmla="*/ 488 w 573"/>
                <a:gd name="T27" fmla="*/ 24 h 293"/>
                <a:gd name="T28" fmla="*/ 527 w 573"/>
                <a:gd name="T29" fmla="*/ 11 h 293"/>
                <a:gd name="T30" fmla="*/ 559 w 573"/>
                <a:gd name="T31" fmla="*/ 74 h 293"/>
                <a:gd name="T32" fmla="*/ 569 w 573"/>
                <a:gd name="T33" fmla="*/ 117 h 293"/>
                <a:gd name="T34" fmla="*/ 542 w 573"/>
                <a:gd name="T35" fmla="*/ 142 h 293"/>
                <a:gd name="T36" fmla="*/ 546 w 573"/>
                <a:gd name="T37" fmla="*/ 171 h 293"/>
                <a:gd name="T38" fmla="*/ 536 w 573"/>
                <a:gd name="T39" fmla="*/ 210 h 293"/>
                <a:gd name="T40" fmla="*/ 507 w 573"/>
                <a:gd name="T41" fmla="*/ 245 h 293"/>
                <a:gd name="T42" fmla="*/ 482 w 573"/>
                <a:gd name="T43" fmla="*/ 269 h 293"/>
                <a:gd name="T44" fmla="*/ 418 w 573"/>
                <a:gd name="T45" fmla="*/ 273 h 293"/>
                <a:gd name="T46" fmla="*/ 366 w 573"/>
                <a:gd name="T47" fmla="*/ 293 h 293"/>
                <a:gd name="T48" fmla="*/ 279 w 573"/>
                <a:gd name="T49" fmla="*/ 273 h 293"/>
                <a:gd name="T50" fmla="*/ 195 w 573"/>
                <a:gd name="T51" fmla="*/ 235 h 293"/>
                <a:gd name="T52" fmla="*/ 190 w 573"/>
                <a:gd name="T53" fmla="*/ 200 h 293"/>
                <a:gd name="T54" fmla="*/ 136 w 573"/>
                <a:gd name="T55" fmla="*/ 198 h 293"/>
                <a:gd name="T56" fmla="*/ 66 w 573"/>
                <a:gd name="T57" fmla="*/ 188 h 293"/>
                <a:gd name="T58" fmla="*/ 36 w 573"/>
                <a:gd name="T59" fmla="*/ 175 h 293"/>
                <a:gd name="T60" fmla="*/ 17 w 573"/>
                <a:gd name="T61" fmla="*/ 149 h 293"/>
                <a:gd name="T62" fmla="*/ 0 w 573"/>
                <a:gd name="T63" fmla="*/ 10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293">
                  <a:moveTo>
                    <a:pt x="0" y="105"/>
                  </a:moveTo>
                  <a:lnTo>
                    <a:pt x="24" y="102"/>
                  </a:lnTo>
                  <a:lnTo>
                    <a:pt x="33" y="100"/>
                  </a:lnTo>
                  <a:lnTo>
                    <a:pt x="46" y="117"/>
                  </a:lnTo>
                  <a:lnTo>
                    <a:pt x="61" y="111"/>
                  </a:lnTo>
                  <a:lnTo>
                    <a:pt x="80" y="114"/>
                  </a:lnTo>
                  <a:lnTo>
                    <a:pt x="91" y="124"/>
                  </a:lnTo>
                  <a:lnTo>
                    <a:pt x="112" y="111"/>
                  </a:lnTo>
                  <a:lnTo>
                    <a:pt x="138" y="112"/>
                  </a:lnTo>
                  <a:lnTo>
                    <a:pt x="150" y="125"/>
                  </a:lnTo>
                  <a:lnTo>
                    <a:pt x="166" y="129"/>
                  </a:lnTo>
                  <a:lnTo>
                    <a:pt x="175" y="121"/>
                  </a:lnTo>
                  <a:lnTo>
                    <a:pt x="204" y="115"/>
                  </a:lnTo>
                  <a:lnTo>
                    <a:pt x="218" y="115"/>
                  </a:lnTo>
                  <a:lnTo>
                    <a:pt x="240" y="124"/>
                  </a:lnTo>
                  <a:lnTo>
                    <a:pt x="265" y="142"/>
                  </a:lnTo>
                  <a:lnTo>
                    <a:pt x="284" y="134"/>
                  </a:lnTo>
                  <a:lnTo>
                    <a:pt x="288" y="115"/>
                  </a:lnTo>
                  <a:lnTo>
                    <a:pt x="275" y="91"/>
                  </a:lnTo>
                  <a:lnTo>
                    <a:pt x="269" y="57"/>
                  </a:lnTo>
                  <a:lnTo>
                    <a:pt x="333" y="7"/>
                  </a:lnTo>
                  <a:lnTo>
                    <a:pt x="347" y="7"/>
                  </a:lnTo>
                  <a:lnTo>
                    <a:pt x="350" y="24"/>
                  </a:lnTo>
                  <a:lnTo>
                    <a:pt x="369" y="28"/>
                  </a:lnTo>
                  <a:lnTo>
                    <a:pt x="409" y="23"/>
                  </a:lnTo>
                  <a:lnTo>
                    <a:pt x="426" y="3"/>
                  </a:lnTo>
                  <a:lnTo>
                    <a:pt x="476" y="0"/>
                  </a:lnTo>
                  <a:lnTo>
                    <a:pt x="488" y="24"/>
                  </a:lnTo>
                  <a:lnTo>
                    <a:pt x="508" y="24"/>
                  </a:lnTo>
                  <a:lnTo>
                    <a:pt x="527" y="11"/>
                  </a:lnTo>
                  <a:lnTo>
                    <a:pt x="559" y="34"/>
                  </a:lnTo>
                  <a:lnTo>
                    <a:pt x="559" y="74"/>
                  </a:lnTo>
                  <a:lnTo>
                    <a:pt x="573" y="91"/>
                  </a:lnTo>
                  <a:lnTo>
                    <a:pt x="569" y="117"/>
                  </a:lnTo>
                  <a:lnTo>
                    <a:pt x="559" y="142"/>
                  </a:lnTo>
                  <a:lnTo>
                    <a:pt x="542" y="142"/>
                  </a:lnTo>
                  <a:lnTo>
                    <a:pt x="536" y="149"/>
                  </a:lnTo>
                  <a:lnTo>
                    <a:pt x="546" y="171"/>
                  </a:lnTo>
                  <a:lnTo>
                    <a:pt x="546" y="192"/>
                  </a:lnTo>
                  <a:lnTo>
                    <a:pt x="536" y="210"/>
                  </a:lnTo>
                  <a:lnTo>
                    <a:pt x="508" y="226"/>
                  </a:lnTo>
                  <a:lnTo>
                    <a:pt x="507" y="245"/>
                  </a:lnTo>
                  <a:lnTo>
                    <a:pt x="507" y="263"/>
                  </a:lnTo>
                  <a:lnTo>
                    <a:pt x="482" y="269"/>
                  </a:lnTo>
                  <a:lnTo>
                    <a:pt x="438" y="266"/>
                  </a:lnTo>
                  <a:lnTo>
                    <a:pt x="418" y="273"/>
                  </a:lnTo>
                  <a:lnTo>
                    <a:pt x="381" y="273"/>
                  </a:lnTo>
                  <a:lnTo>
                    <a:pt x="366" y="293"/>
                  </a:lnTo>
                  <a:lnTo>
                    <a:pt x="308" y="272"/>
                  </a:lnTo>
                  <a:lnTo>
                    <a:pt x="279" y="273"/>
                  </a:lnTo>
                  <a:lnTo>
                    <a:pt x="205" y="255"/>
                  </a:lnTo>
                  <a:lnTo>
                    <a:pt x="195" y="235"/>
                  </a:lnTo>
                  <a:lnTo>
                    <a:pt x="195" y="213"/>
                  </a:lnTo>
                  <a:lnTo>
                    <a:pt x="190" y="200"/>
                  </a:lnTo>
                  <a:lnTo>
                    <a:pt x="181" y="195"/>
                  </a:lnTo>
                  <a:lnTo>
                    <a:pt x="136" y="198"/>
                  </a:lnTo>
                  <a:lnTo>
                    <a:pt x="72" y="205"/>
                  </a:lnTo>
                  <a:lnTo>
                    <a:pt x="66" y="188"/>
                  </a:lnTo>
                  <a:lnTo>
                    <a:pt x="55" y="182"/>
                  </a:lnTo>
                  <a:lnTo>
                    <a:pt x="36" y="175"/>
                  </a:lnTo>
                  <a:lnTo>
                    <a:pt x="17" y="169"/>
                  </a:lnTo>
                  <a:lnTo>
                    <a:pt x="17" y="149"/>
                  </a:lnTo>
                  <a:lnTo>
                    <a:pt x="17" y="121"/>
                  </a:lnTo>
                  <a:lnTo>
                    <a:pt x="0" y="105"/>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6" name="SI"/>
            <p:cNvSpPr>
              <a:spLocks/>
            </p:cNvSpPr>
            <p:nvPr/>
          </p:nvSpPr>
          <p:spPr bwMode="auto">
            <a:xfrm>
              <a:off x="6075363" y="4468813"/>
              <a:ext cx="369887" cy="203200"/>
            </a:xfrm>
            <a:custGeom>
              <a:avLst/>
              <a:gdLst>
                <a:gd name="T0" fmla="*/ 22 w 251"/>
                <a:gd name="T1" fmla="*/ 89 h 163"/>
                <a:gd name="T2" fmla="*/ 47 w 251"/>
                <a:gd name="T3" fmla="*/ 118 h 163"/>
                <a:gd name="T4" fmla="*/ 39 w 251"/>
                <a:gd name="T5" fmla="*/ 132 h 163"/>
                <a:gd name="T6" fmla="*/ 28 w 251"/>
                <a:gd name="T7" fmla="*/ 142 h 163"/>
                <a:gd name="T8" fmla="*/ 14 w 251"/>
                <a:gd name="T9" fmla="*/ 145 h 163"/>
                <a:gd name="T10" fmla="*/ 0 w 251"/>
                <a:gd name="T11" fmla="*/ 147 h 163"/>
                <a:gd name="T12" fmla="*/ 25 w 251"/>
                <a:gd name="T13" fmla="*/ 160 h 163"/>
                <a:gd name="T14" fmla="*/ 36 w 251"/>
                <a:gd name="T15" fmla="*/ 163 h 163"/>
                <a:gd name="T16" fmla="*/ 67 w 251"/>
                <a:gd name="T17" fmla="*/ 142 h 163"/>
                <a:gd name="T18" fmla="*/ 137 w 251"/>
                <a:gd name="T19" fmla="*/ 162 h 163"/>
                <a:gd name="T20" fmla="*/ 182 w 251"/>
                <a:gd name="T21" fmla="*/ 105 h 163"/>
                <a:gd name="T22" fmla="*/ 191 w 251"/>
                <a:gd name="T23" fmla="*/ 81 h 163"/>
                <a:gd name="T24" fmla="*/ 200 w 251"/>
                <a:gd name="T25" fmla="*/ 73 h 163"/>
                <a:gd name="T26" fmla="*/ 226 w 251"/>
                <a:gd name="T27" fmla="*/ 76 h 163"/>
                <a:gd name="T28" fmla="*/ 251 w 251"/>
                <a:gd name="T29" fmla="*/ 42 h 163"/>
                <a:gd name="T30" fmla="*/ 248 w 251"/>
                <a:gd name="T31" fmla="*/ 21 h 163"/>
                <a:gd name="T32" fmla="*/ 231 w 251"/>
                <a:gd name="T33" fmla="*/ 0 h 163"/>
                <a:gd name="T34" fmla="*/ 219 w 251"/>
                <a:gd name="T35" fmla="*/ 2 h 163"/>
                <a:gd name="T36" fmla="*/ 207 w 251"/>
                <a:gd name="T37" fmla="*/ 7 h 163"/>
                <a:gd name="T38" fmla="*/ 184 w 251"/>
                <a:gd name="T39" fmla="*/ 1 h 163"/>
                <a:gd name="T40" fmla="*/ 161 w 251"/>
                <a:gd name="T41" fmla="*/ 2 h 163"/>
                <a:gd name="T42" fmla="*/ 138 w 251"/>
                <a:gd name="T43" fmla="*/ 9 h 163"/>
                <a:gd name="T44" fmla="*/ 106 w 251"/>
                <a:gd name="T45" fmla="*/ 7 h 163"/>
                <a:gd name="T46" fmla="*/ 93 w 251"/>
                <a:gd name="T47" fmla="*/ 28 h 163"/>
                <a:gd name="T48" fmla="*/ 39 w 251"/>
                <a:gd name="T49" fmla="*/ 9 h 163"/>
                <a:gd name="T50" fmla="*/ 19 w 251"/>
                <a:gd name="T51" fmla="*/ 9 h 163"/>
                <a:gd name="T52" fmla="*/ 19 w 251"/>
                <a:gd name="T53" fmla="*/ 45 h 163"/>
                <a:gd name="T54" fmla="*/ 22 w 251"/>
                <a:gd name="T55" fmla="*/ 8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163">
                  <a:moveTo>
                    <a:pt x="22" y="89"/>
                  </a:moveTo>
                  <a:lnTo>
                    <a:pt x="47" y="118"/>
                  </a:lnTo>
                  <a:lnTo>
                    <a:pt x="39" y="132"/>
                  </a:lnTo>
                  <a:lnTo>
                    <a:pt x="28" y="142"/>
                  </a:lnTo>
                  <a:lnTo>
                    <a:pt x="14" y="145"/>
                  </a:lnTo>
                  <a:lnTo>
                    <a:pt x="0" y="147"/>
                  </a:lnTo>
                  <a:lnTo>
                    <a:pt x="25" y="160"/>
                  </a:lnTo>
                  <a:lnTo>
                    <a:pt x="36" y="163"/>
                  </a:lnTo>
                  <a:lnTo>
                    <a:pt x="67" y="142"/>
                  </a:lnTo>
                  <a:lnTo>
                    <a:pt x="137" y="162"/>
                  </a:lnTo>
                  <a:lnTo>
                    <a:pt x="182" y="105"/>
                  </a:lnTo>
                  <a:lnTo>
                    <a:pt x="191" y="81"/>
                  </a:lnTo>
                  <a:lnTo>
                    <a:pt x="200" y="73"/>
                  </a:lnTo>
                  <a:lnTo>
                    <a:pt x="226" y="76"/>
                  </a:lnTo>
                  <a:lnTo>
                    <a:pt x="251" y="42"/>
                  </a:lnTo>
                  <a:lnTo>
                    <a:pt x="248" y="21"/>
                  </a:lnTo>
                  <a:lnTo>
                    <a:pt x="231" y="0"/>
                  </a:lnTo>
                  <a:lnTo>
                    <a:pt x="219" y="2"/>
                  </a:lnTo>
                  <a:lnTo>
                    <a:pt x="207" y="7"/>
                  </a:lnTo>
                  <a:lnTo>
                    <a:pt x="184" y="1"/>
                  </a:lnTo>
                  <a:lnTo>
                    <a:pt x="161" y="2"/>
                  </a:lnTo>
                  <a:lnTo>
                    <a:pt x="138" y="9"/>
                  </a:lnTo>
                  <a:lnTo>
                    <a:pt x="106" y="7"/>
                  </a:lnTo>
                  <a:lnTo>
                    <a:pt x="93" y="28"/>
                  </a:lnTo>
                  <a:lnTo>
                    <a:pt x="39" y="9"/>
                  </a:lnTo>
                  <a:lnTo>
                    <a:pt x="19" y="9"/>
                  </a:lnTo>
                  <a:lnTo>
                    <a:pt x="19" y="45"/>
                  </a:lnTo>
                  <a:lnTo>
                    <a:pt x="22" y="89"/>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7" name="BG"/>
            <p:cNvSpPr>
              <a:spLocks noChangeAspect="1"/>
            </p:cNvSpPr>
            <p:nvPr/>
          </p:nvSpPr>
          <p:spPr bwMode="auto">
            <a:xfrm>
              <a:off x="7159625" y="4818063"/>
              <a:ext cx="719138" cy="485775"/>
            </a:xfrm>
            <a:custGeom>
              <a:avLst/>
              <a:gdLst>
                <a:gd name="T0" fmla="*/ 9 w 485"/>
                <a:gd name="T1" fmla="*/ 56 h 398"/>
                <a:gd name="T2" fmla="*/ 3 w 485"/>
                <a:gd name="T3" fmla="*/ 84 h 398"/>
                <a:gd name="T4" fmla="*/ 36 w 485"/>
                <a:gd name="T5" fmla="*/ 117 h 398"/>
                <a:gd name="T6" fmla="*/ 38 w 485"/>
                <a:gd name="T7" fmla="*/ 164 h 398"/>
                <a:gd name="T8" fmla="*/ 8 w 485"/>
                <a:gd name="T9" fmla="*/ 191 h 398"/>
                <a:gd name="T10" fmla="*/ 12 w 485"/>
                <a:gd name="T11" fmla="*/ 225 h 398"/>
                <a:gd name="T12" fmla="*/ 8 w 485"/>
                <a:gd name="T13" fmla="*/ 263 h 398"/>
                <a:gd name="T14" fmla="*/ 12 w 485"/>
                <a:gd name="T15" fmla="*/ 296 h 398"/>
                <a:gd name="T16" fmla="*/ 38 w 485"/>
                <a:gd name="T17" fmla="*/ 315 h 398"/>
                <a:gd name="T18" fmla="*/ 39 w 485"/>
                <a:gd name="T19" fmla="*/ 362 h 398"/>
                <a:gd name="T20" fmla="*/ 56 w 485"/>
                <a:gd name="T21" fmla="*/ 398 h 398"/>
                <a:gd name="T22" fmla="*/ 138 w 485"/>
                <a:gd name="T23" fmla="*/ 374 h 398"/>
                <a:gd name="T24" fmla="*/ 188 w 485"/>
                <a:gd name="T25" fmla="*/ 334 h 398"/>
                <a:gd name="T26" fmla="*/ 226 w 485"/>
                <a:gd name="T27" fmla="*/ 359 h 398"/>
                <a:gd name="T28" fmla="*/ 262 w 485"/>
                <a:gd name="T29" fmla="*/ 371 h 398"/>
                <a:gd name="T30" fmla="*/ 307 w 485"/>
                <a:gd name="T31" fmla="*/ 353 h 398"/>
                <a:gd name="T32" fmla="*/ 309 w 485"/>
                <a:gd name="T33" fmla="*/ 312 h 398"/>
                <a:gd name="T34" fmla="*/ 342 w 485"/>
                <a:gd name="T35" fmla="*/ 312 h 398"/>
                <a:gd name="T36" fmla="*/ 359 w 485"/>
                <a:gd name="T37" fmla="*/ 300 h 398"/>
                <a:gd name="T38" fmla="*/ 424 w 485"/>
                <a:gd name="T39" fmla="*/ 278 h 398"/>
                <a:gd name="T40" fmla="*/ 447 w 485"/>
                <a:gd name="T41" fmla="*/ 248 h 398"/>
                <a:gd name="T42" fmla="*/ 414 w 485"/>
                <a:gd name="T43" fmla="*/ 208 h 398"/>
                <a:gd name="T44" fmla="*/ 429 w 485"/>
                <a:gd name="T45" fmla="*/ 177 h 398"/>
                <a:gd name="T46" fmla="*/ 441 w 485"/>
                <a:gd name="T47" fmla="*/ 158 h 398"/>
                <a:gd name="T48" fmla="*/ 450 w 485"/>
                <a:gd name="T49" fmla="*/ 117 h 398"/>
                <a:gd name="T50" fmla="*/ 460 w 485"/>
                <a:gd name="T51" fmla="*/ 74 h 398"/>
                <a:gd name="T52" fmla="*/ 485 w 485"/>
                <a:gd name="T53" fmla="*/ 56 h 398"/>
                <a:gd name="T54" fmla="*/ 471 w 485"/>
                <a:gd name="T55" fmla="*/ 13 h 398"/>
                <a:gd name="T56" fmla="*/ 405 w 485"/>
                <a:gd name="T57" fmla="*/ 3 h 398"/>
                <a:gd name="T58" fmla="*/ 336 w 485"/>
                <a:gd name="T59" fmla="*/ 9 h 398"/>
                <a:gd name="T60" fmla="*/ 270 w 485"/>
                <a:gd name="T61" fmla="*/ 46 h 398"/>
                <a:gd name="T62" fmla="*/ 218 w 485"/>
                <a:gd name="T63" fmla="*/ 71 h 398"/>
                <a:gd name="T64" fmla="*/ 150 w 485"/>
                <a:gd name="T65" fmla="*/ 77 h 398"/>
                <a:gd name="T66" fmla="*/ 105 w 485"/>
                <a:gd name="T67" fmla="*/ 74 h 398"/>
                <a:gd name="T68" fmla="*/ 52 w 485"/>
                <a:gd name="T69" fmla="*/ 53 h 398"/>
                <a:gd name="T70" fmla="*/ 12 w 485"/>
                <a:gd name="T71" fmla="*/ 4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5" h="398">
                  <a:moveTo>
                    <a:pt x="12" y="47"/>
                  </a:moveTo>
                  <a:lnTo>
                    <a:pt x="9" y="56"/>
                  </a:lnTo>
                  <a:lnTo>
                    <a:pt x="0" y="66"/>
                  </a:lnTo>
                  <a:lnTo>
                    <a:pt x="3" y="84"/>
                  </a:lnTo>
                  <a:lnTo>
                    <a:pt x="17" y="114"/>
                  </a:lnTo>
                  <a:lnTo>
                    <a:pt x="36" y="117"/>
                  </a:lnTo>
                  <a:lnTo>
                    <a:pt x="39" y="130"/>
                  </a:lnTo>
                  <a:lnTo>
                    <a:pt x="38" y="164"/>
                  </a:lnTo>
                  <a:lnTo>
                    <a:pt x="31" y="174"/>
                  </a:lnTo>
                  <a:lnTo>
                    <a:pt x="8" y="191"/>
                  </a:lnTo>
                  <a:lnTo>
                    <a:pt x="5" y="199"/>
                  </a:lnTo>
                  <a:lnTo>
                    <a:pt x="12" y="225"/>
                  </a:lnTo>
                  <a:lnTo>
                    <a:pt x="14" y="245"/>
                  </a:lnTo>
                  <a:lnTo>
                    <a:pt x="8" y="263"/>
                  </a:lnTo>
                  <a:lnTo>
                    <a:pt x="0" y="278"/>
                  </a:lnTo>
                  <a:lnTo>
                    <a:pt x="12" y="296"/>
                  </a:lnTo>
                  <a:lnTo>
                    <a:pt x="22" y="293"/>
                  </a:lnTo>
                  <a:lnTo>
                    <a:pt x="38" y="315"/>
                  </a:lnTo>
                  <a:lnTo>
                    <a:pt x="39" y="334"/>
                  </a:lnTo>
                  <a:lnTo>
                    <a:pt x="39" y="362"/>
                  </a:lnTo>
                  <a:lnTo>
                    <a:pt x="38" y="374"/>
                  </a:lnTo>
                  <a:lnTo>
                    <a:pt x="56" y="398"/>
                  </a:lnTo>
                  <a:lnTo>
                    <a:pt x="94" y="390"/>
                  </a:lnTo>
                  <a:lnTo>
                    <a:pt x="138" y="374"/>
                  </a:lnTo>
                  <a:lnTo>
                    <a:pt x="171" y="352"/>
                  </a:lnTo>
                  <a:lnTo>
                    <a:pt x="188" y="334"/>
                  </a:lnTo>
                  <a:lnTo>
                    <a:pt x="209" y="367"/>
                  </a:lnTo>
                  <a:lnTo>
                    <a:pt x="226" y="359"/>
                  </a:lnTo>
                  <a:lnTo>
                    <a:pt x="248" y="367"/>
                  </a:lnTo>
                  <a:lnTo>
                    <a:pt x="262" y="371"/>
                  </a:lnTo>
                  <a:lnTo>
                    <a:pt x="290" y="359"/>
                  </a:lnTo>
                  <a:lnTo>
                    <a:pt x="307" y="353"/>
                  </a:lnTo>
                  <a:lnTo>
                    <a:pt x="307" y="337"/>
                  </a:lnTo>
                  <a:lnTo>
                    <a:pt x="309" y="312"/>
                  </a:lnTo>
                  <a:lnTo>
                    <a:pt x="323" y="303"/>
                  </a:lnTo>
                  <a:lnTo>
                    <a:pt x="342" y="312"/>
                  </a:lnTo>
                  <a:lnTo>
                    <a:pt x="345" y="322"/>
                  </a:lnTo>
                  <a:lnTo>
                    <a:pt x="359" y="300"/>
                  </a:lnTo>
                  <a:lnTo>
                    <a:pt x="394" y="282"/>
                  </a:lnTo>
                  <a:lnTo>
                    <a:pt x="424" y="278"/>
                  </a:lnTo>
                  <a:lnTo>
                    <a:pt x="452" y="278"/>
                  </a:lnTo>
                  <a:lnTo>
                    <a:pt x="447" y="248"/>
                  </a:lnTo>
                  <a:lnTo>
                    <a:pt x="443" y="232"/>
                  </a:lnTo>
                  <a:lnTo>
                    <a:pt x="414" y="208"/>
                  </a:lnTo>
                  <a:lnTo>
                    <a:pt x="413" y="201"/>
                  </a:lnTo>
                  <a:lnTo>
                    <a:pt x="429" y="177"/>
                  </a:lnTo>
                  <a:lnTo>
                    <a:pt x="446" y="172"/>
                  </a:lnTo>
                  <a:lnTo>
                    <a:pt x="441" y="158"/>
                  </a:lnTo>
                  <a:lnTo>
                    <a:pt x="450" y="133"/>
                  </a:lnTo>
                  <a:lnTo>
                    <a:pt x="450" y="117"/>
                  </a:lnTo>
                  <a:lnTo>
                    <a:pt x="455" y="87"/>
                  </a:lnTo>
                  <a:lnTo>
                    <a:pt x="460" y="74"/>
                  </a:lnTo>
                  <a:lnTo>
                    <a:pt x="476" y="77"/>
                  </a:lnTo>
                  <a:lnTo>
                    <a:pt x="485" y="56"/>
                  </a:lnTo>
                  <a:lnTo>
                    <a:pt x="476" y="37"/>
                  </a:lnTo>
                  <a:lnTo>
                    <a:pt x="471" y="13"/>
                  </a:lnTo>
                  <a:lnTo>
                    <a:pt x="460" y="16"/>
                  </a:lnTo>
                  <a:lnTo>
                    <a:pt x="405" y="3"/>
                  </a:lnTo>
                  <a:lnTo>
                    <a:pt x="370" y="0"/>
                  </a:lnTo>
                  <a:lnTo>
                    <a:pt x="336" y="9"/>
                  </a:lnTo>
                  <a:lnTo>
                    <a:pt x="305" y="24"/>
                  </a:lnTo>
                  <a:lnTo>
                    <a:pt x="270" y="46"/>
                  </a:lnTo>
                  <a:lnTo>
                    <a:pt x="243" y="68"/>
                  </a:lnTo>
                  <a:lnTo>
                    <a:pt x="218" y="71"/>
                  </a:lnTo>
                  <a:lnTo>
                    <a:pt x="183" y="64"/>
                  </a:lnTo>
                  <a:lnTo>
                    <a:pt x="150" y="77"/>
                  </a:lnTo>
                  <a:lnTo>
                    <a:pt x="129" y="83"/>
                  </a:lnTo>
                  <a:lnTo>
                    <a:pt x="105" y="74"/>
                  </a:lnTo>
                  <a:lnTo>
                    <a:pt x="71" y="59"/>
                  </a:lnTo>
                  <a:lnTo>
                    <a:pt x="52" y="53"/>
                  </a:lnTo>
                  <a:lnTo>
                    <a:pt x="25" y="47"/>
                  </a:lnTo>
                  <a:lnTo>
                    <a:pt x="12" y="47"/>
                  </a:lnTo>
                  <a:close/>
                </a:path>
              </a:pathLst>
            </a:custGeom>
            <a:solidFill>
              <a:srgbClr val="F2F2F2"/>
            </a:solidFill>
            <a:ln w="3175">
              <a:solidFill>
                <a:schemeClr val="bg1"/>
              </a:solidFill>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8" name="BE"/>
            <p:cNvSpPr>
              <a:spLocks noChangeAspect="1"/>
            </p:cNvSpPr>
            <p:nvPr/>
          </p:nvSpPr>
          <p:spPr bwMode="auto">
            <a:xfrm>
              <a:off x="5040313" y="3597275"/>
              <a:ext cx="388937" cy="307975"/>
            </a:xfrm>
            <a:custGeom>
              <a:avLst/>
              <a:gdLst>
                <a:gd name="T0" fmla="*/ 0 w 266"/>
                <a:gd name="T1" fmla="*/ 47 h 263"/>
                <a:gd name="T2" fmla="*/ 7 w 266"/>
                <a:gd name="T3" fmla="*/ 37 h 263"/>
                <a:gd name="T4" fmla="*/ 4 w 266"/>
                <a:gd name="T5" fmla="*/ 24 h 263"/>
                <a:gd name="T6" fmla="*/ 45 w 266"/>
                <a:gd name="T7" fmla="*/ 0 h 263"/>
                <a:gd name="T8" fmla="*/ 48 w 266"/>
                <a:gd name="T9" fmla="*/ 9 h 263"/>
                <a:gd name="T10" fmla="*/ 77 w 266"/>
                <a:gd name="T11" fmla="*/ 3 h 263"/>
                <a:gd name="T12" fmla="*/ 100 w 266"/>
                <a:gd name="T13" fmla="*/ 5 h 263"/>
                <a:gd name="T14" fmla="*/ 91 w 266"/>
                <a:gd name="T15" fmla="*/ 17 h 263"/>
                <a:gd name="T16" fmla="*/ 96 w 266"/>
                <a:gd name="T17" fmla="*/ 34 h 263"/>
                <a:gd name="T18" fmla="*/ 115 w 266"/>
                <a:gd name="T19" fmla="*/ 42 h 263"/>
                <a:gd name="T20" fmla="*/ 134 w 266"/>
                <a:gd name="T21" fmla="*/ 40 h 263"/>
                <a:gd name="T22" fmla="*/ 150 w 266"/>
                <a:gd name="T23" fmla="*/ 27 h 263"/>
                <a:gd name="T24" fmla="*/ 175 w 266"/>
                <a:gd name="T25" fmla="*/ 24 h 263"/>
                <a:gd name="T26" fmla="*/ 183 w 266"/>
                <a:gd name="T27" fmla="*/ 36 h 263"/>
                <a:gd name="T28" fmla="*/ 198 w 266"/>
                <a:gd name="T29" fmla="*/ 46 h 263"/>
                <a:gd name="T30" fmla="*/ 219 w 266"/>
                <a:gd name="T31" fmla="*/ 47 h 263"/>
                <a:gd name="T32" fmla="*/ 216 w 266"/>
                <a:gd name="T33" fmla="*/ 67 h 263"/>
                <a:gd name="T34" fmla="*/ 217 w 266"/>
                <a:gd name="T35" fmla="*/ 107 h 263"/>
                <a:gd name="T36" fmla="*/ 221 w 266"/>
                <a:gd name="T37" fmla="*/ 131 h 263"/>
                <a:gd name="T38" fmla="*/ 245 w 266"/>
                <a:gd name="T39" fmla="*/ 128 h 263"/>
                <a:gd name="T40" fmla="*/ 252 w 266"/>
                <a:gd name="T41" fmla="*/ 145 h 263"/>
                <a:gd name="T42" fmla="*/ 254 w 266"/>
                <a:gd name="T43" fmla="*/ 160 h 263"/>
                <a:gd name="T44" fmla="*/ 266 w 266"/>
                <a:gd name="T45" fmla="*/ 179 h 263"/>
                <a:gd name="T46" fmla="*/ 251 w 266"/>
                <a:gd name="T47" fmla="*/ 194 h 263"/>
                <a:gd name="T48" fmla="*/ 237 w 266"/>
                <a:gd name="T49" fmla="*/ 205 h 263"/>
                <a:gd name="T50" fmla="*/ 222 w 266"/>
                <a:gd name="T51" fmla="*/ 205 h 263"/>
                <a:gd name="T52" fmla="*/ 204 w 266"/>
                <a:gd name="T53" fmla="*/ 211 h 263"/>
                <a:gd name="T54" fmla="*/ 204 w 266"/>
                <a:gd name="T55" fmla="*/ 232 h 263"/>
                <a:gd name="T56" fmla="*/ 197 w 266"/>
                <a:gd name="T57" fmla="*/ 246 h 263"/>
                <a:gd name="T58" fmla="*/ 178 w 266"/>
                <a:gd name="T59" fmla="*/ 263 h 263"/>
                <a:gd name="T60" fmla="*/ 146 w 266"/>
                <a:gd name="T61" fmla="*/ 236 h 263"/>
                <a:gd name="T62" fmla="*/ 137 w 266"/>
                <a:gd name="T63" fmla="*/ 212 h 263"/>
                <a:gd name="T64" fmla="*/ 108 w 266"/>
                <a:gd name="T65" fmla="*/ 205 h 263"/>
                <a:gd name="T66" fmla="*/ 98 w 266"/>
                <a:gd name="T67" fmla="*/ 174 h 263"/>
                <a:gd name="T68" fmla="*/ 77 w 266"/>
                <a:gd name="T69" fmla="*/ 155 h 263"/>
                <a:gd name="T70" fmla="*/ 70 w 266"/>
                <a:gd name="T71" fmla="*/ 133 h 263"/>
                <a:gd name="T72" fmla="*/ 53 w 266"/>
                <a:gd name="T73" fmla="*/ 110 h 263"/>
                <a:gd name="T74" fmla="*/ 42 w 266"/>
                <a:gd name="T75" fmla="*/ 87 h 263"/>
                <a:gd name="T76" fmla="*/ 20 w 266"/>
                <a:gd name="T77" fmla="*/ 70 h 263"/>
                <a:gd name="T78" fmla="*/ 0 w 266"/>
                <a:gd name="T79" fmla="*/ 4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263">
                  <a:moveTo>
                    <a:pt x="0" y="47"/>
                  </a:moveTo>
                  <a:lnTo>
                    <a:pt x="7" y="37"/>
                  </a:lnTo>
                  <a:lnTo>
                    <a:pt x="4" y="24"/>
                  </a:lnTo>
                  <a:lnTo>
                    <a:pt x="45" y="0"/>
                  </a:lnTo>
                  <a:lnTo>
                    <a:pt x="48" y="9"/>
                  </a:lnTo>
                  <a:lnTo>
                    <a:pt x="77" y="3"/>
                  </a:lnTo>
                  <a:lnTo>
                    <a:pt x="100" y="5"/>
                  </a:lnTo>
                  <a:lnTo>
                    <a:pt x="91" y="17"/>
                  </a:lnTo>
                  <a:lnTo>
                    <a:pt x="96" y="34"/>
                  </a:lnTo>
                  <a:lnTo>
                    <a:pt x="115" y="42"/>
                  </a:lnTo>
                  <a:lnTo>
                    <a:pt x="134" y="40"/>
                  </a:lnTo>
                  <a:lnTo>
                    <a:pt x="150" y="27"/>
                  </a:lnTo>
                  <a:lnTo>
                    <a:pt x="175" y="24"/>
                  </a:lnTo>
                  <a:lnTo>
                    <a:pt x="183" y="36"/>
                  </a:lnTo>
                  <a:lnTo>
                    <a:pt x="198" y="46"/>
                  </a:lnTo>
                  <a:lnTo>
                    <a:pt x="219" y="47"/>
                  </a:lnTo>
                  <a:lnTo>
                    <a:pt x="216" y="67"/>
                  </a:lnTo>
                  <a:lnTo>
                    <a:pt x="217" y="107"/>
                  </a:lnTo>
                  <a:lnTo>
                    <a:pt x="221" y="131"/>
                  </a:lnTo>
                  <a:lnTo>
                    <a:pt x="245" y="128"/>
                  </a:lnTo>
                  <a:lnTo>
                    <a:pt x="252" y="145"/>
                  </a:lnTo>
                  <a:lnTo>
                    <a:pt x="254" y="160"/>
                  </a:lnTo>
                  <a:lnTo>
                    <a:pt x="266" y="179"/>
                  </a:lnTo>
                  <a:lnTo>
                    <a:pt x="251" y="194"/>
                  </a:lnTo>
                  <a:lnTo>
                    <a:pt x="237" y="205"/>
                  </a:lnTo>
                  <a:lnTo>
                    <a:pt x="222" y="205"/>
                  </a:lnTo>
                  <a:lnTo>
                    <a:pt x="204" y="211"/>
                  </a:lnTo>
                  <a:lnTo>
                    <a:pt x="204" y="232"/>
                  </a:lnTo>
                  <a:lnTo>
                    <a:pt x="197" y="246"/>
                  </a:lnTo>
                  <a:lnTo>
                    <a:pt x="178" y="263"/>
                  </a:lnTo>
                  <a:lnTo>
                    <a:pt x="146" y="236"/>
                  </a:lnTo>
                  <a:lnTo>
                    <a:pt x="137" y="212"/>
                  </a:lnTo>
                  <a:lnTo>
                    <a:pt x="108" y="205"/>
                  </a:lnTo>
                  <a:lnTo>
                    <a:pt x="98" y="174"/>
                  </a:lnTo>
                  <a:lnTo>
                    <a:pt x="77" y="155"/>
                  </a:lnTo>
                  <a:lnTo>
                    <a:pt x="70" y="133"/>
                  </a:lnTo>
                  <a:lnTo>
                    <a:pt x="53" y="110"/>
                  </a:lnTo>
                  <a:lnTo>
                    <a:pt x="42" y="87"/>
                  </a:lnTo>
                  <a:lnTo>
                    <a:pt x="20" y="70"/>
                  </a:lnTo>
                  <a:lnTo>
                    <a:pt x="0" y="47"/>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9" name="LU"/>
            <p:cNvSpPr>
              <a:spLocks noChangeAspect="1"/>
            </p:cNvSpPr>
            <p:nvPr/>
          </p:nvSpPr>
          <p:spPr bwMode="auto">
            <a:xfrm>
              <a:off x="5294313" y="3835400"/>
              <a:ext cx="109537" cy="119063"/>
            </a:xfrm>
            <a:custGeom>
              <a:avLst/>
              <a:gdLst>
                <a:gd name="T0" fmla="*/ 52 w 73"/>
                <a:gd name="T1" fmla="*/ 101 h 101"/>
                <a:gd name="T2" fmla="*/ 56 w 73"/>
                <a:gd name="T3" fmla="*/ 68 h 101"/>
                <a:gd name="T4" fmla="*/ 73 w 73"/>
                <a:gd name="T5" fmla="*/ 56 h 101"/>
                <a:gd name="T6" fmla="*/ 73 w 73"/>
                <a:gd name="T7" fmla="*/ 40 h 101"/>
                <a:gd name="T8" fmla="*/ 64 w 73"/>
                <a:gd name="T9" fmla="*/ 29 h 101"/>
                <a:gd name="T10" fmla="*/ 55 w 73"/>
                <a:gd name="T11" fmla="*/ 13 h 101"/>
                <a:gd name="T12" fmla="*/ 50 w 73"/>
                <a:gd name="T13" fmla="*/ 0 h 101"/>
                <a:gd name="T14" fmla="*/ 33 w 73"/>
                <a:gd name="T15" fmla="*/ 0 h 101"/>
                <a:gd name="T16" fmla="*/ 22 w 73"/>
                <a:gd name="T17" fmla="*/ 6 h 101"/>
                <a:gd name="T18" fmla="*/ 22 w 73"/>
                <a:gd name="T19" fmla="*/ 27 h 101"/>
                <a:gd name="T20" fmla="*/ 12 w 73"/>
                <a:gd name="T21" fmla="*/ 46 h 101"/>
                <a:gd name="T22" fmla="*/ 0 w 73"/>
                <a:gd name="T23" fmla="*/ 51 h 101"/>
                <a:gd name="T24" fmla="*/ 5 w 73"/>
                <a:gd name="T25" fmla="*/ 67 h 101"/>
                <a:gd name="T26" fmla="*/ 21 w 73"/>
                <a:gd name="T27" fmla="*/ 71 h 101"/>
                <a:gd name="T28" fmla="*/ 36 w 73"/>
                <a:gd name="T29" fmla="*/ 75 h 101"/>
                <a:gd name="T30" fmla="*/ 45 w 73"/>
                <a:gd name="T31" fmla="*/ 85 h 101"/>
                <a:gd name="T32" fmla="*/ 52 w 73"/>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01">
                  <a:moveTo>
                    <a:pt x="52" y="101"/>
                  </a:moveTo>
                  <a:lnTo>
                    <a:pt x="56" y="68"/>
                  </a:lnTo>
                  <a:lnTo>
                    <a:pt x="73" y="56"/>
                  </a:lnTo>
                  <a:lnTo>
                    <a:pt x="73" y="40"/>
                  </a:lnTo>
                  <a:lnTo>
                    <a:pt x="64" y="29"/>
                  </a:lnTo>
                  <a:lnTo>
                    <a:pt x="55" y="13"/>
                  </a:lnTo>
                  <a:lnTo>
                    <a:pt x="50" y="0"/>
                  </a:lnTo>
                  <a:lnTo>
                    <a:pt x="33" y="0"/>
                  </a:lnTo>
                  <a:lnTo>
                    <a:pt x="22" y="6"/>
                  </a:lnTo>
                  <a:lnTo>
                    <a:pt x="22" y="27"/>
                  </a:lnTo>
                  <a:lnTo>
                    <a:pt x="12" y="46"/>
                  </a:lnTo>
                  <a:lnTo>
                    <a:pt x="0" y="51"/>
                  </a:lnTo>
                  <a:lnTo>
                    <a:pt x="5" y="67"/>
                  </a:lnTo>
                  <a:lnTo>
                    <a:pt x="21" y="71"/>
                  </a:lnTo>
                  <a:lnTo>
                    <a:pt x="36" y="75"/>
                  </a:lnTo>
                  <a:lnTo>
                    <a:pt x="45" y="85"/>
                  </a:lnTo>
                  <a:lnTo>
                    <a:pt x="52" y="10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0" name="NL"/>
            <p:cNvSpPr>
              <a:spLocks noChangeAspect="1"/>
            </p:cNvSpPr>
            <p:nvPr/>
          </p:nvSpPr>
          <p:spPr bwMode="auto">
            <a:xfrm>
              <a:off x="5165725" y="3370263"/>
              <a:ext cx="404813" cy="385762"/>
            </a:xfrm>
            <a:custGeom>
              <a:avLst/>
              <a:gdLst>
                <a:gd name="T0" fmla="*/ 112 w 271"/>
                <a:gd name="T1" fmla="*/ 9 h 323"/>
                <a:gd name="T2" fmla="*/ 85 w 271"/>
                <a:gd name="T3" fmla="*/ 47 h 323"/>
                <a:gd name="T4" fmla="*/ 85 w 271"/>
                <a:gd name="T5" fmla="*/ 59 h 323"/>
                <a:gd name="T6" fmla="*/ 68 w 271"/>
                <a:gd name="T7" fmla="*/ 77 h 323"/>
                <a:gd name="T8" fmla="*/ 71 w 271"/>
                <a:gd name="T9" fmla="*/ 81 h 323"/>
                <a:gd name="T10" fmla="*/ 66 w 271"/>
                <a:gd name="T11" fmla="*/ 94 h 323"/>
                <a:gd name="T12" fmla="*/ 49 w 271"/>
                <a:gd name="T13" fmla="*/ 113 h 323"/>
                <a:gd name="T14" fmla="*/ 33 w 271"/>
                <a:gd name="T15" fmla="*/ 134 h 323"/>
                <a:gd name="T16" fmla="*/ 26 w 271"/>
                <a:gd name="T17" fmla="*/ 145 h 323"/>
                <a:gd name="T18" fmla="*/ 33 w 271"/>
                <a:gd name="T19" fmla="*/ 155 h 323"/>
                <a:gd name="T20" fmla="*/ 28 w 271"/>
                <a:gd name="T21" fmla="*/ 171 h 323"/>
                <a:gd name="T22" fmla="*/ 19 w 271"/>
                <a:gd name="T23" fmla="*/ 184 h 323"/>
                <a:gd name="T24" fmla="*/ 11 w 271"/>
                <a:gd name="T25" fmla="*/ 189 h 323"/>
                <a:gd name="T26" fmla="*/ 0 w 271"/>
                <a:gd name="T27" fmla="*/ 205 h 323"/>
                <a:gd name="T28" fmla="*/ 1 w 271"/>
                <a:gd name="T29" fmla="*/ 221 h 323"/>
                <a:gd name="T30" fmla="*/ 14 w 271"/>
                <a:gd name="T31" fmla="*/ 229 h 323"/>
                <a:gd name="T32" fmla="*/ 44 w 271"/>
                <a:gd name="T33" fmla="*/ 229 h 323"/>
                <a:gd name="T34" fmla="*/ 62 w 271"/>
                <a:gd name="T35" fmla="*/ 218 h 323"/>
                <a:gd name="T36" fmla="*/ 79 w 271"/>
                <a:gd name="T37" fmla="*/ 215 h 323"/>
                <a:gd name="T38" fmla="*/ 93 w 271"/>
                <a:gd name="T39" fmla="*/ 229 h 323"/>
                <a:gd name="T40" fmla="*/ 107 w 271"/>
                <a:gd name="T41" fmla="*/ 236 h 323"/>
                <a:gd name="T42" fmla="*/ 126 w 271"/>
                <a:gd name="T43" fmla="*/ 239 h 323"/>
                <a:gd name="T44" fmla="*/ 121 w 271"/>
                <a:gd name="T45" fmla="*/ 263 h 323"/>
                <a:gd name="T46" fmla="*/ 128 w 271"/>
                <a:gd name="T47" fmla="*/ 323 h 323"/>
                <a:gd name="T48" fmla="*/ 144 w 271"/>
                <a:gd name="T49" fmla="*/ 322 h 323"/>
                <a:gd name="T50" fmla="*/ 154 w 271"/>
                <a:gd name="T51" fmla="*/ 320 h 323"/>
                <a:gd name="T52" fmla="*/ 158 w 271"/>
                <a:gd name="T53" fmla="*/ 303 h 323"/>
                <a:gd name="T54" fmla="*/ 161 w 271"/>
                <a:gd name="T55" fmla="*/ 268 h 323"/>
                <a:gd name="T56" fmla="*/ 173 w 271"/>
                <a:gd name="T57" fmla="*/ 249 h 323"/>
                <a:gd name="T58" fmla="*/ 173 w 271"/>
                <a:gd name="T59" fmla="*/ 218 h 323"/>
                <a:gd name="T60" fmla="*/ 183 w 271"/>
                <a:gd name="T61" fmla="*/ 199 h 323"/>
                <a:gd name="T62" fmla="*/ 204 w 271"/>
                <a:gd name="T63" fmla="*/ 189 h 323"/>
                <a:gd name="T64" fmla="*/ 243 w 271"/>
                <a:gd name="T65" fmla="*/ 140 h 323"/>
                <a:gd name="T66" fmla="*/ 248 w 271"/>
                <a:gd name="T67" fmla="*/ 118 h 323"/>
                <a:gd name="T68" fmla="*/ 242 w 271"/>
                <a:gd name="T69" fmla="*/ 84 h 323"/>
                <a:gd name="T70" fmla="*/ 267 w 271"/>
                <a:gd name="T71" fmla="*/ 61 h 323"/>
                <a:gd name="T72" fmla="*/ 271 w 271"/>
                <a:gd name="T73" fmla="*/ 23 h 323"/>
                <a:gd name="T74" fmla="*/ 253 w 271"/>
                <a:gd name="T75" fmla="*/ 6 h 323"/>
                <a:gd name="T76" fmla="*/ 242 w 271"/>
                <a:gd name="T77" fmla="*/ 3 h 323"/>
                <a:gd name="T78" fmla="*/ 220 w 271"/>
                <a:gd name="T79" fmla="*/ 0 h 323"/>
                <a:gd name="T80" fmla="*/ 173 w 271"/>
                <a:gd name="T81" fmla="*/ 0 h 323"/>
                <a:gd name="T82" fmla="*/ 159 w 271"/>
                <a:gd name="T83" fmla="*/ 13 h 323"/>
                <a:gd name="T84" fmla="*/ 148 w 271"/>
                <a:gd name="T85" fmla="*/ 29 h 323"/>
                <a:gd name="T86" fmla="*/ 150 w 271"/>
                <a:gd name="T87" fmla="*/ 43 h 323"/>
                <a:gd name="T88" fmla="*/ 167 w 271"/>
                <a:gd name="T89" fmla="*/ 56 h 323"/>
                <a:gd name="T90" fmla="*/ 178 w 271"/>
                <a:gd name="T91" fmla="*/ 71 h 323"/>
                <a:gd name="T92" fmla="*/ 178 w 271"/>
                <a:gd name="T93" fmla="*/ 93 h 323"/>
                <a:gd name="T94" fmla="*/ 159 w 271"/>
                <a:gd name="T95" fmla="*/ 108 h 323"/>
                <a:gd name="T96" fmla="*/ 140 w 271"/>
                <a:gd name="T97" fmla="*/ 113 h 323"/>
                <a:gd name="T98" fmla="*/ 126 w 271"/>
                <a:gd name="T99" fmla="*/ 115 h 323"/>
                <a:gd name="T100" fmla="*/ 120 w 271"/>
                <a:gd name="T101" fmla="*/ 103 h 323"/>
                <a:gd name="T102" fmla="*/ 115 w 271"/>
                <a:gd name="T103" fmla="*/ 84 h 323"/>
                <a:gd name="T104" fmla="*/ 124 w 271"/>
                <a:gd name="T105" fmla="*/ 69 h 323"/>
                <a:gd name="T106" fmla="*/ 121 w 271"/>
                <a:gd name="T107" fmla="*/ 50 h 323"/>
                <a:gd name="T108" fmla="*/ 120 w 271"/>
                <a:gd name="T109" fmla="*/ 32 h 323"/>
                <a:gd name="T110" fmla="*/ 112 w 271"/>
                <a:gd name="T111" fmla="*/ 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23">
                  <a:moveTo>
                    <a:pt x="112" y="9"/>
                  </a:moveTo>
                  <a:lnTo>
                    <a:pt x="85" y="47"/>
                  </a:lnTo>
                  <a:lnTo>
                    <a:pt x="85" y="59"/>
                  </a:lnTo>
                  <a:lnTo>
                    <a:pt x="68" y="77"/>
                  </a:lnTo>
                  <a:lnTo>
                    <a:pt x="71" y="81"/>
                  </a:lnTo>
                  <a:lnTo>
                    <a:pt x="66" y="94"/>
                  </a:lnTo>
                  <a:lnTo>
                    <a:pt x="49" y="113"/>
                  </a:lnTo>
                  <a:lnTo>
                    <a:pt x="33" y="134"/>
                  </a:lnTo>
                  <a:lnTo>
                    <a:pt x="26" y="145"/>
                  </a:lnTo>
                  <a:lnTo>
                    <a:pt x="33" y="155"/>
                  </a:lnTo>
                  <a:lnTo>
                    <a:pt x="28" y="171"/>
                  </a:lnTo>
                  <a:lnTo>
                    <a:pt x="19" y="184"/>
                  </a:lnTo>
                  <a:lnTo>
                    <a:pt x="11" y="189"/>
                  </a:lnTo>
                  <a:lnTo>
                    <a:pt x="0" y="205"/>
                  </a:lnTo>
                  <a:lnTo>
                    <a:pt x="1" y="221"/>
                  </a:lnTo>
                  <a:lnTo>
                    <a:pt x="14" y="229"/>
                  </a:lnTo>
                  <a:lnTo>
                    <a:pt x="44" y="229"/>
                  </a:lnTo>
                  <a:lnTo>
                    <a:pt x="62" y="218"/>
                  </a:lnTo>
                  <a:lnTo>
                    <a:pt x="79" y="215"/>
                  </a:lnTo>
                  <a:lnTo>
                    <a:pt x="93" y="229"/>
                  </a:lnTo>
                  <a:lnTo>
                    <a:pt x="107" y="236"/>
                  </a:lnTo>
                  <a:lnTo>
                    <a:pt x="126" y="239"/>
                  </a:lnTo>
                  <a:lnTo>
                    <a:pt x="121" y="263"/>
                  </a:lnTo>
                  <a:lnTo>
                    <a:pt x="128" y="323"/>
                  </a:lnTo>
                  <a:lnTo>
                    <a:pt x="144" y="322"/>
                  </a:lnTo>
                  <a:lnTo>
                    <a:pt x="154" y="320"/>
                  </a:lnTo>
                  <a:lnTo>
                    <a:pt x="158" y="303"/>
                  </a:lnTo>
                  <a:lnTo>
                    <a:pt x="161" y="268"/>
                  </a:lnTo>
                  <a:lnTo>
                    <a:pt x="173" y="249"/>
                  </a:lnTo>
                  <a:lnTo>
                    <a:pt x="173" y="218"/>
                  </a:lnTo>
                  <a:lnTo>
                    <a:pt x="183" y="199"/>
                  </a:lnTo>
                  <a:lnTo>
                    <a:pt x="204" y="189"/>
                  </a:lnTo>
                  <a:lnTo>
                    <a:pt x="243" y="140"/>
                  </a:lnTo>
                  <a:lnTo>
                    <a:pt x="248" y="118"/>
                  </a:lnTo>
                  <a:lnTo>
                    <a:pt x="242" y="84"/>
                  </a:lnTo>
                  <a:lnTo>
                    <a:pt x="267" y="61"/>
                  </a:lnTo>
                  <a:lnTo>
                    <a:pt x="271" y="23"/>
                  </a:lnTo>
                  <a:lnTo>
                    <a:pt x="253" y="6"/>
                  </a:lnTo>
                  <a:lnTo>
                    <a:pt x="242" y="3"/>
                  </a:lnTo>
                  <a:lnTo>
                    <a:pt x="220" y="0"/>
                  </a:lnTo>
                  <a:lnTo>
                    <a:pt x="173" y="0"/>
                  </a:lnTo>
                  <a:lnTo>
                    <a:pt x="159" y="13"/>
                  </a:lnTo>
                  <a:lnTo>
                    <a:pt x="148" y="29"/>
                  </a:lnTo>
                  <a:lnTo>
                    <a:pt x="150" y="43"/>
                  </a:lnTo>
                  <a:lnTo>
                    <a:pt x="167" y="56"/>
                  </a:lnTo>
                  <a:lnTo>
                    <a:pt x="178" y="71"/>
                  </a:lnTo>
                  <a:lnTo>
                    <a:pt x="178" y="93"/>
                  </a:lnTo>
                  <a:lnTo>
                    <a:pt x="159" y="108"/>
                  </a:lnTo>
                  <a:lnTo>
                    <a:pt x="140" y="113"/>
                  </a:lnTo>
                  <a:lnTo>
                    <a:pt x="126" y="115"/>
                  </a:lnTo>
                  <a:lnTo>
                    <a:pt x="120" y="103"/>
                  </a:lnTo>
                  <a:lnTo>
                    <a:pt x="115" y="84"/>
                  </a:lnTo>
                  <a:lnTo>
                    <a:pt x="124" y="69"/>
                  </a:lnTo>
                  <a:lnTo>
                    <a:pt x="121" y="50"/>
                  </a:lnTo>
                  <a:lnTo>
                    <a:pt x="120" y="32"/>
                  </a:lnTo>
                  <a:lnTo>
                    <a:pt x="112" y="9"/>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1" name="CZ"/>
            <p:cNvSpPr>
              <a:spLocks/>
            </p:cNvSpPr>
            <p:nvPr/>
          </p:nvSpPr>
          <p:spPr bwMode="auto">
            <a:xfrm>
              <a:off x="5992813" y="3833813"/>
              <a:ext cx="760412" cy="368300"/>
            </a:xfrm>
            <a:custGeom>
              <a:avLst/>
              <a:gdLst>
                <a:gd name="T0" fmla="*/ 126 w 510"/>
                <a:gd name="T1" fmla="*/ 298 h 311"/>
                <a:gd name="T2" fmla="*/ 122 w 510"/>
                <a:gd name="T3" fmla="*/ 281 h 311"/>
                <a:gd name="T4" fmla="*/ 106 w 510"/>
                <a:gd name="T5" fmla="*/ 271 h 311"/>
                <a:gd name="T6" fmla="*/ 46 w 510"/>
                <a:gd name="T7" fmla="*/ 210 h 311"/>
                <a:gd name="T8" fmla="*/ 42 w 510"/>
                <a:gd name="T9" fmla="*/ 179 h 311"/>
                <a:gd name="T10" fmla="*/ 16 w 510"/>
                <a:gd name="T11" fmla="*/ 175 h 311"/>
                <a:gd name="T12" fmla="*/ 17 w 510"/>
                <a:gd name="T13" fmla="*/ 145 h 311"/>
                <a:gd name="T14" fmla="*/ 8 w 510"/>
                <a:gd name="T15" fmla="*/ 116 h 311"/>
                <a:gd name="T16" fmla="*/ 0 w 510"/>
                <a:gd name="T17" fmla="*/ 101 h 311"/>
                <a:gd name="T18" fmla="*/ 6 w 510"/>
                <a:gd name="T19" fmla="*/ 83 h 311"/>
                <a:gd name="T20" fmla="*/ 24 w 510"/>
                <a:gd name="T21" fmla="*/ 83 h 311"/>
                <a:gd name="T22" fmla="*/ 57 w 510"/>
                <a:gd name="T23" fmla="*/ 75 h 311"/>
                <a:gd name="T24" fmla="*/ 160 w 510"/>
                <a:gd name="T25" fmla="*/ 15 h 311"/>
                <a:gd name="T26" fmla="*/ 182 w 510"/>
                <a:gd name="T27" fmla="*/ 0 h 311"/>
                <a:gd name="T28" fmla="*/ 195 w 510"/>
                <a:gd name="T29" fmla="*/ 18 h 311"/>
                <a:gd name="T30" fmla="*/ 217 w 510"/>
                <a:gd name="T31" fmla="*/ 8 h 311"/>
                <a:gd name="T32" fmla="*/ 237 w 510"/>
                <a:gd name="T33" fmla="*/ 10 h 311"/>
                <a:gd name="T34" fmla="*/ 250 w 510"/>
                <a:gd name="T35" fmla="*/ 19 h 311"/>
                <a:gd name="T36" fmla="*/ 250 w 510"/>
                <a:gd name="T37" fmla="*/ 47 h 311"/>
                <a:gd name="T38" fmla="*/ 287 w 510"/>
                <a:gd name="T39" fmla="*/ 74 h 311"/>
                <a:gd name="T40" fmla="*/ 289 w 510"/>
                <a:gd name="T41" fmla="*/ 92 h 311"/>
                <a:gd name="T42" fmla="*/ 303 w 510"/>
                <a:gd name="T43" fmla="*/ 113 h 311"/>
                <a:gd name="T44" fmla="*/ 313 w 510"/>
                <a:gd name="T45" fmla="*/ 122 h 311"/>
                <a:gd name="T46" fmla="*/ 320 w 510"/>
                <a:gd name="T47" fmla="*/ 113 h 311"/>
                <a:gd name="T48" fmla="*/ 346 w 510"/>
                <a:gd name="T49" fmla="*/ 98 h 311"/>
                <a:gd name="T50" fmla="*/ 358 w 510"/>
                <a:gd name="T51" fmla="*/ 101 h 311"/>
                <a:gd name="T52" fmla="*/ 390 w 510"/>
                <a:gd name="T53" fmla="*/ 142 h 311"/>
                <a:gd name="T54" fmla="*/ 398 w 510"/>
                <a:gd name="T55" fmla="*/ 140 h 311"/>
                <a:gd name="T56" fmla="*/ 432 w 510"/>
                <a:gd name="T57" fmla="*/ 163 h 311"/>
                <a:gd name="T58" fmla="*/ 483 w 510"/>
                <a:gd name="T59" fmla="*/ 160 h 311"/>
                <a:gd name="T60" fmla="*/ 510 w 510"/>
                <a:gd name="T61" fmla="*/ 179 h 311"/>
                <a:gd name="T62" fmla="*/ 454 w 510"/>
                <a:gd name="T63" fmla="*/ 213 h 311"/>
                <a:gd name="T64" fmla="*/ 451 w 510"/>
                <a:gd name="T65" fmla="*/ 256 h 311"/>
                <a:gd name="T66" fmla="*/ 417 w 510"/>
                <a:gd name="T67" fmla="*/ 291 h 311"/>
                <a:gd name="T68" fmla="*/ 380 w 510"/>
                <a:gd name="T69" fmla="*/ 290 h 311"/>
                <a:gd name="T70" fmla="*/ 360 w 510"/>
                <a:gd name="T71" fmla="*/ 300 h 311"/>
                <a:gd name="T72" fmla="*/ 335 w 510"/>
                <a:gd name="T73" fmla="*/ 311 h 311"/>
                <a:gd name="T74" fmla="*/ 303 w 510"/>
                <a:gd name="T75" fmla="*/ 288 h 311"/>
                <a:gd name="T76" fmla="*/ 283 w 510"/>
                <a:gd name="T77" fmla="*/ 300 h 311"/>
                <a:gd name="T78" fmla="*/ 265 w 510"/>
                <a:gd name="T79" fmla="*/ 304 h 311"/>
                <a:gd name="T80" fmla="*/ 250 w 510"/>
                <a:gd name="T81" fmla="*/ 277 h 311"/>
                <a:gd name="T82" fmla="*/ 206 w 510"/>
                <a:gd name="T83" fmla="*/ 278 h 311"/>
                <a:gd name="T84" fmla="*/ 192 w 510"/>
                <a:gd name="T85" fmla="*/ 290 h 311"/>
                <a:gd name="T86" fmla="*/ 182 w 510"/>
                <a:gd name="T87" fmla="*/ 301 h 311"/>
                <a:gd name="T88" fmla="*/ 163 w 510"/>
                <a:gd name="T89" fmla="*/ 301 h 311"/>
                <a:gd name="T90" fmla="*/ 142 w 510"/>
                <a:gd name="T91" fmla="*/ 305 h 311"/>
                <a:gd name="T92" fmla="*/ 126 w 510"/>
                <a:gd name="T93" fmla="*/ 2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11">
                  <a:moveTo>
                    <a:pt x="126" y="298"/>
                  </a:moveTo>
                  <a:lnTo>
                    <a:pt x="122" y="281"/>
                  </a:lnTo>
                  <a:lnTo>
                    <a:pt x="106" y="271"/>
                  </a:lnTo>
                  <a:lnTo>
                    <a:pt x="46" y="210"/>
                  </a:lnTo>
                  <a:lnTo>
                    <a:pt x="42" y="179"/>
                  </a:lnTo>
                  <a:lnTo>
                    <a:pt x="16" y="175"/>
                  </a:lnTo>
                  <a:lnTo>
                    <a:pt x="17" y="145"/>
                  </a:lnTo>
                  <a:lnTo>
                    <a:pt x="8" y="116"/>
                  </a:lnTo>
                  <a:lnTo>
                    <a:pt x="0" y="101"/>
                  </a:lnTo>
                  <a:lnTo>
                    <a:pt x="6" y="83"/>
                  </a:lnTo>
                  <a:lnTo>
                    <a:pt x="24" y="83"/>
                  </a:lnTo>
                  <a:lnTo>
                    <a:pt x="57" y="75"/>
                  </a:lnTo>
                  <a:lnTo>
                    <a:pt x="160" y="15"/>
                  </a:lnTo>
                  <a:lnTo>
                    <a:pt x="182" y="0"/>
                  </a:lnTo>
                  <a:lnTo>
                    <a:pt x="195" y="18"/>
                  </a:lnTo>
                  <a:lnTo>
                    <a:pt x="217" y="8"/>
                  </a:lnTo>
                  <a:lnTo>
                    <a:pt x="237" y="10"/>
                  </a:lnTo>
                  <a:lnTo>
                    <a:pt x="250" y="19"/>
                  </a:lnTo>
                  <a:lnTo>
                    <a:pt x="250" y="47"/>
                  </a:lnTo>
                  <a:lnTo>
                    <a:pt x="287" y="74"/>
                  </a:lnTo>
                  <a:lnTo>
                    <a:pt x="289" y="92"/>
                  </a:lnTo>
                  <a:lnTo>
                    <a:pt x="303" y="113"/>
                  </a:lnTo>
                  <a:lnTo>
                    <a:pt x="313" y="122"/>
                  </a:lnTo>
                  <a:lnTo>
                    <a:pt x="320" y="113"/>
                  </a:lnTo>
                  <a:lnTo>
                    <a:pt x="346" y="98"/>
                  </a:lnTo>
                  <a:lnTo>
                    <a:pt x="358" y="101"/>
                  </a:lnTo>
                  <a:lnTo>
                    <a:pt x="390" y="142"/>
                  </a:lnTo>
                  <a:lnTo>
                    <a:pt x="398" y="140"/>
                  </a:lnTo>
                  <a:lnTo>
                    <a:pt x="432" y="163"/>
                  </a:lnTo>
                  <a:lnTo>
                    <a:pt x="483" y="160"/>
                  </a:lnTo>
                  <a:lnTo>
                    <a:pt x="510" y="179"/>
                  </a:lnTo>
                  <a:lnTo>
                    <a:pt x="454" y="213"/>
                  </a:lnTo>
                  <a:lnTo>
                    <a:pt x="451" y="256"/>
                  </a:lnTo>
                  <a:lnTo>
                    <a:pt x="417" y="291"/>
                  </a:lnTo>
                  <a:lnTo>
                    <a:pt x="380" y="290"/>
                  </a:lnTo>
                  <a:lnTo>
                    <a:pt x="360" y="300"/>
                  </a:lnTo>
                  <a:lnTo>
                    <a:pt x="335" y="311"/>
                  </a:lnTo>
                  <a:lnTo>
                    <a:pt x="303" y="288"/>
                  </a:lnTo>
                  <a:lnTo>
                    <a:pt x="283" y="300"/>
                  </a:lnTo>
                  <a:lnTo>
                    <a:pt x="265" y="304"/>
                  </a:lnTo>
                  <a:lnTo>
                    <a:pt x="250" y="277"/>
                  </a:lnTo>
                  <a:lnTo>
                    <a:pt x="206" y="278"/>
                  </a:lnTo>
                  <a:lnTo>
                    <a:pt x="192" y="290"/>
                  </a:lnTo>
                  <a:lnTo>
                    <a:pt x="182" y="301"/>
                  </a:lnTo>
                  <a:lnTo>
                    <a:pt x="163" y="301"/>
                  </a:lnTo>
                  <a:lnTo>
                    <a:pt x="142" y="305"/>
                  </a:lnTo>
                  <a:lnTo>
                    <a:pt x="126" y="298"/>
                  </a:lnTo>
                  <a:close/>
                </a:path>
              </a:pathLst>
            </a:custGeom>
            <a:solidFill>
              <a:srgbClr val="DCE6F2"/>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2" name="HR" descr="80%"/>
            <p:cNvSpPr>
              <a:spLocks noChangeAspect="1"/>
            </p:cNvSpPr>
            <p:nvPr/>
          </p:nvSpPr>
          <p:spPr bwMode="auto">
            <a:xfrm>
              <a:off x="6070600" y="4521200"/>
              <a:ext cx="682625" cy="604838"/>
            </a:xfrm>
            <a:custGeom>
              <a:avLst/>
              <a:gdLst>
                <a:gd name="T0" fmla="*/ 9 w 460"/>
                <a:gd name="T1" fmla="*/ 145 h 506"/>
                <a:gd name="T2" fmla="*/ 28 w 460"/>
                <a:gd name="T3" fmla="*/ 185 h 506"/>
                <a:gd name="T4" fmla="*/ 52 w 460"/>
                <a:gd name="T5" fmla="*/ 179 h 506"/>
                <a:gd name="T6" fmla="*/ 71 w 460"/>
                <a:gd name="T7" fmla="*/ 139 h 506"/>
                <a:gd name="T8" fmla="*/ 104 w 460"/>
                <a:gd name="T9" fmla="*/ 158 h 506"/>
                <a:gd name="T10" fmla="*/ 113 w 460"/>
                <a:gd name="T11" fmla="*/ 192 h 506"/>
                <a:gd name="T12" fmla="*/ 129 w 460"/>
                <a:gd name="T13" fmla="*/ 237 h 506"/>
                <a:gd name="T14" fmla="*/ 146 w 460"/>
                <a:gd name="T15" fmla="*/ 269 h 506"/>
                <a:gd name="T16" fmla="*/ 134 w 460"/>
                <a:gd name="T17" fmla="*/ 283 h 506"/>
                <a:gd name="T18" fmla="*/ 204 w 460"/>
                <a:gd name="T19" fmla="*/ 370 h 506"/>
                <a:gd name="T20" fmla="*/ 237 w 460"/>
                <a:gd name="T21" fmla="*/ 374 h 506"/>
                <a:gd name="T22" fmla="*/ 289 w 460"/>
                <a:gd name="T23" fmla="*/ 414 h 506"/>
                <a:gd name="T24" fmla="*/ 303 w 460"/>
                <a:gd name="T25" fmla="*/ 445 h 506"/>
                <a:gd name="T26" fmla="*/ 317 w 460"/>
                <a:gd name="T27" fmla="*/ 444 h 506"/>
                <a:gd name="T28" fmla="*/ 347 w 460"/>
                <a:gd name="T29" fmla="*/ 462 h 506"/>
                <a:gd name="T30" fmla="*/ 367 w 460"/>
                <a:gd name="T31" fmla="*/ 461 h 506"/>
                <a:gd name="T32" fmla="*/ 366 w 460"/>
                <a:gd name="T33" fmla="*/ 428 h 506"/>
                <a:gd name="T34" fmla="*/ 343 w 460"/>
                <a:gd name="T35" fmla="*/ 391 h 506"/>
                <a:gd name="T36" fmla="*/ 289 w 460"/>
                <a:gd name="T37" fmla="*/ 330 h 506"/>
                <a:gd name="T38" fmla="*/ 270 w 460"/>
                <a:gd name="T39" fmla="*/ 324 h 506"/>
                <a:gd name="T40" fmla="*/ 251 w 460"/>
                <a:gd name="T41" fmla="*/ 309 h 506"/>
                <a:gd name="T42" fmla="*/ 237 w 460"/>
                <a:gd name="T43" fmla="*/ 280 h 506"/>
                <a:gd name="T44" fmla="*/ 214 w 460"/>
                <a:gd name="T45" fmla="*/ 235 h 506"/>
                <a:gd name="T46" fmla="*/ 174 w 460"/>
                <a:gd name="T47" fmla="*/ 179 h 506"/>
                <a:gd name="T48" fmla="*/ 195 w 460"/>
                <a:gd name="T49" fmla="*/ 169 h 506"/>
                <a:gd name="T50" fmla="*/ 281 w 460"/>
                <a:gd name="T51" fmla="*/ 145 h 506"/>
                <a:gd name="T52" fmla="*/ 322 w 460"/>
                <a:gd name="T53" fmla="*/ 173 h 506"/>
                <a:gd name="T54" fmla="*/ 338 w 460"/>
                <a:gd name="T55" fmla="*/ 173 h 506"/>
                <a:gd name="T56" fmla="*/ 374 w 460"/>
                <a:gd name="T57" fmla="*/ 176 h 506"/>
                <a:gd name="T58" fmla="*/ 421 w 460"/>
                <a:gd name="T59" fmla="*/ 173 h 506"/>
                <a:gd name="T60" fmla="*/ 451 w 460"/>
                <a:gd name="T61" fmla="*/ 192 h 506"/>
                <a:gd name="T62" fmla="*/ 460 w 460"/>
                <a:gd name="T63" fmla="*/ 158 h 506"/>
                <a:gd name="T64" fmla="*/ 436 w 460"/>
                <a:gd name="T65" fmla="*/ 129 h 506"/>
                <a:gd name="T66" fmla="*/ 434 w 460"/>
                <a:gd name="T67" fmla="*/ 98 h 506"/>
                <a:gd name="T68" fmla="*/ 415 w 460"/>
                <a:gd name="T69" fmla="*/ 77 h 506"/>
                <a:gd name="T70" fmla="*/ 395 w 460"/>
                <a:gd name="T71" fmla="*/ 82 h 506"/>
                <a:gd name="T72" fmla="*/ 371 w 460"/>
                <a:gd name="T73" fmla="*/ 92 h 506"/>
                <a:gd name="T74" fmla="*/ 336 w 460"/>
                <a:gd name="T75" fmla="*/ 61 h 506"/>
                <a:gd name="T76" fmla="*/ 305 w 460"/>
                <a:gd name="T77" fmla="*/ 47 h 506"/>
                <a:gd name="T78" fmla="*/ 251 w 460"/>
                <a:gd name="T79" fmla="*/ 0 h 506"/>
                <a:gd name="T80" fmla="*/ 199 w 460"/>
                <a:gd name="T81" fmla="*/ 34 h 506"/>
                <a:gd name="T82" fmla="*/ 184 w 460"/>
                <a:gd name="T83" fmla="*/ 64 h 506"/>
                <a:gd name="T84" fmla="*/ 101 w 460"/>
                <a:gd name="T85" fmla="*/ 114 h 506"/>
                <a:gd name="T86" fmla="*/ 52 w 460"/>
                <a:gd name="T87" fmla="*/ 114 h 506"/>
                <a:gd name="T88" fmla="*/ 0 w 460"/>
                <a:gd name="T89" fmla="*/ 11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0" h="506">
                  <a:moveTo>
                    <a:pt x="0" y="114"/>
                  </a:moveTo>
                  <a:lnTo>
                    <a:pt x="9" y="145"/>
                  </a:lnTo>
                  <a:lnTo>
                    <a:pt x="19" y="169"/>
                  </a:lnTo>
                  <a:lnTo>
                    <a:pt x="28" y="185"/>
                  </a:lnTo>
                  <a:lnTo>
                    <a:pt x="39" y="188"/>
                  </a:lnTo>
                  <a:lnTo>
                    <a:pt x="52" y="179"/>
                  </a:lnTo>
                  <a:lnTo>
                    <a:pt x="58" y="163"/>
                  </a:lnTo>
                  <a:lnTo>
                    <a:pt x="71" y="139"/>
                  </a:lnTo>
                  <a:lnTo>
                    <a:pt x="87" y="154"/>
                  </a:lnTo>
                  <a:lnTo>
                    <a:pt x="104" y="158"/>
                  </a:lnTo>
                  <a:lnTo>
                    <a:pt x="115" y="166"/>
                  </a:lnTo>
                  <a:lnTo>
                    <a:pt x="113" y="192"/>
                  </a:lnTo>
                  <a:lnTo>
                    <a:pt x="113" y="209"/>
                  </a:lnTo>
                  <a:lnTo>
                    <a:pt x="129" y="237"/>
                  </a:lnTo>
                  <a:lnTo>
                    <a:pt x="148" y="262"/>
                  </a:lnTo>
                  <a:lnTo>
                    <a:pt x="146" y="269"/>
                  </a:lnTo>
                  <a:lnTo>
                    <a:pt x="124" y="269"/>
                  </a:lnTo>
                  <a:lnTo>
                    <a:pt x="134" y="283"/>
                  </a:lnTo>
                  <a:lnTo>
                    <a:pt x="198" y="364"/>
                  </a:lnTo>
                  <a:lnTo>
                    <a:pt x="204" y="370"/>
                  </a:lnTo>
                  <a:lnTo>
                    <a:pt x="223" y="370"/>
                  </a:lnTo>
                  <a:lnTo>
                    <a:pt x="237" y="374"/>
                  </a:lnTo>
                  <a:lnTo>
                    <a:pt x="265" y="388"/>
                  </a:lnTo>
                  <a:lnTo>
                    <a:pt x="289" y="414"/>
                  </a:lnTo>
                  <a:lnTo>
                    <a:pt x="294" y="425"/>
                  </a:lnTo>
                  <a:lnTo>
                    <a:pt x="303" y="445"/>
                  </a:lnTo>
                  <a:lnTo>
                    <a:pt x="310" y="444"/>
                  </a:lnTo>
                  <a:lnTo>
                    <a:pt x="317" y="444"/>
                  </a:lnTo>
                  <a:lnTo>
                    <a:pt x="336" y="452"/>
                  </a:lnTo>
                  <a:lnTo>
                    <a:pt x="347" y="462"/>
                  </a:lnTo>
                  <a:lnTo>
                    <a:pt x="383" y="506"/>
                  </a:lnTo>
                  <a:lnTo>
                    <a:pt x="367" y="461"/>
                  </a:lnTo>
                  <a:lnTo>
                    <a:pt x="358" y="444"/>
                  </a:lnTo>
                  <a:lnTo>
                    <a:pt x="366" y="428"/>
                  </a:lnTo>
                  <a:lnTo>
                    <a:pt x="361" y="414"/>
                  </a:lnTo>
                  <a:lnTo>
                    <a:pt x="343" y="391"/>
                  </a:lnTo>
                  <a:lnTo>
                    <a:pt x="310" y="348"/>
                  </a:lnTo>
                  <a:lnTo>
                    <a:pt x="289" y="330"/>
                  </a:lnTo>
                  <a:lnTo>
                    <a:pt x="281" y="321"/>
                  </a:lnTo>
                  <a:lnTo>
                    <a:pt x="270" y="324"/>
                  </a:lnTo>
                  <a:lnTo>
                    <a:pt x="253" y="309"/>
                  </a:lnTo>
                  <a:lnTo>
                    <a:pt x="251" y="309"/>
                  </a:lnTo>
                  <a:lnTo>
                    <a:pt x="242" y="299"/>
                  </a:lnTo>
                  <a:lnTo>
                    <a:pt x="237" y="280"/>
                  </a:lnTo>
                  <a:lnTo>
                    <a:pt x="232" y="262"/>
                  </a:lnTo>
                  <a:lnTo>
                    <a:pt x="214" y="235"/>
                  </a:lnTo>
                  <a:lnTo>
                    <a:pt x="176" y="191"/>
                  </a:lnTo>
                  <a:lnTo>
                    <a:pt x="174" y="179"/>
                  </a:lnTo>
                  <a:lnTo>
                    <a:pt x="176" y="173"/>
                  </a:lnTo>
                  <a:lnTo>
                    <a:pt x="195" y="169"/>
                  </a:lnTo>
                  <a:lnTo>
                    <a:pt x="247" y="188"/>
                  </a:lnTo>
                  <a:lnTo>
                    <a:pt x="281" y="145"/>
                  </a:lnTo>
                  <a:lnTo>
                    <a:pt x="310" y="172"/>
                  </a:lnTo>
                  <a:lnTo>
                    <a:pt x="322" y="173"/>
                  </a:lnTo>
                  <a:lnTo>
                    <a:pt x="328" y="185"/>
                  </a:lnTo>
                  <a:lnTo>
                    <a:pt x="338" y="173"/>
                  </a:lnTo>
                  <a:lnTo>
                    <a:pt x="357" y="173"/>
                  </a:lnTo>
                  <a:lnTo>
                    <a:pt x="374" y="176"/>
                  </a:lnTo>
                  <a:lnTo>
                    <a:pt x="396" y="163"/>
                  </a:lnTo>
                  <a:lnTo>
                    <a:pt x="421" y="173"/>
                  </a:lnTo>
                  <a:lnTo>
                    <a:pt x="434" y="188"/>
                  </a:lnTo>
                  <a:lnTo>
                    <a:pt x="451" y="192"/>
                  </a:lnTo>
                  <a:lnTo>
                    <a:pt x="452" y="179"/>
                  </a:lnTo>
                  <a:lnTo>
                    <a:pt x="460" y="158"/>
                  </a:lnTo>
                  <a:lnTo>
                    <a:pt x="451" y="148"/>
                  </a:lnTo>
                  <a:lnTo>
                    <a:pt x="436" y="129"/>
                  </a:lnTo>
                  <a:lnTo>
                    <a:pt x="434" y="111"/>
                  </a:lnTo>
                  <a:lnTo>
                    <a:pt x="434" y="98"/>
                  </a:lnTo>
                  <a:lnTo>
                    <a:pt x="436" y="82"/>
                  </a:lnTo>
                  <a:lnTo>
                    <a:pt x="415" y="77"/>
                  </a:lnTo>
                  <a:lnTo>
                    <a:pt x="405" y="74"/>
                  </a:lnTo>
                  <a:lnTo>
                    <a:pt x="395" y="82"/>
                  </a:lnTo>
                  <a:lnTo>
                    <a:pt x="383" y="92"/>
                  </a:lnTo>
                  <a:lnTo>
                    <a:pt x="371" y="92"/>
                  </a:lnTo>
                  <a:lnTo>
                    <a:pt x="352" y="71"/>
                  </a:lnTo>
                  <a:lnTo>
                    <a:pt x="336" y="61"/>
                  </a:lnTo>
                  <a:lnTo>
                    <a:pt x="319" y="64"/>
                  </a:lnTo>
                  <a:lnTo>
                    <a:pt x="305" y="47"/>
                  </a:lnTo>
                  <a:lnTo>
                    <a:pt x="267" y="3"/>
                  </a:lnTo>
                  <a:lnTo>
                    <a:pt x="251" y="0"/>
                  </a:lnTo>
                  <a:lnTo>
                    <a:pt x="226" y="37"/>
                  </a:lnTo>
                  <a:lnTo>
                    <a:pt x="199" y="34"/>
                  </a:lnTo>
                  <a:lnTo>
                    <a:pt x="188" y="47"/>
                  </a:lnTo>
                  <a:lnTo>
                    <a:pt x="184" y="64"/>
                  </a:lnTo>
                  <a:lnTo>
                    <a:pt x="134" y="124"/>
                  </a:lnTo>
                  <a:lnTo>
                    <a:pt x="101" y="114"/>
                  </a:lnTo>
                  <a:lnTo>
                    <a:pt x="68" y="105"/>
                  </a:lnTo>
                  <a:lnTo>
                    <a:pt x="52" y="114"/>
                  </a:lnTo>
                  <a:lnTo>
                    <a:pt x="30" y="124"/>
                  </a:lnTo>
                  <a:lnTo>
                    <a:pt x="0" y="114"/>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3" name="FR"/>
            <p:cNvGrpSpPr>
              <a:grpSpLocks/>
            </p:cNvGrpSpPr>
            <p:nvPr/>
          </p:nvGrpSpPr>
          <p:grpSpPr bwMode="auto">
            <a:xfrm>
              <a:off x="4143297" y="3644915"/>
              <a:ext cx="1436689" cy="1531940"/>
              <a:chOff x="1095378" y="3963090"/>
              <a:chExt cx="659" cy="793"/>
            </a:xfrm>
            <a:solidFill>
              <a:schemeClr val="bg1">
                <a:lumMod val="95000"/>
              </a:schemeClr>
            </a:solidFill>
            <a:effectLst/>
          </p:grpSpPr>
          <p:sp>
            <p:nvSpPr>
              <p:cNvPr id="101" name="Freeform 573"/>
              <p:cNvSpPr>
                <a:spLocks noChangeAspect="1"/>
              </p:cNvSpPr>
              <p:nvPr/>
            </p:nvSpPr>
            <p:spPr bwMode="auto">
              <a:xfrm>
                <a:off x="1095980" y="3963778"/>
                <a:ext cx="57" cy="105"/>
              </a:xfrm>
              <a:custGeom>
                <a:avLst/>
                <a:gdLst>
                  <a:gd name="T0" fmla="*/ 85 w 85"/>
                  <a:gd name="T1" fmla="*/ 0 h 172"/>
                  <a:gd name="T2" fmla="*/ 57 w 85"/>
                  <a:gd name="T3" fmla="*/ 37 h 172"/>
                  <a:gd name="T4" fmla="*/ 24 w 85"/>
                  <a:gd name="T5" fmla="*/ 37 h 172"/>
                  <a:gd name="T6" fmla="*/ 0 w 85"/>
                  <a:gd name="T7" fmla="*/ 58 h 172"/>
                  <a:gd name="T8" fmla="*/ 5 w 85"/>
                  <a:gd name="T9" fmla="*/ 86 h 172"/>
                  <a:gd name="T10" fmla="*/ 5 w 85"/>
                  <a:gd name="T11" fmla="*/ 135 h 172"/>
                  <a:gd name="T12" fmla="*/ 24 w 85"/>
                  <a:gd name="T13" fmla="*/ 172 h 172"/>
                  <a:gd name="T14" fmla="*/ 47 w 85"/>
                  <a:gd name="T15" fmla="*/ 162 h 172"/>
                  <a:gd name="T16" fmla="*/ 52 w 85"/>
                  <a:gd name="T17" fmla="*/ 141 h 172"/>
                  <a:gd name="T18" fmla="*/ 76 w 85"/>
                  <a:gd name="T19" fmla="*/ 92 h 172"/>
                  <a:gd name="T20" fmla="*/ 76 w 85"/>
                  <a:gd name="T21" fmla="*/ 67 h 172"/>
                  <a:gd name="T22" fmla="*/ 85 w 85"/>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72">
                    <a:moveTo>
                      <a:pt x="85" y="0"/>
                    </a:moveTo>
                    <a:lnTo>
                      <a:pt x="57" y="37"/>
                    </a:lnTo>
                    <a:lnTo>
                      <a:pt x="24" y="37"/>
                    </a:lnTo>
                    <a:lnTo>
                      <a:pt x="0" y="58"/>
                    </a:lnTo>
                    <a:lnTo>
                      <a:pt x="5" y="86"/>
                    </a:lnTo>
                    <a:lnTo>
                      <a:pt x="5" y="135"/>
                    </a:lnTo>
                    <a:lnTo>
                      <a:pt x="24" y="172"/>
                    </a:lnTo>
                    <a:lnTo>
                      <a:pt x="47" y="162"/>
                    </a:lnTo>
                    <a:lnTo>
                      <a:pt x="52" y="141"/>
                    </a:lnTo>
                    <a:lnTo>
                      <a:pt x="76" y="92"/>
                    </a:lnTo>
                    <a:lnTo>
                      <a:pt x="76" y="67"/>
                    </a:lnTo>
                    <a:lnTo>
                      <a:pt x="85"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2" name="Freeform 574"/>
              <p:cNvSpPr>
                <a:spLocks noChangeAspect="1"/>
              </p:cNvSpPr>
              <p:nvPr/>
            </p:nvSpPr>
            <p:spPr bwMode="auto">
              <a:xfrm>
                <a:off x="1095378" y="3963090"/>
                <a:ext cx="657" cy="655"/>
              </a:xfrm>
              <a:custGeom>
                <a:avLst/>
                <a:gdLst>
                  <a:gd name="T0" fmla="*/ 14 w 965"/>
                  <a:gd name="T1" fmla="*/ 206 h 1060"/>
                  <a:gd name="T2" fmla="*/ 16 w 965"/>
                  <a:gd name="T3" fmla="*/ 247 h 1060"/>
                  <a:gd name="T4" fmla="*/ 94 w 965"/>
                  <a:gd name="T5" fmla="*/ 314 h 1060"/>
                  <a:gd name="T6" fmla="*/ 154 w 965"/>
                  <a:gd name="T7" fmla="*/ 356 h 1060"/>
                  <a:gd name="T8" fmla="*/ 148 w 965"/>
                  <a:gd name="T9" fmla="*/ 411 h 1060"/>
                  <a:gd name="T10" fmla="*/ 183 w 965"/>
                  <a:gd name="T11" fmla="*/ 495 h 1060"/>
                  <a:gd name="T12" fmla="*/ 200 w 965"/>
                  <a:gd name="T13" fmla="*/ 609 h 1060"/>
                  <a:gd name="T14" fmla="*/ 167 w 965"/>
                  <a:gd name="T15" fmla="*/ 609 h 1060"/>
                  <a:gd name="T16" fmla="*/ 146 w 965"/>
                  <a:gd name="T17" fmla="*/ 667 h 1060"/>
                  <a:gd name="T18" fmla="*/ 124 w 965"/>
                  <a:gd name="T19" fmla="*/ 725 h 1060"/>
                  <a:gd name="T20" fmla="*/ 72 w 965"/>
                  <a:gd name="T21" fmla="*/ 828 h 1060"/>
                  <a:gd name="T22" fmla="*/ 75 w 965"/>
                  <a:gd name="T23" fmla="*/ 878 h 1060"/>
                  <a:gd name="T24" fmla="*/ 204 w 965"/>
                  <a:gd name="T25" fmla="*/ 973 h 1060"/>
                  <a:gd name="T26" fmla="*/ 314 w 965"/>
                  <a:gd name="T27" fmla="*/ 1031 h 1060"/>
                  <a:gd name="T28" fmla="*/ 410 w 965"/>
                  <a:gd name="T29" fmla="*/ 1060 h 1060"/>
                  <a:gd name="T30" fmla="*/ 446 w 965"/>
                  <a:gd name="T31" fmla="*/ 979 h 1060"/>
                  <a:gd name="T32" fmla="*/ 533 w 965"/>
                  <a:gd name="T33" fmla="*/ 943 h 1060"/>
                  <a:gd name="T34" fmla="*/ 596 w 965"/>
                  <a:gd name="T35" fmla="*/ 980 h 1060"/>
                  <a:gd name="T36" fmla="*/ 684 w 965"/>
                  <a:gd name="T37" fmla="*/ 1031 h 1060"/>
                  <a:gd name="T38" fmla="*/ 764 w 965"/>
                  <a:gd name="T39" fmla="*/ 1010 h 1060"/>
                  <a:gd name="T40" fmla="*/ 822 w 965"/>
                  <a:gd name="T41" fmla="*/ 942 h 1060"/>
                  <a:gd name="T42" fmla="*/ 786 w 965"/>
                  <a:gd name="T43" fmla="*/ 912 h 1060"/>
                  <a:gd name="T44" fmla="*/ 780 w 965"/>
                  <a:gd name="T45" fmla="*/ 815 h 1060"/>
                  <a:gd name="T46" fmla="*/ 803 w 965"/>
                  <a:gd name="T47" fmla="*/ 725 h 1060"/>
                  <a:gd name="T48" fmla="*/ 803 w 965"/>
                  <a:gd name="T49" fmla="*/ 643 h 1060"/>
                  <a:gd name="T50" fmla="*/ 761 w 965"/>
                  <a:gd name="T51" fmla="*/ 646 h 1060"/>
                  <a:gd name="T52" fmla="*/ 742 w 965"/>
                  <a:gd name="T53" fmla="*/ 633 h 1060"/>
                  <a:gd name="T54" fmla="*/ 786 w 965"/>
                  <a:gd name="T55" fmla="*/ 575 h 1060"/>
                  <a:gd name="T56" fmla="*/ 855 w 965"/>
                  <a:gd name="T57" fmla="*/ 501 h 1060"/>
                  <a:gd name="T58" fmla="*/ 890 w 965"/>
                  <a:gd name="T59" fmla="*/ 464 h 1060"/>
                  <a:gd name="T60" fmla="*/ 918 w 965"/>
                  <a:gd name="T61" fmla="*/ 393 h 1060"/>
                  <a:gd name="T62" fmla="*/ 965 w 965"/>
                  <a:gd name="T63" fmla="*/ 333 h 1060"/>
                  <a:gd name="T64" fmla="*/ 909 w 965"/>
                  <a:gd name="T65" fmla="*/ 303 h 1060"/>
                  <a:gd name="T66" fmla="*/ 843 w 965"/>
                  <a:gd name="T67" fmla="*/ 277 h 1060"/>
                  <a:gd name="T68" fmla="*/ 798 w 965"/>
                  <a:gd name="T69" fmla="*/ 232 h 1060"/>
                  <a:gd name="T70" fmla="*/ 734 w 965"/>
                  <a:gd name="T71" fmla="*/ 169 h 1060"/>
                  <a:gd name="T72" fmla="*/ 681 w 965"/>
                  <a:gd name="T73" fmla="*/ 108 h 1060"/>
                  <a:gd name="T74" fmla="*/ 643 w 965"/>
                  <a:gd name="T75" fmla="*/ 43 h 1060"/>
                  <a:gd name="T76" fmla="*/ 561 w 965"/>
                  <a:gd name="T77" fmla="*/ 3 h 1060"/>
                  <a:gd name="T78" fmla="*/ 525 w 965"/>
                  <a:gd name="T79" fmla="*/ 50 h 1060"/>
                  <a:gd name="T80" fmla="*/ 401 w 965"/>
                  <a:gd name="T81" fmla="*/ 124 h 1060"/>
                  <a:gd name="T82" fmla="*/ 335 w 965"/>
                  <a:gd name="T83" fmla="*/ 148 h 1060"/>
                  <a:gd name="T84" fmla="*/ 277 w 965"/>
                  <a:gd name="T85" fmla="*/ 111 h 1060"/>
                  <a:gd name="T86" fmla="*/ 251 w 965"/>
                  <a:gd name="T87" fmla="*/ 80 h 1060"/>
                  <a:gd name="T88" fmla="*/ 258 w 965"/>
                  <a:gd name="T89" fmla="*/ 118 h 1060"/>
                  <a:gd name="T90" fmla="*/ 249 w 965"/>
                  <a:gd name="T91" fmla="*/ 161 h 1060"/>
                  <a:gd name="T92" fmla="*/ 230 w 965"/>
                  <a:gd name="T93" fmla="*/ 195 h 1060"/>
                  <a:gd name="T94" fmla="*/ 178 w 965"/>
                  <a:gd name="T95" fmla="*/ 179 h 1060"/>
                  <a:gd name="T96" fmla="*/ 118 w 965"/>
                  <a:gd name="T97" fmla="*/ 136 h 1060"/>
                  <a:gd name="T98" fmla="*/ 75 w 965"/>
                  <a:gd name="T99" fmla="*/ 154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5" h="1060">
                    <a:moveTo>
                      <a:pt x="16" y="151"/>
                    </a:moveTo>
                    <a:lnTo>
                      <a:pt x="25" y="176"/>
                    </a:lnTo>
                    <a:lnTo>
                      <a:pt x="16" y="198"/>
                    </a:lnTo>
                    <a:lnTo>
                      <a:pt x="14" y="206"/>
                    </a:lnTo>
                    <a:lnTo>
                      <a:pt x="0" y="201"/>
                    </a:lnTo>
                    <a:lnTo>
                      <a:pt x="5" y="213"/>
                    </a:lnTo>
                    <a:lnTo>
                      <a:pt x="5" y="226"/>
                    </a:lnTo>
                    <a:lnTo>
                      <a:pt x="16" y="247"/>
                    </a:lnTo>
                    <a:lnTo>
                      <a:pt x="38" y="240"/>
                    </a:lnTo>
                    <a:lnTo>
                      <a:pt x="66" y="274"/>
                    </a:lnTo>
                    <a:lnTo>
                      <a:pt x="77" y="297"/>
                    </a:lnTo>
                    <a:lnTo>
                      <a:pt x="94" y="314"/>
                    </a:lnTo>
                    <a:lnTo>
                      <a:pt x="115" y="314"/>
                    </a:lnTo>
                    <a:lnTo>
                      <a:pt x="124" y="334"/>
                    </a:lnTo>
                    <a:lnTo>
                      <a:pt x="143" y="353"/>
                    </a:lnTo>
                    <a:lnTo>
                      <a:pt x="154" y="356"/>
                    </a:lnTo>
                    <a:lnTo>
                      <a:pt x="157" y="363"/>
                    </a:lnTo>
                    <a:lnTo>
                      <a:pt x="151" y="380"/>
                    </a:lnTo>
                    <a:lnTo>
                      <a:pt x="151" y="395"/>
                    </a:lnTo>
                    <a:lnTo>
                      <a:pt x="148" y="411"/>
                    </a:lnTo>
                    <a:lnTo>
                      <a:pt x="143" y="438"/>
                    </a:lnTo>
                    <a:lnTo>
                      <a:pt x="162" y="464"/>
                    </a:lnTo>
                    <a:lnTo>
                      <a:pt x="183" y="482"/>
                    </a:lnTo>
                    <a:lnTo>
                      <a:pt x="183" y="495"/>
                    </a:lnTo>
                    <a:lnTo>
                      <a:pt x="181" y="540"/>
                    </a:lnTo>
                    <a:lnTo>
                      <a:pt x="176" y="577"/>
                    </a:lnTo>
                    <a:lnTo>
                      <a:pt x="181" y="593"/>
                    </a:lnTo>
                    <a:lnTo>
                      <a:pt x="200" y="609"/>
                    </a:lnTo>
                    <a:lnTo>
                      <a:pt x="200" y="640"/>
                    </a:lnTo>
                    <a:lnTo>
                      <a:pt x="200" y="661"/>
                    </a:lnTo>
                    <a:lnTo>
                      <a:pt x="178" y="630"/>
                    </a:lnTo>
                    <a:lnTo>
                      <a:pt x="167" y="609"/>
                    </a:lnTo>
                    <a:lnTo>
                      <a:pt x="159" y="614"/>
                    </a:lnTo>
                    <a:lnTo>
                      <a:pt x="165" y="630"/>
                    </a:lnTo>
                    <a:lnTo>
                      <a:pt x="157" y="649"/>
                    </a:lnTo>
                    <a:lnTo>
                      <a:pt x="146" y="667"/>
                    </a:lnTo>
                    <a:lnTo>
                      <a:pt x="138" y="680"/>
                    </a:lnTo>
                    <a:lnTo>
                      <a:pt x="148" y="693"/>
                    </a:lnTo>
                    <a:lnTo>
                      <a:pt x="140" y="707"/>
                    </a:lnTo>
                    <a:lnTo>
                      <a:pt x="124" y="725"/>
                    </a:lnTo>
                    <a:lnTo>
                      <a:pt x="121" y="741"/>
                    </a:lnTo>
                    <a:lnTo>
                      <a:pt x="113" y="760"/>
                    </a:lnTo>
                    <a:lnTo>
                      <a:pt x="87" y="794"/>
                    </a:lnTo>
                    <a:lnTo>
                      <a:pt x="72" y="828"/>
                    </a:lnTo>
                    <a:lnTo>
                      <a:pt x="72" y="833"/>
                    </a:lnTo>
                    <a:lnTo>
                      <a:pt x="80" y="843"/>
                    </a:lnTo>
                    <a:lnTo>
                      <a:pt x="71" y="859"/>
                    </a:lnTo>
                    <a:lnTo>
                      <a:pt x="75" y="878"/>
                    </a:lnTo>
                    <a:lnTo>
                      <a:pt x="89" y="902"/>
                    </a:lnTo>
                    <a:lnTo>
                      <a:pt x="148" y="939"/>
                    </a:lnTo>
                    <a:lnTo>
                      <a:pt x="190" y="979"/>
                    </a:lnTo>
                    <a:lnTo>
                      <a:pt x="204" y="973"/>
                    </a:lnTo>
                    <a:lnTo>
                      <a:pt x="225" y="964"/>
                    </a:lnTo>
                    <a:lnTo>
                      <a:pt x="297" y="998"/>
                    </a:lnTo>
                    <a:lnTo>
                      <a:pt x="308" y="1010"/>
                    </a:lnTo>
                    <a:lnTo>
                      <a:pt x="314" y="1031"/>
                    </a:lnTo>
                    <a:lnTo>
                      <a:pt x="327" y="1038"/>
                    </a:lnTo>
                    <a:lnTo>
                      <a:pt x="343" y="1041"/>
                    </a:lnTo>
                    <a:lnTo>
                      <a:pt x="368" y="1057"/>
                    </a:lnTo>
                    <a:lnTo>
                      <a:pt x="410" y="1060"/>
                    </a:lnTo>
                    <a:lnTo>
                      <a:pt x="423" y="1041"/>
                    </a:lnTo>
                    <a:lnTo>
                      <a:pt x="427" y="1020"/>
                    </a:lnTo>
                    <a:lnTo>
                      <a:pt x="427" y="997"/>
                    </a:lnTo>
                    <a:lnTo>
                      <a:pt x="446" y="979"/>
                    </a:lnTo>
                    <a:lnTo>
                      <a:pt x="481" y="957"/>
                    </a:lnTo>
                    <a:lnTo>
                      <a:pt x="498" y="954"/>
                    </a:lnTo>
                    <a:lnTo>
                      <a:pt x="517" y="943"/>
                    </a:lnTo>
                    <a:lnTo>
                      <a:pt x="533" y="943"/>
                    </a:lnTo>
                    <a:lnTo>
                      <a:pt x="552" y="957"/>
                    </a:lnTo>
                    <a:lnTo>
                      <a:pt x="566" y="976"/>
                    </a:lnTo>
                    <a:lnTo>
                      <a:pt x="582" y="976"/>
                    </a:lnTo>
                    <a:lnTo>
                      <a:pt x="596" y="980"/>
                    </a:lnTo>
                    <a:lnTo>
                      <a:pt x="624" y="983"/>
                    </a:lnTo>
                    <a:lnTo>
                      <a:pt x="643" y="1010"/>
                    </a:lnTo>
                    <a:lnTo>
                      <a:pt x="660" y="1023"/>
                    </a:lnTo>
                    <a:lnTo>
                      <a:pt x="684" y="1031"/>
                    </a:lnTo>
                    <a:lnTo>
                      <a:pt x="704" y="1044"/>
                    </a:lnTo>
                    <a:lnTo>
                      <a:pt x="715" y="1047"/>
                    </a:lnTo>
                    <a:lnTo>
                      <a:pt x="745" y="1014"/>
                    </a:lnTo>
                    <a:lnTo>
                      <a:pt x="764" y="1010"/>
                    </a:lnTo>
                    <a:lnTo>
                      <a:pt x="777" y="997"/>
                    </a:lnTo>
                    <a:lnTo>
                      <a:pt x="798" y="980"/>
                    </a:lnTo>
                    <a:lnTo>
                      <a:pt x="824" y="979"/>
                    </a:lnTo>
                    <a:lnTo>
                      <a:pt x="822" y="942"/>
                    </a:lnTo>
                    <a:lnTo>
                      <a:pt x="817" y="930"/>
                    </a:lnTo>
                    <a:lnTo>
                      <a:pt x="805" y="912"/>
                    </a:lnTo>
                    <a:lnTo>
                      <a:pt x="796" y="915"/>
                    </a:lnTo>
                    <a:lnTo>
                      <a:pt x="786" y="912"/>
                    </a:lnTo>
                    <a:lnTo>
                      <a:pt x="777" y="896"/>
                    </a:lnTo>
                    <a:lnTo>
                      <a:pt x="775" y="859"/>
                    </a:lnTo>
                    <a:lnTo>
                      <a:pt x="794" y="835"/>
                    </a:lnTo>
                    <a:lnTo>
                      <a:pt x="780" y="815"/>
                    </a:lnTo>
                    <a:lnTo>
                      <a:pt x="780" y="806"/>
                    </a:lnTo>
                    <a:lnTo>
                      <a:pt x="808" y="775"/>
                    </a:lnTo>
                    <a:lnTo>
                      <a:pt x="808" y="764"/>
                    </a:lnTo>
                    <a:lnTo>
                      <a:pt x="803" y="725"/>
                    </a:lnTo>
                    <a:lnTo>
                      <a:pt x="819" y="707"/>
                    </a:lnTo>
                    <a:lnTo>
                      <a:pt x="805" y="686"/>
                    </a:lnTo>
                    <a:lnTo>
                      <a:pt x="805" y="670"/>
                    </a:lnTo>
                    <a:lnTo>
                      <a:pt x="803" y="643"/>
                    </a:lnTo>
                    <a:lnTo>
                      <a:pt x="796" y="636"/>
                    </a:lnTo>
                    <a:lnTo>
                      <a:pt x="780" y="636"/>
                    </a:lnTo>
                    <a:lnTo>
                      <a:pt x="765" y="640"/>
                    </a:lnTo>
                    <a:lnTo>
                      <a:pt x="761" y="646"/>
                    </a:lnTo>
                    <a:lnTo>
                      <a:pt x="751" y="656"/>
                    </a:lnTo>
                    <a:lnTo>
                      <a:pt x="737" y="661"/>
                    </a:lnTo>
                    <a:lnTo>
                      <a:pt x="732" y="646"/>
                    </a:lnTo>
                    <a:lnTo>
                      <a:pt x="742" y="633"/>
                    </a:lnTo>
                    <a:lnTo>
                      <a:pt x="747" y="622"/>
                    </a:lnTo>
                    <a:lnTo>
                      <a:pt x="747" y="609"/>
                    </a:lnTo>
                    <a:lnTo>
                      <a:pt x="772" y="580"/>
                    </a:lnTo>
                    <a:lnTo>
                      <a:pt x="786" y="575"/>
                    </a:lnTo>
                    <a:lnTo>
                      <a:pt x="789" y="553"/>
                    </a:lnTo>
                    <a:lnTo>
                      <a:pt x="803" y="535"/>
                    </a:lnTo>
                    <a:lnTo>
                      <a:pt x="843" y="501"/>
                    </a:lnTo>
                    <a:lnTo>
                      <a:pt x="855" y="501"/>
                    </a:lnTo>
                    <a:lnTo>
                      <a:pt x="860" y="488"/>
                    </a:lnTo>
                    <a:lnTo>
                      <a:pt x="874" y="472"/>
                    </a:lnTo>
                    <a:lnTo>
                      <a:pt x="885" y="472"/>
                    </a:lnTo>
                    <a:lnTo>
                      <a:pt x="890" y="464"/>
                    </a:lnTo>
                    <a:lnTo>
                      <a:pt x="897" y="458"/>
                    </a:lnTo>
                    <a:lnTo>
                      <a:pt x="907" y="439"/>
                    </a:lnTo>
                    <a:lnTo>
                      <a:pt x="915" y="411"/>
                    </a:lnTo>
                    <a:lnTo>
                      <a:pt x="918" y="393"/>
                    </a:lnTo>
                    <a:lnTo>
                      <a:pt x="918" y="377"/>
                    </a:lnTo>
                    <a:lnTo>
                      <a:pt x="932" y="358"/>
                    </a:lnTo>
                    <a:lnTo>
                      <a:pt x="953" y="346"/>
                    </a:lnTo>
                    <a:lnTo>
                      <a:pt x="965" y="333"/>
                    </a:lnTo>
                    <a:lnTo>
                      <a:pt x="965" y="327"/>
                    </a:lnTo>
                    <a:lnTo>
                      <a:pt x="946" y="311"/>
                    </a:lnTo>
                    <a:lnTo>
                      <a:pt x="937" y="306"/>
                    </a:lnTo>
                    <a:lnTo>
                      <a:pt x="909" y="303"/>
                    </a:lnTo>
                    <a:lnTo>
                      <a:pt x="878" y="297"/>
                    </a:lnTo>
                    <a:lnTo>
                      <a:pt x="866" y="296"/>
                    </a:lnTo>
                    <a:lnTo>
                      <a:pt x="855" y="290"/>
                    </a:lnTo>
                    <a:lnTo>
                      <a:pt x="843" y="277"/>
                    </a:lnTo>
                    <a:lnTo>
                      <a:pt x="833" y="256"/>
                    </a:lnTo>
                    <a:lnTo>
                      <a:pt x="824" y="243"/>
                    </a:lnTo>
                    <a:lnTo>
                      <a:pt x="812" y="237"/>
                    </a:lnTo>
                    <a:lnTo>
                      <a:pt x="798" y="232"/>
                    </a:lnTo>
                    <a:lnTo>
                      <a:pt x="791" y="229"/>
                    </a:lnTo>
                    <a:lnTo>
                      <a:pt x="772" y="210"/>
                    </a:lnTo>
                    <a:lnTo>
                      <a:pt x="748" y="189"/>
                    </a:lnTo>
                    <a:lnTo>
                      <a:pt x="734" y="169"/>
                    </a:lnTo>
                    <a:lnTo>
                      <a:pt x="718" y="164"/>
                    </a:lnTo>
                    <a:lnTo>
                      <a:pt x="709" y="155"/>
                    </a:lnTo>
                    <a:lnTo>
                      <a:pt x="701" y="135"/>
                    </a:lnTo>
                    <a:lnTo>
                      <a:pt x="681" y="108"/>
                    </a:lnTo>
                    <a:lnTo>
                      <a:pt x="676" y="90"/>
                    </a:lnTo>
                    <a:lnTo>
                      <a:pt x="660" y="71"/>
                    </a:lnTo>
                    <a:lnTo>
                      <a:pt x="652" y="55"/>
                    </a:lnTo>
                    <a:lnTo>
                      <a:pt x="643" y="43"/>
                    </a:lnTo>
                    <a:lnTo>
                      <a:pt x="627" y="28"/>
                    </a:lnTo>
                    <a:lnTo>
                      <a:pt x="610" y="8"/>
                    </a:lnTo>
                    <a:lnTo>
                      <a:pt x="596" y="0"/>
                    </a:lnTo>
                    <a:lnTo>
                      <a:pt x="561" y="3"/>
                    </a:lnTo>
                    <a:lnTo>
                      <a:pt x="547" y="3"/>
                    </a:lnTo>
                    <a:lnTo>
                      <a:pt x="528" y="18"/>
                    </a:lnTo>
                    <a:lnTo>
                      <a:pt x="539" y="31"/>
                    </a:lnTo>
                    <a:lnTo>
                      <a:pt x="525" y="50"/>
                    </a:lnTo>
                    <a:lnTo>
                      <a:pt x="490" y="100"/>
                    </a:lnTo>
                    <a:lnTo>
                      <a:pt x="472" y="111"/>
                    </a:lnTo>
                    <a:lnTo>
                      <a:pt x="423" y="117"/>
                    </a:lnTo>
                    <a:lnTo>
                      <a:pt x="401" y="124"/>
                    </a:lnTo>
                    <a:lnTo>
                      <a:pt x="390" y="136"/>
                    </a:lnTo>
                    <a:lnTo>
                      <a:pt x="385" y="148"/>
                    </a:lnTo>
                    <a:lnTo>
                      <a:pt x="366" y="142"/>
                    </a:lnTo>
                    <a:lnTo>
                      <a:pt x="335" y="148"/>
                    </a:lnTo>
                    <a:lnTo>
                      <a:pt x="316" y="145"/>
                    </a:lnTo>
                    <a:lnTo>
                      <a:pt x="300" y="132"/>
                    </a:lnTo>
                    <a:lnTo>
                      <a:pt x="289" y="117"/>
                    </a:lnTo>
                    <a:lnTo>
                      <a:pt x="277" y="111"/>
                    </a:lnTo>
                    <a:lnTo>
                      <a:pt x="286" y="98"/>
                    </a:lnTo>
                    <a:lnTo>
                      <a:pt x="272" y="84"/>
                    </a:lnTo>
                    <a:lnTo>
                      <a:pt x="261" y="81"/>
                    </a:lnTo>
                    <a:lnTo>
                      <a:pt x="251" y="80"/>
                    </a:lnTo>
                    <a:lnTo>
                      <a:pt x="249" y="84"/>
                    </a:lnTo>
                    <a:lnTo>
                      <a:pt x="258" y="95"/>
                    </a:lnTo>
                    <a:lnTo>
                      <a:pt x="253" y="102"/>
                    </a:lnTo>
                    <a:lnTo>
                      <a:pt x="258" y="118"/>
                    </a:lnTo>
                    <a:lnTo>
                      <a:pt x="261" y="136"/>
                    </a:lnTo>
                    <a:lnTo>
                      <a:pt x="261" y="151"/>
                    </a:lnTo>
                    <a:lnTo>
                      <a:pt x="258" y="154"/>
                    </a:lnTo>
                    <a:lnTo>
                      <a:pt x="249" y="161"/>
                    </a:lnTo>
                    <a:lnTo>
                      <a:pt x="247" y="173"/>
                    </a:lnTo>
                    <a:lnTo>
                      <a:pt x="247" y="188"/>
                    </a:lnTo>
                    <a:lnTo>
                      <a:pt x="244" y="198"/>
                    </a:lnTo>
                    <a:lnTo>
                      <a:pt x="230" y="195"/>
                    </a:lnTo>
                    <a:lnTo>
                      <a:pt x="214" y="185"/>
                    </a:lnTo>
                    <a:lnTo>
                      <a:pt x="204" y="195"/>
                    </a:lnTo>
                    <a:lnTo>
                      <a:pt x="187" y="182"/>
                    </a:lnTo>
                    <a:lnTo>
                      <a:pt x="178" y="179"/>
                    </a:lnTo>
                    <a:lnTo>
                      <a:pt x="167" y="189"/>
                    </a:lnTo>
                    <a:lnTo>
                      <a:pt x="157" y="188"/>
                    </a:lnTo>
                    <a:lnTo>
                      <a:pt x="157" y="179"/>
                    </a:lnTo>
                    <a:lnTo>
                      <a:pt x="118" y="136"/>
                    </a:lnTo>
                    <a:lnTo>
                      <a:pt x="108" y="135"/>
                    </a:lnTo>
                    <a:lnTo>
                      <a:pt x="101" y="142"/>
                    </a:lnTo>
                    <a:lnTo>
                      <a:pt x="85" y="151"/>
                    </a:lnTo>
                    <a:lnTo>
                      <a:pt x="75" y="154"/>
                    </a:lnTo>
                    <a:lnTo>
                      <a:pt x="63" y="139"/>
                    </a:lnTo>
                    <a:lnTo>
                      <a:pt x="35" y="139"/>
                    </a:lnTo>
                    <a:lnTo>
                      <a:pt x="16" y="151"/>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4" name="GB"/>
            <p:cNvGrpSpPr/>
            <p:nvPr/>
          </p:nvGrpSpPr>
          <p:grpSpPr>
            <a:xfrm>
              <a:off x="4144882" y="2354268"/>
              <a:ext cx="849313" cy="1277938"/>
              <a:chOff x="1096963" y="2672443"/>
              <a:chExt cx="849312" cy="1277938"/>
            </a:xfrm>
            <a:solidFill>
              <a:schemeClr val="bg1">
                <a:lumMod val="95000"/>
              </a:schemeClr>
            </a:solidFill>
            <a:effectLst/>
          </p:grpSpPr>
          <p:sp>
            <p:nvSpPr>
              <p:cNvPr id="96" name="Freeform 568"/>
              <p:cNvSpPr>
                <a:spLocks noChangeAspect="1"/>
              </p:cNvSpPr>
              <p:nvPr/>
            </p:nvSpPr>
            <p:spPr bwMode="auto">
              <a:xfrm>
                <a:off x="1096963" y="2689817"/>
                <a:ext cx="849312" cy="1260564"/>
              </a:xfrm>
              <a:custGeom>
                <a:avLst/>
                <a:gdLst>
                  <a:gd name="T0" fmla="*/ 186 w 571"/>
                  <a:gd name="T1" fmla="*/ 731 h 1058"/>
                  <a:gd name="T2" fmla="*/ 123 w 571"/>
                  <a:gd name="T3" fmla="*/ 779 h 1058"/>
                  <a:gd name="T4" fmla="*/ 106 w 571"/>
                  <a:gd name="T5" fmla="*/ 823 h 1058"/>
                  <a:gd name="T6" fmla="*/ 143 w 571"/>
                  <a:gd name="T7" fmla="*/ 847 h 1058"/>
                  <a:gd name="T8" fmla="*/ 173 w 571"/>
                  <a:gd name="T9" fmla="*/ 863 h 1058"/>
                  <a:gd name="T10" fmla="*/ 228 w 571"/>
                  <a:gd name="T11" fmla="*/ 876 h 1058"/>
                  <a:gd name="T12" fmla="*/ 192 w 571"/>
                  <a:gd name="T13" fmla="*/ 924 h 1058"/>
                  <a:gd name="T14" fmla="*/ 110 w 571"/>
                  <a:gd name="T15" fmla="*/ 897 h 1058"/>
                  <a:gd name="T16" fmla="*/ 52 w 571"/>
                  <a:gd name="T17" fmla="*/ 953 h 1058"/>
                  <a:gd name="T18" fmla="*/ 3 w 571"/>
                  <a:gd name="T19" fmla="*/ 981 h 1058"/>
                  <a:gd name="T20" fmla="*/ 28 w 571"/>
                  <a:gd name="T21" fmla="*/ 1005 h 1058"/>
                  <a:gd name="T22" fmla="*/ 75 w 571"/>
                  <a:gd name="T23" fmla="*/ 997 h 1058"/>
                  <a:gd name="T24" fmla="*/ 139 w 571"/>
                  <a:gd name="T25" fmla="*/ 1027 h 1058"/>
                  <a:gd name="T26" fmla="*/ 187 w 571"/>
                  <a:gd name="T27" fmla="*/ 978 h 1058"/>
                  <a:gd name="T28" fmla="*/ 230 w 571"/>
                  <a:gd name="T29" fmla="*/ 1008 h 1058"/>
                  <a:gd name="T30" fmla="*/ 291 w 571"/>
                  <a:gd name="T31" fmla="*/ 1018 h 1058"/>
                  <a:gd name="T32" fmla="*/ 336 w 571"/>
                  <a:gd name="T33" fmla="*/ 1014 h 1058"/>
                  <a:gd name="T34" fmla="*/ 398 w 571"/>
                  <a:gd name="T35" fmla="*/ 1042 h 1058"/>
                  <a:gd name="T36" fmla="*/ 451 w 571"/>
                  <a:gd name="T37" fmla="*/ 1048 h 1058"/>
                  <a:gd name="T38" fmla="*/ 503 w 571"/>
                  <a:gd name="T39" fmla="*/ 1027 h 1058"/>
                  <a:gd name="T40" fmla="*/ 481 w 571"/>
                  <a:gd name="T41" fmla="*/ 978 h 1058"/>
                  <a:gd name="T42" fmla="*/ 484 w 571"/>
                  <a:gd name="T43" fmla="*/ 947 h 1058"/>
                  <a:gd name="T44" fmla="*/ 552 w 571"/>
                  <a:gd name="T45" fmla="*/ 897 h 1058"/>
                  <a:gd name="T46" fmla="*/ 571 w 571"/>
                  <a:gd name="T47" fmla="*/ 829 h 1058"/>
                  <a:gd name="T48" fmla="*/ 522 w 571"/>
                  <a:gd name="T49" fmla="*/ 792 h 1058"/>
                  <a:gd name="T50" fmla="*/ 486 w 571"/>
                  <a:gd name="T51" fmla="*/ 789 h 1058"/>
                  <a:gd name="T52" fmla="*/ 498 w 571"/>
                  <a:gd name="T53" fmla="*/ 724 h 1058"/>
                  <a:gd name="T54" fmla="*/ 498 w 571"/>
                  <a:gd name="T55" fmla="*/ 634 h 1058"/>
                  <a:gd name="T56" fmla="*/ 447 w 571"/>
                  <a:gd name="T57" fmla="*/ 532 h 1058"/>
                  <a:gd name="T58" fmla="*/ 447 w 571"/>
                  <a:gd name="T59" fmla="*/ 451 h 1058"/>
                  <a:gd name="T60" fmla="*/ 431 w 571"/>
                  <a:gd name="T61" fmla="*/ 387 h 1058"/>
                  <a:gd name="T62" fmla="*/ 376 w 571"/>
                  <a:gd name="T63" fmla="*/ 352 h 1058"/>
                  <a:gd name="T64" fmla="*/ 371 w 571"/>
                  <a:gd name="T65" fmla="*/ 327 h 1058"/>
                  <a:gd name="T66" fmla="*/ 418 w 571"/>
                  <a:gd name="T67" fmla="*/ 334 h 1058"/>
                  <a:gd name="T68" fmla="*/ 491 w 571"/>
                  <a:gd name="T69" fmla="*/ 234 h 1058"/>
                  <a:gd name="T70" fmla="*/ 486 w 571"/>
                  <a:gd name="T71" fmla="*/ 170 h 1058"/>
                  <a:gd name="T72" fmla="*/ 418 w 571"/>
                  <a:gd name="T73" fmla="*/ 139 h 1058"/>
                  <a:gd name="T74" fmla="*/ 381 w 571"/>
                  <a:gd name="T75" fmla="*/ 142 h 1058"/>
                  <a:gd name="T76" fmla="*/ 401 w 571"/>
                  <a:gd name="T77" fmla="*/ 102 h 1058"/>
                  <a:gd name="T78" fmla="*/ 475 w 571"/>
                  <a:gd name="T79" fmla="*/ 52 h 1058"/>
                  <a:gd name="T80" fmla="*/ 428 w 571"/>
                  <a:gd name="T81" fmla="*/ 18 h 1058"/>
                  <a:gd name="T82" fmla="*/ 351 w 571"/>
                  <a:gd name="T83" fmla="*/ 31 h 1058"/>
                  <a:gd name="T84" fmla="*/ 315 w 571"/>
                  <a:gd name="T85" fmla="*/ 68 h 1058"/>
                  <a:gd name="T86" fmla="*/ 291 w 571"/>
                  <a:gd name="T87" fmla="*/ 118 h 1058"/>
                  <a:gd name="T88" fmla="*/ 230 w 571"/>
                  <a:gd name="T89" fmla="*/ 203 h 1058"/>
                  <a:gd name="T90" fmla="*/ 270 w 571"/>
                  <a:gd name="T91" fmla="*/ 220 h 1058"/>
                  <a:gd name="T92" fmla="*/ 214 w 571"/>
                  <a:gd name="T93" fmla="*/ 327 h 1058"/>
                  <a:gd name="T94" fmla="*/ 233 w 571"/>
                  <a:gd name="T95" fmla="*/ 343 h 1058"/>
                  <a:gd name="T96" fmla="*/ 268 w 571"/>
                  <a:gd name="T97" fmla="*/ 365 h 1058"/>
                  <a:gd name="T98" fmla="*/ 228 w 571"/>
                  <a:gd name="T99" fmla="*/ 429 h 1058"/>
                  <a:gd name="T100" fmla="*/ 285 w 571"/>
                  <a:gd name="T101" fmla="*/ 471 h 1058"/>
                  <a:gd name="T102" fmla="*/ 319 w 571"/>
                  <a:gd name="T103" fmla="*/ 485 h 1058"/>
                  <a:gd name="T104" fmla="*/ 308 w 571"/>
                  <a:gd name="T105" fmla="*/ 576 h 1058"/>
                  <a:gd name="T106" fmla="*/ 305 w 571"/>
                  <a:gd name="T107" fmla="*/ 637 h 1058"/>
                  <a:gd name="T108" fmla="*/ 280 w 571"/>
                  <a:gd name="T109" fmla="*/ 66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1058">
                    <a:moveTo>
                      <a:pt x="171" y="678"/>
                    </a:moveTo>
                    <a:lnTo>
                      <a:pt x="198" y="705"/>
                    </a:lnTo>
                    <a:lnTo>
                      <a:pt x="186" y="731"/>
                    </a:lnTo>
                    <a:lnTo>
                      <a:pt x="170" y="752"/>
                    </a:lnTo>
                    <a:lnTo>
                      <a:pt x="143" y="766"/>
                    </a:lnTo>
                    <a:lnTo>
                      <a:pt x="123" y="779"/>
                    </a:lnTo>
                    <a:lnTo>
                      <a:pt x="101" y="782"/>
                    </a:lnTo>
                    <a:lnTo>
                      <a:pt x="90" y="792"/>
                    </a:lnTo>
                    <a:lnTo>
                      <a:pt x="106" y="823"/>
                    </a:lnTo>
                    <a:lnTo>
                      <a:pt x="132" y="823"/>
                    </a:lnTo>
                    <a:lnTo>
                      <a:pt x="143" y="826"/>
                    </a:lnTo>
                    <a:lnTo>
                      <a:pt x="143" y="847"/>
                    </a:lnTo>
                    <a:lnTo>
                      <a:pt x="157" y="847"/>
                    </a:lnTo>
                    <a:lnTo>
                      <a:pt x="167" y="842"/>
                    </a:lnTo>
                    <a:lnTo>
                      <a:pt x="173" y="863"/>
                    </a:lnTo>
                    <a:lnTo>
                      <a:pt x="187" y="882"/>
                    </a:lnTo>
                    <a:lnTo>
                      <a:pt x="211" y="882"/>
                    </a:lnTo>
                    <a:lnTo>
                      <a:pt x="228" y="876"/>
                    </a:lnTo>
                    <a:lnTo>
                      <a:pt x="242" y="882"/>
                    </a:lnTo>
                    <a:lnTo>
                      <a:pt x="206" y="916"/>
                    </a:lnTo>
                    <a:lnTo>
                      <a:pt x="192" y="924"/>
                    </a:lnTo>
                    <a:lnTo>
                      <a:pt x="173" y="916"/>
                    </a:lnTo>
                    <a:lnTo>
                      <a:pt x="132" y="897"/>
                    </a:lnTo>
                    <a:lnTo>
                      <a:pt x="110" y="897"/>
                    </a:lnTo>
                    <a:lnTo>
                      <a:pt x="91" y="916"/>
                    </a:lnTo>
                    <a:lnTo>
                      <a:pt x="66" y="940"/>
                    </a:lnTo>
                    <a:lnTo>
                      <a:pt x="52" y="953"/>
                    </a:lnTo>
                    <a:lnTo>
                      <a:pt x="35" y="958"/>
                    </a:lnTo>
                    <a:lnTo>
                      <a:pt x="16" y="968"/>
                    </a:lnTo>
                    <a:lnTo>
                      <a:pt x="3" y="981"/>
                    </a:lnTo>
                    <a:lnTo>
                      <a:pt x="0" y="990"/>
                    </a:lnTo>
                    <a:lnTo>
                      <a:pt x="16" y="993"/>
                    </a:lnTo>
                    <a:lnTo>
                      <a:pt x="28" y="1005"/>
                    </a:lnTo>
                    <a:lnTo>
                      <a:pt x="44" y="1014"/>
                    </a:lnTo>
                    <a:lnTo>
                      <a:pt x="61" y="1005"/>
                    </a:lnTo>
                    <a:lnTo>
                      <a:pt x="75" y="997"/>
                    </a:lnTo>
                    <a:lnTo>
                      <a:pt x="91" y="1000"/>
                    </a:lnTo>
                    <a:lnTo>
                      <a:pt x="115" y="1015"/>
                    </a:lnTo>
                    <a:lnTo>
                      <a:pt x="139" y="1027"/>
                    </a:lnTo>
                    <a:lnTo>
                      <a:pt x="155" y="1015"/>
                    </a:lnTo>
                    <a:lnTo>
                      <a:pt x="162" y="995"/>
                    </a:lnTo>
                    <a:lnTo>
                      <a:pt x="187" y="978"/>
                    </a:lnTo>
                    <a:lnTo>
                      <a:pt x="204" y="978"/>
                    </a:lnTo>
                    <a:lnTo>
                      <a:pt x="219" y="997"/>
                    </a:lnTo>
                    <a:lnTo>
                      <a:pt x="230" y="1008"/>
                    </a:lnTo>
                    <a:lnTo>
                      <a:pt x="249" y="1008"/>
                    </a:lnTo>
                    <a:lnTo>
                      <a:pt x="275" y="1011"/>
                    </a:lnTo>
                    <a:lnTo>
                      <a:pt x="291" y="1018"/>
                    </a:lnTo>
                    <a:lnTo>
                      <a:pt x="308" y="1005"/>
                    </a:lnTo>
                    <a:lnTo>
                      <a:pt x="322" y="1005"/>
                    </a:lnTo>
                    <a:lnTo>
                      <a:pt x="336" y="1014"/>
                    </a:lnTo>
                    <a:lnTo>
                      <a:pt x="352" y="1034"/>
                    </a:lnTo>
                    <a:lnTo>
                      <a:pt x="374" y="1037"/>
                    </a:lnTo>
                    <a:lnTo>
                      <a:pt x="398" y="1042"/>
                    </a:lnTo>
                    <a:lnTo>
                      <a:pt x="414" y="1052"/>
                    </a:lnTo>
                    <a:lnTo>
                      <a:pt x="434" y="1058"/>
                    </a:lnTo>
                    <a:lnTo>
                      <a:pt x="451" y="1048"/>
                    </a:lnTo>
                    <a:lnTo>
                      <a:pt x="472" y="1034"/>
                    </a:lnTo>
                    <a:lnTo>
                      <a:pt x="486" y="1031"/>
                    </a:lnTo>
                    <a:lnTo>
                      <a:pt x="503" y="1027"/>
                    </a:lnTo>
                    <a:lnTo>
                      <a:pt x="519" y="1011"/>
                    </a:lnTo>
                    <a:lnTo>
                      <a:pt x="508" y="995"/>
                    </a:lnTo>
                    <a:lnTo>
                      <a:pt x="481" y="978"/>
                    </a:lnTo>
                    <a:lnTo>
                      <a:pt x="472" y="968"/>
                    </a:lnTo>
                    <a:lnTo>
                      <a:pt x="472" y="958"/>
                    </a:lnTo>
                    <a:lnTo>
                      <a:pt x="484" y="947"/>
                    </a:lnTo>
                    <a:lnTo>
                      <a:pt x="503" y="944"/>
                    </a:lnTo>
                    <a:lnTo>
                      <a:pt x="522" y="934"/>
                    </a:lnTo>
                    <a:lnTo>
                      <a:pt x="552" y="897"/>
                    </a:lnTo>
                    <a:lnTo>
                      <a:pt x="566" y="879"/>
                    </a:lnTo>
                    <a:lnTo>
                      <a:pt x="571" y="847"/>
                    </a:lnTo>
                    <a:lnTo>
                      <a:pt x="571" y="829"/>
                    </a:lnTo>
                    <a:lnTo>
                      <a:pt x="557" y="816"/>
                    </a:lnTo>
                    <a:lnTo>
                      <a:pt x="538" y="801"/>
                    </a:lnTo>
                    <a:lnTo>
                      <a:pt x="522" y="792"/>
                    </a:lnTo>
                    <a:lnTo>
                      <a:pt x="503" y="795"/>
                    </a:lnTo>
                    <a:lnTo>
                      <a:pt x="491" y="802"/>
                    </a:lnTo>
                    <a:lnTo>
                      <a:pt x="486" y="789"/>
                    </a:lnTo>
                    <a:lnTo>
                      <a:pt x="496" y="768"/>
                    </a:lnTo>
                    <a:lnTo>
                      <a:pt x="500" y="752"/>
                    </a:lnTo>
                    <a:lnTo>
                      <a:pt x="498" y="724"/>
                    </a:lnTo>
                    <a:lnTo>
                      <a:pt x="496" y="684"/>
                    </a:lnTo>
                    <a:lnTo>
                      <a:pt x="503" y="653"/>
                    </a:lnTo>
                    <a:lnTo>
                      <a:pt x="498" y="634"/>
                    </a:lnTo>
                    <a:lnTo>
                      <a:pt x="486" y="613"/>
                    </a:lnTo>
                    <a:lnTo>
                      <a:pt x="458" y="557"/>
                    </a:lnTo>
                    <a:lnTo>
                      <a:pt x="447" y="532"/>
                    </a:lnTo>
                    <a:lnTo>
                      <a:pt x="442" y="500"/>
                    </a:lnTo>
                    <a:lnTo>
                      <a:pt x="439" y="482"/>
                    </a:lnTo>
                    <a:lnTo>
                      <a:pt x="447" y="451"/>
                    </a:lnTo>
                    <a:lnTo>
                      <a:pt x="447" y="426"/>
                    </a:lnTo>
                    <a:lnTo>
                      <a:pt x="442" y="399"/>
                    </a:lnTo>
                    <a:lnTo>
                      <a:pt x="431" y="387"/>
                    </a:lnTo>
                    <a:lnTo>
                      <a:pt x="409" y="362"/>
                    </a:lnTo>
                    <a:lnTo>
                      <a:pt x="393" y="355"/>
                    </a:lnTo>
                    <a:lnTo>
                      <a:pt x="376" y="352"/>
                    </a:lnTo>
                    <a:lnTo>
                      <a:pt x="365" y="350"/>
                    </a:lnTo>
                    <a:lnTo>
                      <a:pt x="365" y="337"/>
                    </a:lnTo>
                    <a:lnTo>
                      <a:pt x="371" y="327"/>
                    </a:lnTo>
                    <a:lnTo>
                      <a:pt x="390" y="324"/>
                    </a:lnTo>
                    <a:lnTo>
                      <a:pt x="407" y="331"/>
                    </a:lnTo>
                    <a:lnTo>
                      <a:pt x="418" y="334"/>
                    </a:lnTo>
                    <a:lnTo>
                      <a:pt x="426" y="321"/>
                    </a:lnTo>
                    <a:lnTo>
                      <a:pt x="423" y="306"/>
                    </a:lnTo>
                    <a:lnTo>
                      <a:pt x="491" y="234"/>
                    </a:lnTo>
                    <a:lnTo>
                      <a:pt x="503" y="219"/>
                    </a:lnTo>
                    <a:lnTo>
                      <a:pt x="503" y="186"/>
                    </a:lnTo>
                    <a:lnTo>
                      <a:pt x="486" y="170"/>
                    </a:lnTo>
                    <a:lnTo>
                      <a:pt x="467" y="168"/>
                    </a:lnTo>
                    <a:lnTo>
                      <a:pt x="451" y="139"/>
                    </a:lnTo>
                    <a:lnTo>
                      <a:pt x="418" y="139"/>
                    </a:lnTo>
                    <a:lnTo>
                      <a:pt x="418" y="139"/>
                    </a:lnTo>
                    <a:lnTo>
                      <a:pt x="388" y="145"/>
                    </a:lnTo>
                    <a:lnTo>
                      <a:pt x="381" y="142"/>
                    </a:lnTo>
                    <a:lnTo>
                      <a:pt x="374" y="129"/>
                    </a:lnTo>
                    <a:lnTo>
                      <a:pt x="388" y="118"/>
                    </a:lnTo>
                    <a:lnTo>
                      <a:pt x="401" y="102"/>
                    </a:lnTo>
                    <a:lnTo>
                      <a:pt x="431" y="74"/>
                    </a:lnTo>
                    <a:lnTo>
                      <a:pt x="453" y="71"/>
                    </a:lnTo>
                    <a:lnTo>
                      <a:pt x="475" y="52"/>
                    </a:lnTo>
                    <a:lnTo>
                      <a:pt x="496" y="34"/>
                    </a:lnTo>
                    <a:lnTo>
                      <a:pt x="448" y="21"/>
                    </a:lnTo>
                    <a:lnTo>
                      <a:pt x="428" y="18"/>
                    </a:lnTo>
                    <a:lnTo>
                      <a:pt x="404" y="15"/>
                    </a:lnTo>
                    <a:lnTo>
                      <a:pt x="376" y="0"/>
                    </a:lnTo>
                    <a:lnTo>
                      <a:pt x="351" y="31"/>
                    </a:lnTo>
                    <a:lnTo>
                      <a:pt x="352" y="47"/>
                    </a:lnTo>
                    <a:lnTo>
                      <a:pt x="338" y="52"/>
                    </a:lnTo>
                    <a:lnTo>
                      <a:pt x="315" y="68"/>
                    </a:lnTo>
                    <a:lnTo>
                      <a:pt x="294" y="77"/>
                    </a:lnTo>
                    <a:lnTo>
                      <a:pt x="294" y="99"/>
                    </a:lnTo>
                    <a:lnTo>
                      <a:pt x="291" y="118"/>
                    </a:lnTo>
                    <a:lnTo>
                      <a:pt x="272" y="148"/>
                    </a:lnTo>
                    <a:lnTo>
                      <a:pt x="242" y="185"/>
                    </a:lnTo>
                    <a:lnTo>
                      <a:pt x="230" y="203"/>
                    </a:lnTo>
                    <a:lnTo>
                      <a:pt x="237" y="216"/>
                    </a:lnTo>
                    <a:lnTo>
                      <a:pt x="268" y="213"/>
                    </a:lnTo>
                    <a:lnTo>
                      <a:pt x="270" y="220"/>
                    </a:lnTo>
                    <a:lnTo>
                      <a:pt x="270" y="234"/>
                    </a:lnTo>
                    <a:lnTo>
                      <a:pt x="228" y="294"/>
                    </a:lnTo>
                    <a:lnTo>
                      <a:pt x="214" y="327"/>
                    </a:lnTo>
                    <a:lnTo>
                      <a:pt x="204" y="355"/>
                    </a:lnTo>
                    <a:lnTo>
                      <a:pt x="214" y="368"/>
                    </a:lnTo>
                    <a:lnTo>
                      <a:pt x="233" y="343"/>
                    </a:lnTo>
                    <a:lnTo>
                      <a:pt x="252" y="313"/>
                    </a:lnTo>
                    <a:lnTo>
                      <a:pt x="266" y="321"/>
                    </a:lnTo>
                    <a:lnTo>
                      <a:pt x="268" y="365"/>
                    </a:lnTo>
                    <a:lnTo>
                      <a:pt x="270" y="395"/>
                    </a:lnTo>
                    <a:lnTo>
                      <a:pt x="244" y="411"/>
                    </a:lnTo>
                    <a:lnTo>
                      <a:pt x="228" y="429"/>
                    </a:lnTo>
                    <a:lnTo>
                      <a:pt x="223" y="445"/>
                    </a:lnTo>
                    <a:lnTo>
                      <a:pt x="256" y="476"/>
                    </a:lnTo>
                    <a:lnTo>
                      <a:pt x="285" y="471"/>
                    </a:lnTo>
                    <a:lnTo>
                      <a:pt x="291" y="489"/>
                    </a:lnTo>
                    <a:lnTo>
                      <a:pt x="322" y="468"/>
                    </a:lnTo>
                    <a:lnTo>
                      <a:pt x="319" y="485"/>
                    </a:lnTo>
                    <a:lnTo>
                      <a:pt x="294" y="519"/>
                    </a:lnTo>
                    <a:lnTo>
                      <a:pt x="305" y="556"/>
                    </a:lnTo>
                    <a:lnTo>
                      <a:pt x="308" y="576"/>
                    </a:lnTo>
                    <a:lnTo>
                      <a:pt x="334" y="579"/>
                    </a:lnTo>
                    <a:lnTo>
                      <a:pt x="336" y="597"/>
                    </a:lnTo>
                    <a:lnTo>
                      <a:pt x="305" y="637"/>
                    </a:lnTo>
                    <a:lnTo>
                      <a:pt x="294" y="631"/>
                    </a:lnTo>
                    <a:lnTo>
                      <a:pt x="282" y="644"/>
                    </a:lnTo>
                    <a:lnTo>
                      <a:pt x="280" y="665"/>
                    </a:lnTo>
                    <a:lnTo>
                      <a:pt x="249" y="647"/>
                    </a:lnTo>
                    <a:lnTo>
                      <a:pt x="171" y="678"/>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7" name="Freeform 569"/>
              <p:cNvSpPr>
                <a:spLocks noChangeAspect="1"/>
              </p:cNvSpPr>
              <p:nvPr/>
            </p:nvSpPr>
            <p:spPr bwMode="auto">
              <a:xfrm>
                <a:off x="1406995" y="3301760"/>
                <a:ext cx="67683" cy="42469"/>
              </a:xfrm>
              <a:custGeom>
                <a:avLst/>
                <a:gdLst>
                  <a:gd name="T0" fmla="*/ 24 w 47"/>
                  <a:gd name="T1" fmla="*/ 0 h 39"/>
                  <a:gd name="T2" fmla="*/ 45 w 47"/>
                  <a:gd name="T3" fmla="*/ 3 h 39"/>
                  <a:gd name="T4" fmla="*/ 47 w 47"/>
                  <a:gd name="T5" fmla="*/ 17 h 39"/>
                  <a:gd name="T6" fmla="*/ 26 w 47"/>
                  <a:gd name="T7" fmla="*/ 33 h 39"/>
                  <a:gd name="T8" fmla="*/ 3 w 47"/>
                  <a:gd name="T9" fmla="*/ 39 h 39"/>
                  <a:gd name="T10" fmla="*/ 0 w 47"/>
                  <a:gd name="T11" fmla="*/ 22 h 39"/>
                  <a:gd name="T12" fmla="*/ 24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4" y="0"/>
                    </a:moveTo>
                    <a:lnTo>
                      <a:pt x="45" y="3"/>
                    </a:lnTo>
                    <a:lnTo>
                      <a:pt x="47" y="17"/>
                    </a:lnTo>
                    <a:lnTo>
                      <a:pt x="26" y="33"/>
                    </a:lnTo>
                    <a:lnTo>
                      <a:pt x="3" y="39"/>
                    </a:lnTo>
                    <a:lnTo>
                      <a:pt x="0" y="22"/>
                    </a:lnTo>
                    <a:lnTo>
                      <a:pt x="24"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8" name="Freeform 570"/>
              <p:cNvSpPr>
                <a:spLocks noChangeAspect="1"/>
              </p:cNvSpPr>
              <p:nvPr/>
            </p:nvSpPr>
            <p:spPr bwMode="auto">
              <a:xfrm>
                <a:off x="1358962" y="3006406"/>
                <a:ext cx="67683" cy="42469"/>
              </a:xfrm>
              <a:custGeom>
                <a:avLst/>
                <a:gdLst>
                  <a:gd name="T0" fmla="*/ 40 w 47"/>
                  <a:gd name="T1" fmla="*/ 0 h 39"/>
                  <a:gd name="T2" fmla="*/ 47 w 47"/>
                  <a:gd name="T3" fmla="*/ 19 h 39"/>
                  <a:gd name="T4" fmla="*/ 25 w 47"/>
                  <a:gd name="T5" fmla="*/ 33 h 39"/>
                  <a:gd name="T6" fmla="*/ 6 w 47"/>
                  <a:gd name="T7" fmla="*/ 39 h 39"/>
                  <a:gd name="T8" fmla="*/ 0 w 47"/>
                  <a:gd name="T9" fmla="*/ 20 h 39"/>
                  <a:gd name="T10" fmla="*/ 9 w 47"/>
                  <a:gd name="T11" fmla="*/ 7 h 39"/>
                  <a:gd name="T12" fmla="*/ 40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40" y="0"/>
                    </a:moveTo>
                    <a:lnTo>
                      <a:pt x="47" y="19"/>
                    </a:lnTo>
                    <a:lnTo>
                      <a:pt x="25" y="33"/>
                    </a:lnTo>
                    <a:lnTo>
                      <a:pt x="6" y="39"/>
                    </a:lnTo>
                    <a:lnTo>
                      <a:pt x="0" y="20"/>
                    </a:lnTo>
                    <a:lnTo>
                      <a:pt x="9" y="7"/>
                    </a:lnTo>
                    <a:lnTo>
                      <a:pt x="4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9" name="Freeform 571"/>
              <p:cNvSpPr>
                <a:spLocks noChangeAspect="1"/>
              </p:cNvSpPr>
              <p:nvPr/>
            </p:nvSpPr>
            <p:spPr bwMode="auto">
              <a:xfrm>
                <a:off x="1459394" y="2772825"/>
                <a:ext cx="37116" cy="88799"/>
              </a:xfrm>
              <a:custGeom>
                <a:avLst/>
                <a:gdLst>
                  <a:gd name="T0" fmla="*/ 11 w 25"/>
                  <a:gd name="T1" fmla="*/ 74 h 74"/>
                  <a:gd name="T2" fmla="*/ 25 w 25"/>
                  <a:gd name="T3" fmla="*/ 55 h 74"/>
                  <a:gd name="T4" fmla="*/ 20 w 25"/>
                  <a:gd name="T5" fmla="*/ 31 h 74"/>
                  <a:gd name="T6" fmla="*/ 16 w 25"/>
                  <a:gd name="T7" fmla="*/ 18 h 74"/>
                  <a:gd name="T8" fmla="*/ 11 w 25"/>
                  <a:gd name="T9" fmla="*/ 0 h 74"/>
                  <a:gd name="T10" fmla="*/ 0 w 25"/>
                  <a:gd name="T11" fmla="*/ 8 h 74"/>
                  <a:gd name="T12" fmla="*/ 6 w 25"/>
                  <a:gd name="T13" fmla="*/ 34 h 74"/>
                  <a:gd name="T14" fmla="*/ 11 w 25"/>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4">
                    <a:moveTo>
                      <a:pt x="11" y="74"/>
                    </a:moveTo>
                    <a:lnTo>
                      <a:pt x="25" y="55"/>
                    </a:lnTo>
                    <a:lnTo>
                      <a:pt x="20" y="31"/>
                    </a:lnTo>
                    <a:lnTo>
                      <a:pt x="16" y="18"/>
                    </a:lnTo>
                    <a:lnTo>
                      <a:pt x="11" y="0"/>
                    </a:lnTo>
                    <a:lnTo>
                      <a:pt x="0" y="8"/>
                    </a:lnTo>
                    <a:lnTo>
                      <a:pt x="6" y="34"/>
                    </a:lnTo>
                    <a:lnTo>
                      <a:pt x="11" y="7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0" name="Freeform 572"/>
              <p:cNvSpPr>
                <a:spLocks noChangeAspect="1"/>
              </p:cNvSpPr>
              <p:nvPr/>
            </p:nvSpPr>
            <p:spPr bwMode="auto">
              <a:xfrm>
                <a:off x="1452844" y="2672443"/>
                <a:ext cx="96066" cy="63704"/>
              </a:xfrm>
              <a:custGeom>
                <a:avLst/>
                <a:gdLst>
                  <a:gd name="T0" fmla="*/ 56 w 63"/>
                  <a:gd name="T1" fmla="*/ 0 h 53"/>
                  <a:gd name="T2" fmla="*/ 63 w 63"/>
                  <a:gd name="T3" fmla="*/ 13 h 53"/>
                  <a:gd name="T4" fmla="*/ 39 w 63"/>
                  <a:gd name="T5" fmla="*/ 28 h 53"/>
                  <a:gd name="T6" fmla="*/ 16 w 63"/>
                  <a:gd name="T7" fmla="*/ 53 h 53"/>
                  <a:gd name="T8" fmla="*/ 2 w 63"/>
                  <a:gd name="T9" fmla="*/ 47 h 53"/>
                  <a:gd name="T10" fmla="*/ 0 w 63"/>
                  <a:gd name="T11" fmla="*/ 18 h 53"/>
                  <a:gd name="T12" fmla="*/ 0 w 63"/>
                  <a:gd name="T13" fmla="*/ 8 h 53"/>
                  <a:gd name="T14" fmla="*/ 38 w 63"/>
                  <a:gd name="T15" fmla="*/ 0 h 53"/>
                  <a:gd name="T16" fmla="*/ 56 w 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3">
                    <a:moveTo>
                      <a:pt x="56" y="0"/>
                    </a:moveTo>
                    <a:lnTo>
                      <a:pt x="63" y="13"/>
                    </a:lnTo>
                    <a:lnTo>
                      <a:pt x="39" y="28"/>
                    </a:lnTo>
                    <a:lnTo>
                      <a:pt x="16" y="53"/>
                    </a:lnTo>
                    <a:lnTo>
                      <a:pt x="2" y="47"/>
                    </a:lnTo>
                    <a:lnTo>
                      <a:pt x="0" y="18"/>
                    </a:lnTo>
                    <a:lnTo>
                      <a:pt x="0" y="8"/>
                    </a:lnTo>
                    <a:lnTo>
                      <a:pt x="38" y="0"/>
                    </a:lnTo>
                    <a:lnTo>
                      <a:pt x="56" y="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5" name="PL"/>
            <p:cNvSpPr>
              <a:spLocks noChangeAspect="1"/>
            </p:cNvSpPr>
            <p:nvPr/>
          </p:nvSpPr>
          <p:spPr bwMode="auto">
            <a:xfrm>
              <a:off x="6248400" y="3259138"/>
              <a:ext cx="1028700" cy="876300"/>
            </a:xfrm>
            <a:custGeom>
              <a:avLst/>
              <a:gdLst>
                <a:gd name="T0" fmla="*/ 14 w 697"/>
                <a:gd name="T1" fmla="*/ 185 h 735"/>
                <a:gd name="T2" fmla="*/ 0 w 697"/>
                <a:gd name="T3" fmla="*/ 235 h 735"/>
                <a:gd name="T4" fmla="*/ 31 w 697"/>
                <a:gd name="T5" fmla="*/ 282 h 735"/>
                <a:gd name="T6" fmla="*/ 25 w 697"/>
                <a:gd name="T7" fmla="*/ 322 h 735"/>
                <a:gd name="T8" fmla="*/ 38 w 697"/>
                <a:gd name="T9" fmla="*/ 356 h 735"/>
                <a:gd name="T10" fmla="*/ 47 w 697"/>
                <a:gd name="T11" fmla="*/ 423 h 735"/>
                <a:gd name="T12" fmla="*/ 50 w 697"/>
                <a:gd name="T13" fmla="*/ 448 h 735"/>
                <a:gd name="T14" fmla="*/ 42 w 697"/>
                <a:gd name="T15" fmla="*/ 472 h 735"/>
                <a:gd name="T16" fmla="*/ 61 w 697"/>
                <a:gd name="T17" fmla="*/ 485 h 735"/>
                <a:gd name="T18" fmla="*/ 80 w 697"/>
                <a:gd name="T19" fmla="*/ 501 h 735"/>
                <a:gd name="T20" fmla="*/ 99 w 697"/>
                <a:gd name="T21" fmla="*/ 541 h 735"/>
                <a:gd name="T22" fmla="*/ 119 w 697"/>
                <a:gd name="T23" fmla="*/ 568 h 735"/>
                <a:gd name="T24" fmla="*/ 160 w 697"/>
                <a:gd name="T25" fmla="*/ 580 h 735"/>
                <a:gd name="T26" fmla="*/ 188 w 697"/>
                <a:gd name="T27" fmla="*/ 578 h 735"/>
                <a:gd name="T28" fmla="*/ 228 w 697"/>
                <a:gd name="T29" fmla="*/ 620 h 735"/>
                <a:gd name="T30" fmla="*/ 276 w 697"/>
                <a:gd name="T31" fmla="*/ 643 h 735"/>
                <a:gd name="T32" fmla="*/ 312 w 697"/>
                <a:gd name="T33" fmla="*/ 636 h 735"/>
                <a:gd name="T34" fmla="*/ 350 w 697"/>
                <a:gd name="T35" fmla="*/ 664 h 735"/>
                <a:gd name="T36" fmla="*/ 369 w 697"/>
                <a:gd name="T37" fmla="*/ 667 h 735"/>
                <a:gd name="T38" fmla="*/ 397 w 697"/>
                <a:gd name="T39" fmla="*/ 680 h 735"/>
                <a:gd name="T40" fmla="*/ 429 w 697"/>
                <a:gd name="T41" fmla="*/ 707 h 735"/>
                <a:gd name="T42" fmla="*/ 457 w 697"/>
                <a:gd name="T43" fmla="*/ 711 h 735"/>
                <a:gd name="T44" fmla="*/ 479 w 697"/>
                <a:gd name="T45" fmla="*/ 696 h 735"/>
                <a:gd name="T46" fmla="*/ 609 w 697"/>
                <a:gd name="T47" fmla="*/ 735 h 735"/>
                <a:gd name="T48" fmla="*/ 614 w 697"/>
                <a:gd name="T49" fmla="*/ 696 h 735"/>
                <a:gd name="T50" fmla="*/ 678 w 697"/>
                <a:gd name="T51" fmla="*/ 580 h 735"/>
                <a:gd name="T52" fmla="*/ 697 w 697"/>
                <a:gd name="T53" fmla="*/ 532 h 735"/>
                <a:gd name="T54" fmla="*/ 673 w 697"/>
                <a:gd name="T55" fmla="*/ 461 h 735"/>
                <a:gd name="T56" fmla="*/ 638 w 697"/>
                <a:gd name="T57" fmla="*/ 408 h 735"/>
                <a:gd name="T58" fmla="*/ 638 w 697"/>
                <a:gd name="T59" fmla="*/ 361 h 735"/>
                <a:gd name="T60" fmla="*/ 636 w 697"/>
                <a:gd name="T61" fmla="*/ 322 h 735"/>
                <a:gd name="T62" fmla="*/ 636 w 697"/>
                <a:gd name="T63" fmla="*/ 296 h 735"/>
                <a:gd name="T64" fmla="*/ 661 w 697"/>
                <a:gd name="T65" fmla="*/ 259 h 735"/>
                <a:gd name="T66" fmla="*/ 650 w 697"/>
                <a:gd name="T67" fmla="*/ 182 h 735"/>
                <a:gd name="T68" fmla="*/ 642 w 697"/>
                <a:gd name="T69" fmla="*/ 129 h 735"/>
                <a:gd name="T70" fmla="*/ 609 w 697"/>
                <a:gd name="T71" fmla="*/ 84 h 735"/>
                <a:gd name="T72" fmla="*/ 528 w 697"/>
                <a:gd name="T73" fmla="*/ 80 h 735"/>
                <a:gd name="T74" fmla="*/ 435 w 697"/>
                <a:gd name="T75" fmla="*/ 71 h 735"/>
                <a:gd name="T76" fmla="*/ 385 w 697"/>
                <a:gd name="T77" fmla="*/ 56 h 735"/>
                <a:gd name="T78" fmla="*/ 355 w 697"/>
                <a:gd name="T79" fmla="*/ 74 h 735"/>
                <a:gd name="T80" fmla="*/ 326 w 697"/>
                <a:gd name="T81" fmla="*/ 53 h 735"/>
                <a:gd name="T82" fmla="*/ 303 w 697"/>
                <a:gd name="T83" fmla="*/ 46 h 735"/>
                <a:gd name="T84" fmla="*/ 276 w 697"/>
                <a:gd name="T85" fmla="*/ 3 h 735"/>
                <a:gd name="T86" fmla="*/ 232 w 697"/>
                <a:gd name="T87" fmla="*/ 9 h 735"/>
                <a:gd name="T88" fmla="*/ 190 w 697"/>
                <a:gd name="T89" fmla="*/ 28 h 735"/>
                <a:gd name="T90" fmla="*/ 124 w 697"/>
                <a:gd name="T91" fmla="*/ 61 h 735"/>
                <a:gd name="T92" fmla="*/ 66 w 697"/>
                <a:gd name="T93" fmla="*/ 90 h 735"/>
                <a:gd name="T94" fmla="*/ 31 w 697"/>
                <a:gd name="T95" fmla="*/ 12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7" h="735">
                  <a:moveTo>
                    <a:pt x="17" y="139"/>
                  </a:moveTo>
                  <a:lnTo>
                    <a:pt x="14" y="185"/>
                  </a:lnTo>
                  <a:lnTo>
                    <a:pt x="14" y="213"/>
                  </a:lnTo>
                  <a:lnTo>
                    <a:pt x="0" y="235"/>
                  </a:lnTo>
                  <a:lnTo>
                    <a:pt x="28" y="272"/>
                  </a:lnTo>
                  <a:lnTo>
                    <a:pt x="31" y="282"/>
                  </a:lnTo>
                  <a:lnTo>
                    <a:pt x="24" y="306"/>
                  </a:lnTo>
                  <a:lnTo>
                    <a:pt x="25" y="322"/>
                  </a:lnTo>
                  <a:lnTo>
                    <a:pt x="39" y="343"/>
                  </a:lnTo>
                  <a:lnTo>
                    <a:pt x="38" y="356"/>
                  </a:lnTo>
                  <a:lnTo>
                    <a:pt x="36" y="395"/>
                  </a:lnTo>
                  <a:lnTo>
                    <a:pt x="47" y="423"/>
                  </a:lnTo>
                  <a:lnTo>
                    <a:pt x="56" y="438"/>
                  </a:lnTo>
                  <a:lnTo>
                    <a:pt x="50" y="448"/>
                  </a:lnTo>
                  <a:lnTo>
                    <a:pt x="50" y="464"/>
                  </a:lnTo>
                  <a:lnTo>
                    <a:pt x="42" y="472"/>
                  </a:lnTo>
                  <a:lnTo>
                    <a:pt x="42" y="482"/>
                  </a:lnTo>
                  <a:lnTo>
                    <a:pt x="61" y="485"/>
                  </a:lnTo>
                  <a:lnTo>
                    <a:pt x="75" y="491"/>
                  </a:lnTo>
                  <a:lnTo>
                    <a:pt x="80" y="501"/>
                  </a:lnTo>
                  <a:lnTo>
                    <a:pt x="80" y="519"/>
                  </a:lnTo>
                  <a:lnTo>
                    <a:pt x="99" y="541"/>
                  </a:lnTo>
                  <a:lnTo>
                    <a:pt x="115" y="549"/>
                  </a:lnTo>
                  <a:lnTo>
                    <a:pt x="119" y="568"/>
                  </a:lnTo>
                  <a:lnTo>
                    <a:pt x="141" y="599"/>
                  </a:lnTo>
                  <a:lnTo>
                    <a:pt x="160" y="580"/>
                  </a:lnTo>
                  <a:lnTo>
                    <a:pt x="176" y="575"/>
                  </a:lnTo>
                  <a:lnTo>
                    <a:pt x="188" y="578"/>
                  </a:lnTo>
                  <a:lnTo>
                    <a:pt x="220" y="617"/>
                  </a:lnTo>
                  <a:lnTo>
                    <a:pt x="228" y="620"/>
                  </a:lnTo>
                  <a:lnTo>
                    <a:pt x="267" y="640"/>
                  </a:lnTo>
                  <a:lnTo>
                    <a:pt x="276" y="643"/>
                  </a:lnTo>
                  <a:lnTo>
                    <a:pt x="293" y="639"/>
                  </a:lnTo>
                  <a:lnTo>
                    <a:pt x="312" y="636"/>
                  </a:lnTo>
                  <a:lnTo>
                    <a:pt x="328" y="643"/>
                  </a:lnTo>
                  <a:lnTo>
                    <a:pt x="350" y="664"/>
                  </a:lnTo>
                  <a:lnTo>
                    <a:pt x="359" y="676"/>
                  </a:lnTo>
                  <a:lnTo>
                    <a:pt x="369" y="667"/>
                  </a:lnTo>
                  <a:lnTo>
                    <a:pt x="380" y="664"/>
                  </a:lnTo>
                  <a:lnTo>
                    <a:pt x="397" y="680"/>
                  </a:lnTo>
                  <a:lnTo>
                    <a:pt x="416" y="696"/>
                  </a:lnTo>
                  <a:lnTo>
                    <a:pt x="429" y="707"/>
                  </a:lnTo>
                  <a:lnTo>
                    <a:pt x="448" y="714"/>
                  </a:lnTo>
                  <a:lnTo>
                    <a:pt x="457" y="711"/>
                  </a:lnTo>
                  <a:lnTo>
                    <a:pt x="466" y="701"/>
                  </a:lnTo>
                  <a:lnTo>
                    <a:pt x="479" y="696"/>
                  </a:lnTo>
                  <a:lnTo>
                    <a:pt x="502" y="704"/>
                  </a:lnTo>
                  <a:lnTo>
                    <a:pt x="609" y="735"/>
                  </a:lnTo>
                  <a:lnTo>
                    <a:pt x="626" y="720"/>
                  </a:lnTo>
                  <a:lnTo>
                    <a:pt x="614" y="696"/>
                  </a:lnTo>
                  <a:lnTo>
                    <a:pt x="603" y="657"/>
                  </a:lnTo>
                  <a:lnTo>
                    <a:pt x="678" y="580"/>
                  </a:lnTo>
                  <a:lnTo>
                    <a:pt x="692" y="562"/>
                  </a:lnTo>
                  <a:lnTo>
                    <a:pt x="697" y="532"/>
                  </a:lnTo>
                  <a:lnTo>
                    <a:pt x="685" y="494"/>
                  </a:lnTo>
                  <a:lnTo>
                    <a:pt x="673" y="461"/>
                  </a:lnTo>
                  <a:lnTo>
                    <a:pt x="652" y="424"/>
                  </a:lnTo>
                  <a:lnTo>
                    <a:pt x="638" y="408"/>
                  </a:lnTo>
                  <a:lnTo>
                    <a:pt x="636" y="386"/>
                  </a:lnTo>
                  <a:lnTo>
                    <a:pt x="638" y="361"/>
                  </a:lnTo>
                  <a:lnTo>
                    <a:pt x="645" y="337"/>
                  </a:lnTo>
                  <a:lnTo>
                    <a:pt x="636" y="322"/>
                  </a:lnTo>
                  <a:lnTo>
                    <a:pt x="624" y="312"/>
                  </a:lnTo>
                  <a:lnTo>
                    <a:pt x="636" y="296"/>
                  </a:lnTo>
                  <a:lnTo>
                    <a:pt x="655" y="266"/>
                  </a:lnTo>
                  <a:lnTo>
                    <a:pt x="661" y="259"/>
                  </a:lnTo>
                  <a:lnTo>
                    <a:pt x="657" y="208"/>
                  </a:lnTo>
                  <a:lnTo>
                    <a:pt x="650" y="182"/>
                  </a:lnTo>
                  <a:lnTo>
                    <a:pt x="642" y="155"/>
                  </a:lnTo>
                  <a:lnTo>
                    <a:pt x="642" y="129"/>
                  </a:lnTo>
                  <a:lnTo>
                    <a:pt x="628" y="105"/>
                  </a:lnTo>
                  <a:lnTo>
                    <a:pt x="609" y="84"/>
                  </a:lnTo>
                  <a:lnTo>
                    <a:pt x="589" y="81"/>
                  </a:lnTo>
                  <a:lnTo>
                    <a:pt x="528" y="80"/>
                  </a:lnTo>
                  <a:lnTo>
                    <a:pt x="495" y="77"/>
                  </a:lnTo>
                  <a:lnTo>
                    <a:pt x="435" y="71"/>
                  </a:lnTo>
                  <a:lnTo>
                    <a:pt x="410" y="58"/>
                  </a:lnTo>
                  <a:lnTo>
                    <a:pt x="385" y="56"/>
                  </a:lnTo>
                  <a:lnTo>
                    <a:pt x="371" y="61"/>
                  </a:lnTo>
                  <a:lnTo>
                    <a:pt x="355" y="74"/>
                  </a:lnTo>
                  <a:lnTo>
                    <a:pt x="340" y="68"/>
                  </a:lnTo>
                  <a:lnTo>
                    <a:pt x="326" y="53"/>
                  </a:lnTo>
                  <a:lnTo>
                    <a:pt x="309" y="53"/>
                  </a:lnTo>
                  <a:lnTo>
                    <a:pt x="303" y="46"/>
                  </a:lnTo>
                  <a:lnTo>
                    <a:pt x="298" y="21"/>
                  </a:lnTo>
                  <a:lnTo>
                    <a:pt x="276" y="3"/>
                  </a:lnTo>
                  <a:lnTo>
                    <a:pt x="261" y="0"/>
                  </a:lnTo>
                  <a:lnTo>
                    <a:pt x="232" y="9"/>
                  </a:lnTo>
                  <a:lnTo>
                    <a:pt x="209" y="16"/>
                  </a:lnTo>
                  <a:lnTo>
                    <a:pt x="190" y="28"/>
                  </a:lnTo>
                  <a:lnTo>
                    <a:pt x="157" y="50"/>
                  </a:lnTo>
                  <a:lnTo>
                    <a:pt x="124" y="61"/>
                  </a:lnTo>
                  <a:lnTo>
                    <a:pt x="96" y="74"/>
                  </a:lnTo>
                  <a:lnTo>
                    <a:pt x="66" y="90"/>
                  </a:lnTo>
                  <a:lnTo>
                    <a:pt x="50" y="111"/>
                  </a:lnTo>
                  <a:lnTo>
                    <a:pt x="31" y="129"/>
                  </a:lnTo>
                  <a:lnTo>
                    <a:pt x="17" y="139"/>
                  </a:lnTo>
                  <a:close/>
                </a:path>
              </a:pathLst>
            </a:custGeom>
            <a:solidFill>
              <a:srgbClr val="DCE6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6" name="FI"/>
            <p:cNvGrpSpPr>
              <a:grpSpLocks/>
            </p:cNvGrpSpPr>
            <p:nvPr/>
          </p:nvGrpSpPr>
          <p:grpSpPr bwMode="auto">
            <a:xfrm>
              <a:off x="6795831" y="990600"/>
              <a:ext cx="873127" cy="1531932"/>
              <a:chOff x="3757282" y="1308775"/>
              <a:chExt cx="401" cy="793"/>
            </a:xfrm>
            <a:solidFill>
              <a:schemeClr val="bg1">
                <a:lumMod val="95000"/>
              </a:schemeClr>
            </a:solidFill>
            <a:effectLst/>
          </p:grpSpPr>
          <p:sp>
            <p:nvSpPr>
              <p:cNvPr id="94" name="Freeform 566"/>
              <p:cNvSpPr>
                <a:spLocks noChangeAspect="1"/>
              </p:cNvSpPr>
              <p:nvPr/>
            </p:nvSpPr>
            <p:spPr bwMode="auto">
              <a:xfrm>
                <a:off x="3757282" y="1309520"/>
                <a:ext cx="24" cy="22"/>
              </a:xfrm>
              <a:custGeom>
                <a:avLst/>
                <a:gdLst>
                  <a:gd name="T0" fmla="*/ 30 w 35"/>
                  <a:gd name="T1" fmla="*/ 0 h 37"/>
                  <a:gd name="T2" fmla="*/ 16 w 35"/>
                  <a:gd name="T3" fmla="*/ 9 h 37"/>
                  <a:gd name="T4" fmla="*/ 0 w 35"/>
                  <a:gd name="T5" fmla="*/ 24 h 37"/>
                  <a:gd name="T6" fmla="*/ 2 w 35"/>
                  <a:gd name="T7" fmla="*/ 37 h 37"/>
                  <a:gd name="T8" fmla="*/ 11 w 35"/>
                  <a:gd name="T9" fmla="*/ 37 h 37"/>
                  <a:gd name="T10" fmla="*/ 35 w 35"/>
                  <a:gd name="T11" fmla="*/ 19 h 37"/>
                  <a:gd name="T12" fmla="*/ 30 w 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30" y="0"/>
                    </a:moveTo>
                    <a:lnTo>
                      <a:pt x="16" y="9"/>
                    </a:lnTo>
                    <a:lnTo>
                      <a:pt x="0" y="24"/>
                    </a:lnTo>
                    <a:lnTo>
                      <a:pt x="2" y="37"/>
                    </a:lnTo>
                    <a:lnTo>
                      <a:pt x="11" y="37"/>
                    </a:lnTo>
                    <a:lnTo>
                      <a:pt x="35" y="19"/>
                    </a:lnTo>
                    <a:lnTo>
                      <a:pt x="3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5" name="Freeform 567"/>
              <p:cNvSpPr>
                <a:spLocks noChangeAspect="1"/>
              </p:cNvSpPr>
              <p:nvPr/>
            </p:nvSpPr>
            <p:spPr bwMode="auto">
              <a:xfrm>
                <a:off x="3757306" y="1308775"/>
                <a:ext cx="377" cy="793"/>
              </a:xfrm>
              <a:custGeom>
                <a:avLst/>
                <a:gdLst>
                  <a:gd name="T0" fmla="*/ 151 w 553"/>
                  <a:gd name="T1" fmla="*/ 1239 h 1281"/>
                  <a:gd name="T2" fmla="*/ 118 w 553"/>
                  <a:gd name="T3" fmla="*/ 1207 h 1281"/>
                  <a:gd name="T4" fmla="*/ 75 w 553"/>
                  <a:gd name="T5" fmla="*/ 1197 h 1281"/>
                  <a:gd name="T6" fmla="*/ 75 w 553"/>
                  <a:gd name="T7" fmla="*/ 1096 h 1281"/>
                  <a:gd name="T8" fmla="*/ 56 w 553"/>
                  <a:gd name="T9" fmla="*/ 1028 h 1281"/>
                  <a:gd name="T10" fmla="*/ 52 w 553"/>
                  <a:gd name="T11" fmla="*/ 975 h 1281"/>
                  <a:gd name="T12" fmla="*/ 38 w 553"/>
                  <a:gd name="T13" fmla="*/ 930 h 1281"/>
                  <a:gd name="T14" fmla="*/ 66 w 553"/>
                  <a:gd name="T15" fmla="*/ 883 h 1281"/>
                  <a:gd name="T16" fmla="*/ 80 w 553"/>
                  <a:gd name="T17" fmla="*/ 840 h 1281"/>
                  <a:gd name="T18" fmla="*/ 136 w 553"/>
                  <a:gd name="T19" fmla="*/ 788 h 1281"/>
                  <a:gd name="T20" fmla="*/ 174 w 553"/>
                  <a:gd name="T21" fmla="*/ 725 h 1281"/>
                  <a:gd name="T22" fmla="*/ 201 w 553"/>
                  <a:gd name="T23" fmla="*/ 672 h 1281"/>
                  <a:gd name="T24" fmla="*/ 225 w 553"/>
                  <a:gd name="T25" fmla="*/ 636 h 1281"/>
                  <a:gd name="T26" fmla="*/ 229 w 553"/>
                  <a:gd name="T27" fmla="*/ 599 h 1281"/>
                  <a:gd name="T28" fmla="*/ 220 w 553"/>
                  <a:gd name="T29" fmla="*/ 562 h 1281"/>
                  <a:gd name="T30" fmla="*/ 193 w 553"/>
                  <a:gd name="T31" fmla="*/ 546 h 1281"/>
                  <a:gd name="T32" fmla="*/ 151 w 553"/>
                  <a:gd name="T33" fmla="*/ 445 h 1281"/>
                  <a:gd name="T34" fmla="*/ 155 w 553"/>
                  <a:gd name="T35" fmla="*/ 361 h 1281"/>
                  <a:gd name="T36" fmla="*/ 136 w 553"/>
                  <a:gd name="T37" fmla="*/ 277 h 1281"/>
                  <a:gd name="T38" fmla="*/ 103 w 553"/>
                  <a:gd name="T39" fmla="*/ 223 h 1281"/>
                  <a:gd name="T40" fmla="*/ 38 w 553"/>
                  <a:gd name="T41" fmla="*/ 182 h 1281"/>
                  <a:gd name="T42" fmla="*/ 14 w 553"/>
                  <a:gd name="T43" fmla="*/ 139 h 1281"/>
                  <a:gd name="T44" fmla="*/ 19 w 553"/>
                  <a:gd name="T45" fmla="*/ 111 h 1281"/>
                  <a:gd name="T46" fmla="*/ 61 w 553"/>
                  <a:gd name="T47" fmla="*/ 135 h 1281"/>
                  <a:gd name="T48" fmla="*/ 136 w 553"/>
                  <a:gd name="T49" fmla="*/ 155 h 1281"/>
                  <a:gd name="T50" fmla="*/ 165 w 553"/>
                  <a:gd name="T51" fmla="*/ 176 h 1281"/>
                  <a:gd name="T52" fmla="*/ 201 w 553"/>
                  <a:gd name="T53" fmla="*/ 139 h 1281"/>
                  <a:gd name="T54" fmla="*/ 225 w 553"/>
                  <a:gd name="T55" fmla="*/ 111 h 1281"/>
                  <a:gd name="T56" fmla="*/ 220 w 553"/>
                  <a:gd name="T57" fmla="*/ 52 h 1281"/>
                  <a:gd name="T58" fmla="*/ 258 w 553"/>
                  <a:gd name="T59" fmla="*/ 27 h 1281"/>
                  <a:gd name="T60" fmla="*/ 309 w 553"/>
                  <a:gd name="T61" fmla="*/ 37 h 1281"/>
                  <a:gd name="T62" fmla="*/ 309 w 553"/>
                  <a:gd name="T63" fmla="*/ 84 h 1281"/>
                  <a:gd name="T64" fmla="*/ 267 w 553"/>
                  <a:gd name="T65" fmla="*/ 131 h 1281"/>
                  <a:gd name="T66" fmla="*/ 314 w 553"/>
                  <a:gd name="T67" fmla="*/ 121 h 1281"/>
                  <a:gd name="T68" fmla="*/ 319 w 553"/>
                  <a:gd name="T69" fmla="*/ 42 h 1281"/>
                  <a:gd name="T70" fmla="*/ 347 w 553"/>
                  <a:gd name="T71" fmla="*/ 89 h 1281"/>
                  <a:gd name="T72" fmla="*/ 338 w 553"/>
                  <a:gd name="T73" fmla="*/ 160 h 1281"/>
                  <a:gd name="T74" fmla="*/ 375 w 553"/>
                  <a:gd name="T75" fmla="*/ 223 h 1281"/>
                  <a:gd name="T76" fmla="*/ 399 w 553"/>
                  <a:gd name="T77" fmla="*/ 281 h 1281"/>
                  <a:gd name="T78" fmla="*/ 403 w 553"/>
                  <a:gd name="T79" fmla="*/ 371 h 1281"/>
                  <a:gd name="T80" fmla="*/ 441 w 553"/>
                  <a:gd name="T81" fmla="*/ 498 h 1281"/>
                  <a:gd name="T82" fmla="*/ 455 w 553"/>
                  <a:gd name="T83" fmla="*/ 636 h 1281"/>
                  <a:gd name="T84" fmla="*/ 474 w 553"/>
                  <a:gd name="T85" fmla="*/ 735 h 1281"/>
                  <a:gd name="T86" fmla="*/ 529 w 553"/>
                  <a:gd name="T87" fmla="*/ 803 h 1281"/>
                  <a:gd name="T88" fmla="*/ 553 w 553"/>
                  <a:gd name="T89" fmla="*/ 857 h 1281"/>
                  <a:gd name="T90" fmla="*/ 526 w 553"/>
                  <a:gd name="T91" fmla="*/ 964 h 1281"/>
                  <a:gd name="T92" fmla="*/ 512 w 553"/>
                  <a:gd name="T93" fmla="*/ 1022 h 1281"/>
                  <a:gd name="T94" fmla="*/ 483 w 553"/>
                  <a:gd name="T95" fmla="*/ 1055 h 1281"/>
                  <a:gd name="T96" fmla="*/ 413 w 553"/>
                  <a:gd name="T97" fmla="*/ 1133 h 1281"/>
                  <a:gd name="T98" fmla="*/ 380 w 553"/>
                  <a:gd name="T99" fmla="*/ 1170 h 1281"/>
                  <a:gd name="T100" fmla="*/ 338 w 553"/>
                  <a:gd name="T101" fmla="*/ 1192 h 1281"/>
                  <a:gd name="T102" fmla="*/ 272 w 553"/>
                  <a:gd name="T103" fmla="*/ 1213 h 1281"/>
                  <a:gd name="T104" fmla="*/ 206 w 553"/>
                  <a:gd name="T105" fmla="*/ 1244 h 1281"/>
                  <a:gd name="T106" fmla="*/ 155 w 553"/>
                  <a:gd name="T107" fmla="*/ 1281 h 1281"/>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4828 w 10000"/>
                  <a:gd name="connsiteY65" fmla="*/ 1023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792 w 10000"/>
                  <a:gd name="connsiteY68" fmla="*/ 574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000" h="10000">
                    <a:moveTo>
                      <a:pt x="2803" y="10000"/>
                    </a:moveTo>
                    <a:cubicBezTo>
                      <a:pt x="2779" y="9891"/>
                      <a:pt x="2755" y="9781"/>
                      <a:pt x="2731" y="9672"/>
                    </a:cubicBezTo>
                    <a:lnTo>
                      <a:pt x="2387" y="9500"/>
                    </a:lnTo>
                    <a:lnTo>
                      <a:pt x="2134" y="9422"/>
                    </a:lnTo>
                    <a:lnTo>
                      <a:pt x="1700" y="9344"/>
                    </a:lnTo>
                    <a:lnTo>
                      <a:pt x="1356" y="9344"/>
                    </a:lnTo>
                    <a:cubicBezTo>
                      <a:pt x="1302" y="9289"/>
                      <a:pt x="1247" y="9235"/>
                      <a:pt x="1193" y="9180"/>
                    </a:cubicBezTo>
                    <a:cubicBezTo>
                      <a:pt x="1247" y="8972"/>
                      <a:pt x="1302" y="8764"/>
                      <a:pt x="1356" y="8556"/>
                    </a:cubicBezTo>
                    <a:cubicBezTo>
                      <a:pt x="1332" y="8434"/>
                      <a:pt x="1308" y="8311"/>
                      <a:pt x="1284" y="8189"/>
                    </a:cubicBezTo>
                    <a:lnTo>
                      <a:pt x="1013" y="8025"/>
                    </a:lnTo>
                    <a:lnTo>
                      <a:pt x="850" y="7947"/>
                    </a:lnTo>
                    <a:lnTo>
                      <a:pt x="940" y="7611"/>
                    </a:lnTo>
                    <a:lnTo>
                      <a:pt x="850" y="7416"/>
                    </a:lnTo>
                    <a:lnTo>
                      <a:pt x="687" y="7260"/>
                    </a:lnTo>
                    <a:lnTo>
                      <a:pt x="940" y="6893"/>
                    </a:lnTo>
                    <a:lnTo>
                      <a:pt x="1193" y="6893"/>
                    </a:lnTo>
                    <a:lnTo>
                      <a:pt x="1356" y="6815"/>
                    </a:lnTo>
                    <a:cubicBezTo>
                      <a:pt x="1386" y="6729"/>
                      <a:pt x="1417" y="6643"/>
                      <a:pt x="1447" y="6557"/>
                    </a:cubicBezTo>
                    <a:lnTo>
                      <a:pt x="1953" y="6362"/>
                    </a:lnTo>
                    <a:lnTo>
                      <a:pt x="2459" y="6151"/>
                    </a:lnTo>
                    <a:cubicBezTo>
                      <a:pt x="2489" y="6068"/>
                      <a:pt x="2520" y="5985"/>
                      <a:pt x="2550" y="5902"/>
                    </a:cubicBezTo>
                    <a:lnTo>
                      <a:pt x="3146" y="5660"/>
                    </a:lnTo>
                    <a:lnTo>
                      <a:pt x="3725" y="5371"/>
                    </a:lnTo>
                    <a:cubicBezTo>
                      <a:pt x="3695" y="5329"/>
                      <a:pt x="3665" y="5288"/>
                      <a:pt x="3635" y="5246"/>
                    </a:cubicBezTo>
                    <a:lnTo>
                      <a:pt x="3635" y="5082"/>
                    </a:lnTo>
                    <a:lnTo>
                      <a:pt x="4069" y="4965"/>
                    </a:lnTo>
                    <a:lnTo>
                      <a:pt x="4231" y="4918"/>
                    </a:lnTo>
                    <a:cubicBezTo>
                      <a:pt x="4201" y="4837"/>
                      <a:pt x="4171" y="4757"/>
                      <a:pt x="4141" y="4676"/>
                    </a:cubicBezTo>
                    <a:lnTo>
                      <a:pt x="4141" y="4426"/>
                    </a:lnTo>
                    <a:lnTo>
                      <a:pt x="3978" y="4387"/>
                    </a:lnTo>
                    <a:lnTo>
                      <a:pt x="3725" y="4426"/>
                    </a:lnTo>
                    <a:lnTo>
                      <a:pt x="3490" y="4262"/>
                    </a:lnTo>
                    <a:cubicBezTo>
                      <a:pt x="3406" y="4111"/>
                      <a:pt x="3321" y="3961"/>
                      <a:pt x="3237" y="3810"/>
                    </a:cubicBezTo>
                    <a:lnTo>
                      <a:pt x="2731" y="3474"/>
                    </a:lnTo>
                    <a:lnTo>
                      <a:pt x="2893" y="3021"/>
                    </a:lnTo>
                    <a:cubicBezTo>
                      <a:pt x="2863" y="2953"/>
                      <a:pt x="2833" y="2886"/>
                      <a:pt x="2803" y="2818"/>
                    </a:cubicBezTo>
                    <a:lnTo>
                      <a:pt x="2206" y="2529"/>
                    </a:lnTo>
                    <a:lnTo>
                      <a:pt x="2459" y="2162"/>
                    </a:lnTo>
                    <a:lnTo>
                      <a:pt x="2297" y="1952"/>
                    </a:lnTo>
                    <a:lnTo>
                      <a:pt x="1863" y="1741"/>
                    </a:lnTo>
                    <a:lnTo>
                      <a:pt x="1609" y="1874"/>
                    </a:lnTo>
                    <a:lnTo>
                      <a:pt x="687" y="1421"/>
                    </a:lnTo>
                    <a:lnTo>
                      <a:pt x="434" y="1249"/>
                    </a:lnTo>
                    <a:cubicBezTo>
                      <a:pt x="374" y="1194"/>
                      <a:pt x="313" y="1140"/>
                      <a:pt x="253" y="1085"/>
                    </a:cubicBezTo>
                    <a:lnTo>
                      <a:pt x="0" y="1023"/>
                    </a:lnTo>
                    <a:lnTo>
                      <a:pt x="344" y="867"/>
                    </a:lnTo>
                    <a:lnTo>
                      <a:pt x="850" y="867"/>
                    </a:lnTo>
                    <a:lnTo>
                      <a:pt x="1103" y="1054"/>
                    </a:lnTo>
                    <a:lnTo>
                      <a:pt x="1790" y="1421"/>
                    </a:lnTo>
                    <a:lnTo>
                      <a:pt x="2459" y="1210"/>
                    </a:lnTo>
                    <a:lnTo>
                      <a:pt x="2893" y="1249"/>
                    </a:lnTo>
                    <a:cubicBezTo>
                      <a:pt x="2923" y="1291"/>
                      <a:pt x="2954" y="1332"/>
                      <a:pt x="2984" y="1374"/>
                    </a:cubicBezTo>
                    <a:lnTo>
                      <a:pt x="3490" y="1421"/>
                    </a:lnTo>
                    <a:cubicBezTo>
                      <a:pt x="3538" y="1309"/>
                      <a:pt x="3587" y="1197"/>
                      <a:pt x="3635" y="1085"/>
                    </a:cubicBezTo>
                    <a:lnTo>
                      <a:pt x="3888" y="984"/>
                    </a:lnTo>
                    <a:lnTo>
                      <a:pt x="4069" y="867"/>
                    </a:lnTo>
                    <a:lnTo>
                      <a:pt x="4069" y="742"/>
                    </a:lnTo>
                    <a:cubicBezTo>
                      <a:pt x="4039" y="630"/>
                      <a:pt x="4008" y="518"/>
                      <a:pt x="3978" y="406"/>
                    </a:cubicBezTo>
                    <a:lnTo>
                      <a:pt x="4412" y="211"/>
                    </a:lnTo>
                    <a:lnTo>
                      <a:pt x="4665" y="211"/>
                    </a:lnTo>
                    <a:lnTo>
                      <a:pt x="5081" y="0"/>
                    </a:lnTo>
                    <a:lnTo>
                      <a:pt x="5588" y="289"/>
                    </a:lnTo>
                    <a:lnTo>
                      <a:pt x="5769" y="406"/>
                    </a:lnTo>
                    <a:lnTo>
                      <a:pt x="5588" y="656"/>
                    </a:lnTo>
                    <a:cubicBezTo>
                      <a:pt x="5583" y="630"/>
                      <a:pt x="5577" y="603"/>
                      <a:pt x="5572" y="577"/>
                    </a:cubicBezTo>
                    <a:lnTo>
                      <a:pt x="5741" y="659"/>
                    </a:lnTo>
                    <a:lnTo>
                      <a:pt x="5604" y="755"/>
                    </a:lnTo>
                    <a:cubicBezTo>
                      <a:pt x="5629" y="818"/>
                      <a:pt x="5653" y="882"/>
                      <a:pt x="5678" y="945"/>
                    </a:cubicBezTo>
                    <a:lnTo>
                      <a:pt x="5792" y="574"/>
                    </a:lnTo>
                    <a:cubicBezTo>
                      <a:pt x="5822" y="452"/>
                      <a:pt x="5739" y="450"/>
                      <a:pt x="5769" y="328"/>
                    </a:cubicBezTo>
                    <a:lnTo>
                      <a:pt x="6022" y="242"/>
                    </a:lnTo>
                    <a:lnTo>
                      <a:pt x="6275" y="695"/>
                    </a:lnTo>
                    <a:lnTo>
                      <a:pt x="6275" y="1085"/>
                    </a:lnTo>
                    <a:cubicBezTo>
                      <a:pt x="6221" y="1140"/>
                      <a:pt x="6166" y="1194"/>
                      <a:pt x="6112" y="1249"/>
                    </a:cubicBezTo>
                    <a:lnTo>
                      <a:pt x="6112" y="1499"/>
                    </a:lnTo>
                    <a:lnTo>
                      <a:pt x="6781" y="1741"/>
                    </a:lnTo>
                    <a:lnTo>
                      <a:pt x="6781" y="1905"/>
                    </a:lnTo>
                    <a:lnTo>
                      <a:pt x="7215" y="2194"/>
                    </a:lnTo>
                    <a:lnTo>
                      <a:pt x="7378" y="2404"/>
                    </a:lnTo>
                    <a:lnTo>
                      <a:pt x="7288" y="2896"/>
                    </a:lnTo>
                    <a:lnTo>
                      <a:pt x="7559" y="3443"/>
                    </a:lnTo>
                    <a:lnTo>
                      <a:pt x="7975" y="3888"/>
                    </a:lnTo>
                    <a:cubicBezTo>
                      <a:pt x="7945" y="4109"/>
                      <a:pt x="7914" y="4330"/>
                      <a:pt x="7884" y="4551"/>
                    </a:cubicBezTo>
                    <a:lnTo>
                      <a:pt x="8228" y="4965"/>
                    </a:lnTo>
                    <a:cubicBezTo>
                      <a:pt x="8288" y="5020"/>
                      <a:pt x="8349" y="5074"/>
                      <a:pt x="8409" y="5129"/>
                    </a:cubicBezTo>
                    <a:lnTo>
                      <a:pt x="8571" y="5738"/>
                    </a:lnTo>
                    <a:cubicBezTo>
                      <a:pt x="8625" y="5824"/>
                      <a:pt x="8680" y="5909"/>
                      <a:pt x="8734" y="5995"/>
                    </a:cubicBezTo>
                    <a:lnTo>
                      <a:pt x="9566" y="6269"/>
                    </a:lnTo>
                    <a:lnTo>
                      <a:pt x="10000" y="6526"/>
                    </a:lnTo>
                    <a:lnTo>
                      <a:pt x="10000" y="6690"/>
                    </a:lnTo>
                    <a:lnTo>
                      <a:pt x="9656" y="7447"/>
                    </a:lnTo>
                    <a:lnTo>
                      <a:pt x="9512" y="7525"/>
                    </a:lnTo>
                    <a:lnTo>
                      <a:pt x="9656" y="7689"/>
                    </a:lnTo>
                    <a:lnTo>
                      <a:pt x="9259" y="7978"/>
                    </a:lnTo>
                    <a:lnTo>
                      <a:pt x="8734" y="8103"/>
                    </a:lnTo>
                    <a:lnTo>
                      <a:pt x="8734" y="8236"/>
                    </a:lnTo>
                    <a:lnTo>
                      <a:pt x="7975" y="8728"/>
                    </a:lnTo>
                    <a:lnTo>
                      <a:pt x="7468" y="8845"/>
                    </a:lnTo>
                    <a:lnTo>
                      <a:pt x="7378" y="9133"/>
                    </a:lnTo>
                    <a:lnTo>
                      <a:pt x="6872" y="9133"/>
                    </a:lnTo>
                    <a:lnTo>
                      <a:pt x="6618" y="9227"/>
                    </a:lnTo>
                    <a:lnTo>
                      <a:pt x="6112" y="9305"/>
                    </a:lnTo>
                    <a:lnTo>
                      <a:pt x="5425" y="9258"/>
                    </a:lnTo>
                    <a:lnTo>
                      <a:pt x="4919" y="9469"/>
                    </a:lnTo>
                    <a:lnTo>
                      <a:pt x="4322" y="9633"/>
                    </a:lnTo>
                    <a:lnTo>
                      <a:pt x="3725" y="9711"/>
                    </a:lnTo>
                    <a:lnTo>
                      <a:pt x="3291" y="9883"/>
                    </a:lnTo>
                    <a:lnTo>
                      <a:pt x="2803" y="1000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7" name="SE"/>
            <p:cNvGrpSpPr>
              <a:grpSpLocks/>
            </p:cNvGrpSpPr>
            <p:nvPr/>
          </p:nvGrpSpPr>
          <p:grpSpPr bwMode="auto">
            <a:xfrm>
              <a:off x="6097588" y="1157287"/>
              <a:ext cx="1035054" cy="2009769"/>
              <a:chOff x="3043262" y="1475462"/>
              <a:chExt cx="475" cy="1041"/>
            </a:xfrm>
            <a:solidFill>
              <a:schemeClr val="bg1">
                <a:lumMod val="95000"/>
              </a:schemeClr>
            </a:solidFill>
            <a:effectLst/>
          </p:grpSpPr>
          <p:sp>
            <p:nvSpPr>
              <p:cNvPr id="91" name="Freeform 563"/>
              <p:cNvSpPr>
                <a:spLocks noChangeAspect="1"/>
              </p:cNvSpPr>
              <p:nvPr/>
            </p:nvSpPr>
            <p:spPr bwMode="auto">
              <a:xfrm>
                <a:off x="3043451" y="1476363"/>
                <a:ext cx="32" cy="81"/>
              </a:xfrm>
              <a:custGeom>
                <a:avLst/>
                <a:gdLst>
                  <a:gd name="T0" fmla="*/ 46 w 46"/>
                  <a:gd name="T1" fmla="*/ 0 h 131"/>
                  <a:gd name="T2" fmla="*/ 44 w 46"/>
                  <a:gd name="T3" fmla="*/ 44 h 131"/>
                  <a:gd name="T4" fmla="*/ 30 w 46"/>
                  <a:gd name="T5" fmla="*/ 78 h 131"/>
                  <a:gd name="T6" fmla="*/ 9 w 46"/>
                  <a:gd name="T7" fmla="*/ 99 h 131"/>
                  <a:gd name="T8" fmla="*/ 14 w 46"/>
                  <a:gd name="T9" fmla="*/ 122 h 131"/>
                  <a:gd name="T10" fmla="*/ 5 w 46"/>
                  <a:gd name="T11" fmla="*/ 131 h 131"/>
                  <a:gd name="T12" fmla="*/ 0 w 46"/>
                  <a:gd name="T13" fmla="*/ 102 h 131"/>
                  <a:gd name="T14" fmla="*/ 7 w 46"/>
                  <a:gd name="T15" fmla="*/ 81 h 131"/>
                  <a:gd name="T16" fmla="*/ 14 w 46"/>
                  <a:gd name="T17" fmla="*/ 57 h 131"/>
                  <a:gd name="T18" fmla="*/ 46 w 4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31">
                    <a:moveTo>
                      <a:pt x="46" y="0"/>
                    </a:moveTo>
                    <a:lnTo>
                      <a:pt x="44" y="44"/>
                    </a:lnTo>
                    <a:lnTo>
                      <a:pt x="30" y="78"/>
                    </a:lnTo>
                    <a:lnTo>
                      <a:pt x="9" y="99"/>
                    </a:lnTo>
                    <a:lnTo>
                      <a:pt x="14" y="122"/>
                    </a:lnTo>
                    <a:lnTo>
                      <a:pt x="5" y="131"/>
                    </a:lnTo>
                    <a:lnTo>
                      <a:pt x="0" y="102"/>
                    </a:lnTo>
                    <a:lnTo>
                      <a:pt x="7" y="81"/>
                    </a:lnTo>
                    <a:lnTo>
                      <a:pt x="14" y="57"/>
                    </a:lnTo>
                    <a:lnTo>
                      <a:pt x="4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2" name="Freeform 564"/>
              <p:cNvSpPr>
                <a:spLocks noChangeAspect="1"/>
              </p:cNvSpPr>
              <p:nvPr/>
            </p:nvSpPr>
            <p:spPr bwMode="auto">
              <a:xfrm>
                <a:off x="3043522" y="1476325"/>
                <a:ext cx="42" cy="64"/>
              </a:xfrm>
              <a:custGeom>
                <a:avLst/>
                <a:gdLst>
                  <a:gd name="T0" fmla="*/ 50 w 64"/>
                  <a:gd name="T1" fmla="*/ 0 h 104"/>
                  <a:gd name="T2" fmla="*/ 64 w 64"/>
                  <a:gd name="T3" fmla="*/ 0 h 104"/>
                  <a:gd name="T4" fmla="*/ 47 w 64"/>
                  <a:gd name="T5" fmla="*/ 22 h 104"/>
                  <a:gd name="T6" fmla="*/ 45 w 64"/>
                  <a:gd name="T7" fmla="*/ 37 h 104"/>
                  <a:gd name="T8" fmla="*/ 50 w 64"/>
                  <a:gd name="T9" fmla="*/ 59 h 104"/>
                  <a:gd name="T10" fmla="*/ 33 w 64"/>
                  <a:gd name="T11" fmla="*/ 80 h 104"/>
                  <a:gd name="T12" fmla="*/ 12 w 64"/>
                  <a:gd name="T13" fmla="*/ 104 h 104"/>
                  <a:gd name="T14" fmla="*/ 8 w 64"/>
                  <a:gd name="T15" fmla="*/ 80 h 104"/>
                  <a:gd name="T16" fmla="*/ 0 w 64"/>
                  <a:gd name="T17" fmla="*/ 70 h 104"/>
                  <a:gd name="T18" fmla="*/ 0 w 64"/>
                  <a:gd name="T19" fmla="*/ 52 h 104"/>
                  <a:gd name="T20" fmla="*/ 19 w 64"/>
                  <a:gd name="T21" fmla="*/ 32 h 104"/>
                  <a:gd name="T22" fmla="*/ 50 w 64"/>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04">
                    <a:moveTo>
                      <a:pt x="50" y="0"/>
                    </a:moveTo>
                    <a:lnTo>
                      <a:pt x="64" y="0"/>
                    </a:lnTo>
                    <a:lnTo>
                      <a:pt x="47" y="22"/>
                    </a:lnTo>
                    <a:lnTo>
                      <a:pt x="45" y="37"/>
                    </a:lnTo>
                    <a:lnTo>
                      <a:pt x="50" y="59"/>
                    </a:lnTo>
                    <a:lnTo>
                      <a:pt x="33" y="80"/>
                    </a:lnTo>
                    <a:lnTo>
                      <a:pt x="12" y="104"/>
                    </a:lnTo>
                    <a:lnTo>
                      <a:pt x="8" y="80"/>
                    </a:lnTo>
                    <a:lnTo>
                      <a:pt x="0" y="70"/>
                    </a:lnTo>
                    <a:lnTo>
                      <a:pt x="0" y="52"/>
                    </a:lnTo>
                    <a:lnTo>
                      <a:pt x="19" y="32"/>
                    </a:lnTo>
                    <a:lnTo>
                      <a:pt x="5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3" name="Freeform 565"/>
              <p:cNvSpPr>
                <a:spLocks noChangeAspect="1"/>
              </p:cNvSpPr>
              <p:nvPr/>
            </p:nvSpPr>
            <p:spPr bwMode="auto">
              <a:xfrm>
                <a:off x="3043262" y="1475462"/>
                <a:ext cx="475" cy="1041"/>
              </a:xfrm>
              <a:custGeom>
                <a:avLst/>
                <a:gdLst>
                  <a:gd name="T0" fmla="*/ 551 w 701"/>
                  <a:gd name="T1" fmla="*/ 30 h 1686"/>
                  <a:gd name="T2" fmla="*/ 646 w 701"/>
                  <a:gd name="T3" fmla="*/ 104 h 1686"/>
                  <a:gd name="T4" fmla="*/ 655 w 701"/>
                  <a:gd name="T5" fmla="*/ 168 h 1686"/>
                  <a:gd name="T6" fmla="*/ 677 w 701"/>
                  <a:gd name="T7" fmla="*/ 225 h 1686"/>
                  <a:gd name="T8" fmla="*/ 674 w 701"/>
                  <a:gd name="T9" fmla="*/ 299 h 1686"/>
                  <a:gd name="T10" fmla="*/ 692 w 701"/>
                  <a:gd name="T11" fmla="*/ 352 h 1686"/>
                  <a:gd name="T12" fmla="*/ 687 w 701"/>
                  <a:gd name="T13" fmla="*/ 394 h 1686"/>
                  <a:gd name="T14" fmla="*/ 603 w 701"/>
                  <a:gd name="T15" fmla="*/ 404 h 1686"/>
                  <a:gd name="T16" fmla="*/ 566 w 701"/>
                  <a:gd name="T17" fmla="*/ 468 h 1686"/>
                  <a:gd name="T18" fmla="*/ 556 w 701"/>
                  <a:gd name="T19" fmla="*/ 515 h 1686"/>
                  <a:gd name="T20" fmla="*/ 561 w 701"/>
                  <a:gd name="T21" fmla="*/ 583 h 1686"/>
                  <a:gd name="T22" fmla="*/ 533 w 701"/>
                  <a:gd name="T23" fmla="*/ 647 h 1686"/>
                  <a:gd name="T24" fmla="*/ 453 w 701"/>
                  <a:gd name="T25" fmla="*/ 700 h 1686"/>
                  <a:gd name="T26" fmla="*/ 424 w 701"/>
                  <a:gd name="T27" fmla="*/ 731 h 1686"/>
                  <a:gd name="T28" fmla="*/ 387 w 701"/>
                  <a:gd name="T29" fmla="*/ 811 h 1686"/>
                  <a:gd name="T30" fmla="*/ 376 w 701"/>
                  <a:gd name="T31" fmla="*/ 871 h 1686"/>
                  <a:gd name="T32" fmla="*/ 343 w 701"/>
                  <a:gd name="T33" fmla="*/ 956 h 1686"/>
                  <a:gd name="T34" fmla="*/ 391 w 701"/>
                  <a:gd name="T35" fmla="*/ 1067 h 1686"/>
                  <a:gd name="T36" fmla="*/ 429 w 701"/>
                  <a:gd name="T37" fmla="*/ 1151 h 1686"/>
                  <a:gd name="T38" fmla="*/ 387 w 701"/>
                  <a:gd name="T39" fmla="*/ 1182 h 1686"/>
                  <a:gd name="T40" fmla="*/ 352 w 701"/>
                  <a:gd name="T41" fmla="*/ 1188 h 1686"/>
                  <a:gd name="T42" fmla="*/ 272 w 701"/>
                  <a:gd name="T43" fmla="*/ 1194 h 1686"/>
                  <a:gd name="T44" fmla="*/ 347 w 701"/>
                  <a:gd name="T45" fmla="*/ 1214 h 1686"/>
                  <a:gd name="T46" fmla="*/ 387 w 701"/>
                  <a:gd name="T47" fmla="*/ 1241 h 1686"/>
                  <a:gd name="T48" fmla="*/ 361 w 701"/>
                  <a:gd name="T49" fmla="*/ 1262 h 1686"/>
                  <a:gd name="T50" fmla="*/ 314 w 701"/>
                  <a:gd name="T51" fmla="*/ 1309 h 1686"/>
                  <a:gd name="T52" fmla="*/ 300 w 701"/>
                  <a:gd name="T53" fmla="*/ 1356 h 1686"/>
                  <a:gd name="T54" fmla="*/ 281 w 701"/>
                  <a:gd name="T55" fmla="*/ 1467 h 1686"/>
                  <a:gd name="T56" fmla="*/ 258 w 701"/>
                  <a:gd name="T57" fmla="*/ 1541 h 1686"/>
                  <a:gd name="T58" fmla="*/ 201 w 701"/>
                  <a:gd name="T59" fmla="*/ 1599 h 1686"/>
                  <a:gd name="T60" fmla="*/ 145 w 701"/>
                  <a:gd name="T61" fmla="*/ 1620 h 1686"/>
                  <a:gd name="T62" fmla="*/ 135 w 701"/>
                  <a:gd name="T63" fmla="*/ 1670 h 1686"/>
                  <a:gd name="T64" fmla="*/ 80 w 701"/>
                  <a:gd name="T65" fmla="*/ 1686 h 1686"/>
                  <a:gd name="T66" fmla="*/ 55 w 701"/>
                  <a:gd name="T67" fmla="*/ 1659 h 1686"/>
                  <a:gd name="T68" fmla="*/ 33 w 701"/>
                  <a:gd name="T69" fmla="*/ 1568 h 1686"/>
                  <a:gd name="T70" fmla="*/ 52 w 701"/>
                  <a:gd name="T71" fmla="*/ 1546 h 1686"/>
                  <a:gd name="T72" fmla="*/ 55 w 701"/>
                  <a:gd name="T73" fmla="*/ 1515 h 1686"/>
                  <a:gd name="T74" fmla="*/ 33 w 701"/>
                  <a:gd name="T75" fmla="*/ 1430 h 1686"/>
                  <a:gd name="T76" fmla="*/ 14 w 701"/>
                  <a:gd name="T77" fmla="*/ 1362 h 1686"/>
                  <a:gd name="T78" fmla="*/ 0 w 701"/>
                  <a:gd name="T79" fmla="*/ 1256 h 1686"/>
                  <a:gd name="T80" fmla="*/ 24 w 701"/>
                  <a:gd name="T81" fmla="*/ 1214 h 1686"/>
                  <a:gd name="T82" fmla="*/ 42 w 701"/>
                  <a:gd name="T83" fmla="*/ 1108 h 1686"/>
                  <a:gd name="T84" fmla="*/ 88 w 701"/>
                  <a:gd name="T85" fmla="*/ 1046 h 1686"/>
                  <a:gd name="T86" fmla="*/ 74 w 701"/>
                  <a:gd name="T87" fmla="*/ 935 h 1686"/>
                  <a:gd name="T88" fmla="*/ 93 w 701"/>
                  <a:gd name="T89" fmla="*/ 882 h 1686"/>
                  <a:gd name="T90" fmla="*/ 85 w 701"/>
                  <a:gd name="T91" fmla="*/ 790 h 1686"/>
                  <a:gd name="T92" fmla="*/ 104 w 701"/>
                  <a:gd name="T93" fmla="*/ 679 h 1686"/>
                  <a:gd name="T94" fmla="*/ 164 w 701"/>
                  <a:gd name="T95" fmla="*/ 605 h 1686"/>
                  <a:gd name="T96" fmla="*/ 220 w 701"/>
                  <a:gd name="T97" fmla="*/ 583 h 1686"/>
                  <a:gd name="T98" fmla="*/ 197 w 701"/>
                  <a:gd name="T99" fmla="*/ 515 h 1686"/>
                  <a:gd name="T100" fmla="*/ 220 w 701"/>
                  <a:gd name="T101" fmla="*/ 458 h 1686"/>
                  <a:gd name="T102" fmla="*/ 234 w 701"/>
                  <a:gd name="T103" fmla="*/ 373 h 1686"/>
                  <a:gd name="T104" fmla="*/ 296 w 701"/>
                  <a:gd name="T105" fmla="*/ 320 h 1686"/>
                  <a:gd name="T106" fmla="*/ 324 w 701"/>
                  <a:gd name="T107" fmla="*/ 252 h 1686"/>
                  <a:gd name="T108" fmla="*/ 368 w 701"/>
                  <a:gd name="T109" fmla="*/ 147 h 1686"/>
                  <a:gd name="T110" fmla="*/ 418 w 701"/>
                  <a:gd name="T111" fmla="*/ 98 h 1686"/>
                  <a:gd name="T112" fmla="*/ 465 w 701"/>
                  <a:gd name="T113" fmla="*/ 60 h 1686"/>
                  <a:gd name="T114" fmla="*/ 523 w 701"/>
                  <a:gd name="T11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1" h="1686">
                    <a:moveTo>
                      <a:pt x="528" y="0"/>
                    </a:moveTo>
                    <a:lnTo>
                      <a:pt x="537" y="5"/>
                    </a:lnTo>
                    <a:lnTo>
                      <a:pt x="551" y="30"/>
                    </a:lnTo>
                    <a:lnTo>
                      <a:pt x="613" y="98"/>
                    </a:lnTo>
                    <a:lnTo>
                      <a:pt x="622" y="83"/>
                    </a:lnTo>
                    <a:lnTo>
                      <a:pt x="646" y="104"/>
                    </a:lnTo>
                    <a:lnTo>
                      <a:pt x="655" y="125"/>
                    </a:lnTo>
                    <a:lnTo>
                      <a:pt x="655" y="141"/>
                    </a:lnTo>
                    <a:lnTo>
                      <a:pt x="655" y="168"/>
                    </a:lnTo>
                    <a:lnTo>
                      <a:pt x="646" y="184"/>
                    </a:lnTo>
                    <a:lnTo>
                      <a:pt x="663" y="205"/>
                    </a:lnTo>
                    <a:lnTo>
                      <a:pt x="677" y="225"/>
                    </a:lnTo>
                    <a:lnTo>
                      <a:pt x="677" y="242"/>
                    </a:lnTo>
                    <a:lnTo>
                      <a:pt x="677" y="268"/>
                    </a:lnTo>
                    <a:lnTo>
                      <a:pt x="674" y="299"/>
                    </a:lnTo>
                    <a:lnTo>
                      <a:pt x="663" y="310"/>
                    </a:lnTo>
                    <a:lnTo>
                      <a:pt x="677" y="326"/>
                    </a:lnTo>
                    <a:lnTo>
                      <a:pt x="692" y="352"/>
                    </a:lnTo>
                    <a:lnTo>
                      <a:pt x="701" y="379"/>
                    </a:lnTo>
                    <a:lnTo>
                      <a:pt x="701" y="389"/>
                    </a:lnTo>
                    <a:lnTo>
                      <a:pt x="687" y="394"/>
                    </a:lnTo>
                    <a:lnTo>
                      <a:pt x="627" y="394"/>
                    </a:lnTo>
                    <a:lnTo>
                      <a:pt x="613" y="394"/>
                    </a:lnTo>
                    <a:lnTo>
                      <a:pt x="603" y="404"/>
                    </a:lnTo>
                    <a:lnTo>
                      <a:pt x="603" y="426"/>
                    </a:lnTo>
                    <a:lnTo>
                      <a:pt x="594" y="441"/>
                    </a:lnTo>
                    <a:lnTo>
                      <a:pt x="566" y="468"/>
                    </a:lnTo>
                    <a:lnTo>
                      <a:pt x="570" y="490"/>
                    </a:lnTo>
                    <a:lnTo>
                      <a:pt x="566" y="505"/>
                    </a:lnTo>
                    <a:lnTo>
                      <a:pt x="556" y="515"/>
                    </a:lnTo>
                    <a:lnTo>
                      <a:pt x="566" y="548"/>
                    </a:lnTo>
                    <a:lnTo>
                      <a:pt x="570" y="568"/>
                    </a:lnTo>
                    <a:lnTo>
                      <a:pt x="561" y="583"/>
                    </a:lnTo>
                    <a:lnTo>
                      <a:pt x="542" y="601"/>
                    </a:lnTo>
                    <a:lnTo>
                      <a:pt x="537" y="620"/>
                    </a:lnTo>
                    <a:lnTo>
                      <a:pt x="533" y="647"/>
                    </a:lnTo>
                    <a:lnTo>
                      <a:pt x="500" y="663"/>
                    </a:lnTo>
                    <a:lnTo>
                      <a:pt x="481" y="679"/>
                    </a:lnTo>
                    <a:lnTo>
                      <a:pt x="453" y="700"/>
                    </a:lnTo>
                    <a:lnTo>
                      <a:pt x="457" y="716"/>
                    </a:lnTo>
                    <a:lnTo>
                      <a:pt x="434" y="721"/>
                    </a:lnTo>
                    <a:lnTo>
                      <a:pt x="424" y="731"/>
                    </a:lnTo>
                    <a:lnTo>
                      <a:pt x="401" y="768"/>
                    </a:lnTo>
                    <a:lnTo>
                      <a:pt x="382" y="784"/>
                    </a:lnTo>
                    <a:lnTo>
                      <a:pt x="387" y="811"/>
                    </a:lnTo>
                    <a:lnTo>
                      <a:pt x="376" y="818"/>
                    </a:lnTo>
                    <a:lnTo>
                      <a:pt x="366" y="830"/>
                    </a:lnTo>
                    <a:lnTo>
                      <a:pt x="376" y="871"/>
                    </a:lnTo>
                    <a:lnTo>
                      <a:pt x="371" y="898"/>
                    </a:lnTo>
                    <a:lnTo>
                      <a:pt x="347" y="913"/>
                    </a:lnTo>
                    <a:lnTo>
                      <a:pt x="343" y="956"/>
                    </a:lnTo>
                    <a:lnTo>
                      <a:pt x="347" y="1009"/>
                    </a:lnTo>
                    <a:lnTo>
                      <a:pt x="357" y="1034"/>
                    </a:lnTo>
                    <a:lnTo>
                      <a:pt x="391" y="1067"/>
                    </a:lnTo>
                    <a:lnTo>
                      <a:pt x="405" y="1098"/>
                    </a:lnTo>
                    <a:lnTo>
                      <a:pt x="420" y="1130"/>
                    </a:lnTo>
                    <a:lnTo>
                      <a:pt x="429" y="1151"/>
                    </a:lnTo>
                    <a:lnTo>
                      <a:pt x="420" y="1172"/>
                    </a:lnTo>
                    <a:lnTo>
                      <a:pt x="401" y="1188"/>
                    </a:lnTo>
                    <a:lnTo>
                      <a:pt x="387" y="1182"/>
                    </a:lnTo>
                    <a:lnTo>
                      <a:pt x="376" y="1167"/>
                    </a:lnTo>
                    <a:lnTo>
                      <a:pt x="357" y="1172"/>
                    </a:lnTo>
                    <a:lnTo>
                      <a:pt x="352" y="1188"/>
                    </a:lnTo>
                    <a:lnTo>
                      <a:pt x="324" y="1188"/>
                    </a:lnTo>
                    <a:lnTo>
                      <a:pt x="281" y="1182"/>
                    </a:lnTo>
                    <a:lnTo>
                      <a:pt x="272" y="1194"/>
                    </a:lnTo>
                    <a:lnTo>
                      <a:pt x="300" y="1209"/>
                    </a:lnTo>
                    <a:lnTo>
                      <a:pt x="338" y="1194"/>
                    </a:lnTo>
                    <a:lnTo>
                      <a:pt x="347" y="1214"/>
                    </a:lnTo>
                    <a:lnTo>
                      <a:pt x="376" y="1219"/>
                    </a:lnTo>
                    <a:lnTo>
                      <a:pt x="396" y="1229"/>
                    </a:lnTo>
                    <a:lnTo>
                      <a:pt x="387" y="1241"/>
                    </a:lnTo>
                    <a:lnTo>
                      <a:pt x="361" y="1235"/>
                    </a:lnTo>
                    <a:lnTo>
                      <a:pt x="357" y="1246"/>
                    </a:lnTo>
                    <a:lnTo>
                      <a:pt x="361" y="1262"/>
                    </a:lnTo>
                    <a:lnTo>
                      <a:pt x="347" y="1283"/>
                    </a:lnTo>
                    <a:lnTo>
                      <a:pt x="324" y="1303"/>
                    </a:lnTo>
                    <a:lnTo>
                      <a:pt x="314" y="1309"/>
                    </a:lnTo>
                    <a:lnTo>
                      <a:pt x="305" y="1315"/>
                    </a:lnTo>
                    <a:lnTo>
                      <a:pt x="310" y="1340"/>
                    </a:lnTo>
                    <a:lnTo>
                      <a:pt x="300" y="1356"/>
                    </a:lnTo>
                    <a:lnTo>
                      <a:pt x="286" y="1389"/>
                    </a:lnTo>
                    <a:lnTo>
                      <a:pt x="291" y="1420"/>
                    </a:lnTo>
                    <a:lnTo>
                      <a:pt x="281" y="1467"/>
                    </a:lnTo>
                    <a:lnTo>
                      <a:pt x="272" y="1488"/>
                    </a:lnTo>
                    <a:lnTo>
                      <a:pt x="272" y="1519"/>
                    </a:lnTo>
                    <a:lnTo>
                      <a:pt x="258" y="1541"/>
                    </a:lnTo>
                    <a:lnTo>
                      <a:pt x="239" y="1578"/>
                    </a:lnTo>
                    <a:lnTo>
                      <a:pt x="234" y="1605"/>
                    </a:lnTo>
                    <a:lnTo>
                      <a:pt x="201" y="1599"/>
                    </a:lnTo>
                    <a:lnTo>
                      <a:pt x="168" y="1599"/>
                    </a:lnTo>
                    <a:lnTo>
                      <a:pt x="164" y="1615"/>
                    </a:lnTo>
                    <a:lnTo>
                      <a:pt x="145" y="1620"/>
                    </a:lnTo>
                    <a:lnTo>
                      <a:pt x="135" y="1626"/>
                    </a:lnTo>
                    <a:lnTo>
                      <a:pt x="140" y="1643"/>
                    </a:lnTo>
                    <a:lnTo>
                      <a:pt x="135" y="1670"/>
                    </a:lnTo>
                    <a:lnTo>
                      <a:pt x="112" y="1686"/>
                    </a:lnTo>
                    <a:lnTo>
                      <a:pt x="99" y="1670"/>
                    </a:lnTo>
                    <a:lnTo>
                      <a:pt x="80" y="1686"/>
                    </a:lnTo>
                    <a:lnTo>
                      <a:pt x="55" y="1686"/>
                    </a:lnTo>
                    <a:lnTo>
                      <a:pt x="47" y="1670"/>
                    </a:lnTo>
                    <a:lnTo>
                      <a:pt x="55" y="1659"/>
                    </a:lnTo>
                    <a:lnTo>
                      <a:pt x="61" y="1630"/>
                    </a:lnTo>
                    <a:lnTo>
                      <a:pt x="42" y="1589"/>
                    </a:lnTo>
                    <a:lnTo>
                      <a:pt x="33" y="1568"/>
                    </a:lnTo>
                    <a:lnTo>
                      <a:pt x="38" y="1556"/>
                    </a:lnTo>
                    <a:lnTo>
                      <a:pt x="47" y="1556"/>
                    </a:lnTo>
                    <a:lnTo>
                      <a:pt x="52" y="1546"/>
                    </a:lnTo>
                    <a:lnTo>
                      <a:pt x="55" y="1535"/>
                    </a:lnTo>
                    <a:lnTo>
                      <a:pt x="61" y="1525"/>
                    </a:lnTo>
                    <a:lnTo>
                      <a:pt x="55" y="1515"/>
                    </a:lnTo>
                    <a:lnTo>
                      <a:pt x="47" y="1494"/>
                    </a:lnTo>
                    <a:lnTo>
                      <a:pt x="28" y="1462"/>
                    </a:lnTo>
                    <a:lnTo>
                      <a:pt x="33" y="1430"/>
                    </a:lnTo>
                    <a:lnTo>
                      <a:pt x="19" y="1404"/>
                    </a:lnTo>
                    <a:lnTo>
                      <a:pt x="5" y="1389"/>
                    </a:lnTo>
                    <a:lnTo>
                      <a:pt x="14" y="1362"/>
                    </a:lnTo>
                    <a:lnTo>
                      <a:pt x="24" y="1309"/>
                    </a:lnTo>
                    <a:lnTo>
                      <a:pt x="5" y="1283"/>
                    </a:lnTo>
                    <a:lnTo>
                      <a:pt x="0" y="1256"/>
                    </a:lnTo>
                    <a:lnTo>
                      <a:pt x="0" y="1241"/>
                    </a:lnTo>
                    <a:lnTo>
                      <a:pt x="9" y="1209"/>
                    </a:lnTo>
                    <a:lnTo>
                      <a:pt x="24" y="1214"/>
                    </a:lnTo>
                    <a:lnTo>
                      <a:pt x="38" y="1172"/>
                    </a:lnTo>
                    <a:lnTo>
                      <a:pt x="38" y="1124"/>
                    </a:lnTo>
                    <a:lnTo>
                      <a:pt x="42" y="1108"/>
                    </a:lnTo>
                    <a:lnTo>
                      <a:pt x="61" y="1093"/>
                    </a:lnTo>
                    <a:lnTo>
                      <a:pt x="88" y="1071"/>
                    </a:lnTo>
                    <a:lnTo>
                      <a:pt x="88" y="1046"/>
                    </a:lnTo>
                    <a:lnTo>
                      <a:pt x="85" y="966"/>
                    </a:lnTo>
                    <a:lnTo>
                      <a:pt x="74" y="956"/>
                    </a:lnTo>
                    <a:lnTo>
                      <a:pt x="74" y="935"/>
                    </a:lnTo>
                    <a:lnTo>
                      <a:pt x="99" y="923"/>
                    </a:lnTo>
                    <a:lnTo>
                      <a:pt x="107" y="913"/>
                    </a:lnTo>
                    <a:lnTo>
                      <a:pt x="93" y="882"/>
                    </a:lnTo>
                    <a:lnTo>
                      <a:pt x="74" y="851"/>
                    </a:lnTo>
                    <a:lnTo>
                      <a:pt x="80" y="815"/>
                    </a:lnTo>
                    <a:lnTo>
                      <a:pt x="85" y="790"/>
                    </a:lnTo>
                    <a:lnTo>
                      <a:pt x="104" y="743"/>
                    </a:lnTo>
                    <a:lnTo>
                      <a:pt x="104" y="721"/>
                    </a:lnTo>
                    <a:lnTo>
                      <a:pt x="104" y="679"/>
                    </a:lnTo>
                    <a:lnTo>
                      <a:pt x="118" y="642"/>
                    </a:lnTo>
                    <a:lnTo>
                      <a:pt x="140" y="620"/>
                    </a:lnTo>
                    <a:lnTo>
                      <a:pt x="164" y="605"/>
                    </a:lnTo>
                    <a:lnTo>
                      <a:pt x="187" y="610"/>
                    </a:lnTo>
                    <a:lnTo>
                      <a:pt x="211" y="620"/>
                    </a:lnTo>
                    <a:lnTo>
                      <a:pt x="220" y="583"/>
                    </a:lnTo>
                    <a:lnTo>
                      <a:pt x="211" y="552"/>
                    </a:lnTo>
                    <a:lnTo>
                      <a:pt x="201" y="531"/>
                    </a:lnTo>
                    <a:lnTo>
                      <a:pt x="197" y="515"/>
                    </a:lnTo>
                    <a:lnTo>
                      <a:pt x="201" y="500"/>
                    </a:lnTo>
                    <a:lnTo>
                      <a:pt x="216" y="494"/>
                    </a:lnTo>
                    <a:lnTo>
                      <a:pt x="220" y="458"/>
                    </a:lnTo>
                    <a:lnTo>
                      <a:pt x="230" y="426"/>
                    </a:lnTo>
                    <a:lnTo>
                      <a:pt x="234" y="400"/>
                    </a:lnTo>
                    <a:lnTo>
                      <a:pt x="234" y="373"/>
                    </a:lnTo>
                    <a:lnTo>
                      <a:pt x="248" y="347"/>
                    </a:lnTo>
                    <a:lnTo>
                      <a:pt x="277" y="326"/>
                    </a:lnTo>
                    <a:lnTo>
                      <a:pt x="296" y="320"/>
                    </a:lnTo>
                    <a:lnTo>
                      <a:pt x="296" y="295"/>
                    </a:lnTo>
                    <a:lnTo>
                      <a:pt x="305" y="278"/>
                    </a:lnTo>
                    <a:lnTo>
                      <a:pt x="324" y="252"/>
                    </a:lnTo>
                    <a:lnTo>
                      <a:pt x="343" y="236"/>
                    </a:lnTo>
                    <a:lnTo>
                      <a:pt x="333" y="191"/>
                    </a:lnTo>
                    <a:lnTo>
                      <a:pt x="368" y="147"/>
                    </a:lnTo>
                    <a:lnTo>
                      <a:pt x="376" y="128"/>
                    </a:lnTo>
                    <a:lnTo>
                      <a:pt x="401" y="123"/>
                    </a:lnTo>
                    <a:lnTo>
                      <a:pt x="418" y="98"/>
                    </a:lnTo>
                    <a:lnTo>
                      <a:pt x="418" y="83"/>
                    </a:lnTo>
                    <a:lnTo>
                      <a:pt x="434" y="64"/>
                    </a:lnTo>
                    <a:lnTo>
                      <a:pt x="465" y="60"/>
                    </a:lnTo>
                    <a:lnTo>
                      <a:pt x="500" y="60"/>
                    </a:lnTo>
                    <a:lnTo>
                      <a:pt x="528" y="30"/>
                    </a:lnTo>
                    <a:lnTo>
                      <a:pt x="523" y="0"/>
                    </a:lnTo>
                    <a:lnTo>
                      <a:pt x="528" y="0"/>
                    </a:lnTo>
                    <a:close/>
                  </a:path>
                </a:pathLst>
              </a:custGeom>
              <a:solidFill>
                <a:schemeClr val="accent5">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8" name="NO"/>
            <p:cNvGrpSpPr>
              <a:grpSpLocks/>
            </p:cNvGrpSpPr>
            <p:nvPr/>
          </p:nvGrpSpPr>
          <p:grpSpPr bwMode="auto">
            <a:xfrm>
              <a:off x="5584744" y="990600"/>
              <a:ext cx="1892300" cy="1884365"/>
              <a:chOff x="2536825" y="1148442"/>
              <a:chExt cx="1192" cy="1187"/>
            </a:xfrm>
            <a:solidFill>
              <a:schemeClr val="bg1">
                <a:lumMod val="95000"/>
              </a:schemeClr>
            </a:solidFill>
            <a:effectLst/>
          </p:grpSpPr>
          <p:sp>
            <p:nvSpPr>
              <p:cNvPr id="80" name="Freeform 552"/>
              <p:cNvSpPr>
                <a:spLocks noChangeAspect="1"/>
              </p:cNvSpPr>
              <p:nvPr/>
            </p:nvSpPr>
            <p:spPr bwMode="auto">
              <a:xfrm>
                <a:off x="2536825" y="1148442"/>
                <a:ext cx="1192" cy="1187"/>
              </a:xfrm>
              <a:custGeom>
                <a:avLst/>
                <a:gdLst>
                  <a:gd name="T0" fmla="*/ 376 w 1279"/>
                  <a:gd name="T1" fmla="*/ 1439 h 1576"/>
                  <a:gd name="T2" fmla="*/ 427 w 1279"/>
                  <a:gd name="T3" fmla="*/ 1349 h 1576"/>
                  <a:gd name="T4" fmla="*/ 413 w 1279"/>
                  <a:gd name="T5" fmla="*/ 1227 h 1576"/>
                  <a:gd name="T6" fmla="*/ 423 w 1279"/>
                  <a:gd name="T7" fmla="*/ 1122 h 1576"/>
                  <a:gd name="T8" fmla="*/ 446 w 1279"/>
                  <a:gd name="T9" fmla="*/ 977 h 1576"/>
                  <a:gd name="T10" fmla="*/ 511 w 1279"/>
                  <a:gd name="T11" fmla="*/ 877 h 1576"/>
                  <a:gd name="T12" fmla="*/ 544 w 1279"/>
                  <a:gd name="T13" fmla="*/ 798 h 1576"/>
                  <a:gd name="T14" fmla="*/ 568 w 1279"/>
                  <a:gd name="T15" fmla="*/ 719 h 1576"/>
                  <a:gd name="T16" fmla="*/ 638 w 1279"/>
                  <a:gd name="T17" fmla="*/ 587 h 1576"/>
                  <a:gd name="T18" fmla="*/ 676 w 1279"/>
                  <a:gd name="T19" fmla="*/ 482 h 1576"/>
                  <a:gd name="T20" fmla="*/ 762 w 1279"/>
                  <a:gd name="T21" fmla="*/ 376 h 1576"/>
                  <a:gd name="T22" fmla="*/ 833 w 1279"/>
                  <a:gd name="T23" fmla="*/ 340 h 1576"/>
                  <a:gd name="T24" fmla="*/ 880 w 1279"/>
                  <a:gd name="T25" fmla="*/ 247 h 1576"/>
                  <a:gd name="T26" fmla="*/ 993 w 1279"/>
                  <a:gd name="T27" fmla="*/ 297 h 1576"/>
                  <a:gd name="T28" fmla="*/ 1053 w 1279"/>
                  <a:gd name="T29" fmla="*/ 312 h 1576"/>
                  <a:gd name="T30" fmla="*/ 1086 w 1279"/>
                  <a:gd name="T31" fmla="*/ 189 h 1576"/>
                  <a:gd name="T32" fmla="*/ 1180 w 1279"/>
                  <a:gd name="T33" fmla="*/ 179 h 1576"/>
                  <a:gd name="T34" fmla="*/ 1213 w 1279"/>
                  <a:gd name="T35" fmla="*/ 226 h 1576"/>
                  <a:gd name="T36" fmla="*/ 1241 w 1279"/>
                  <a:gd name="T37" fmla="*/ 163 h 1576"/>
                  <a:gd name="T38" fmla="*/ 1274 w 1279"/>
                  <a:gd name="T39" fmla="*/ 89 h 1576"/>
                  <a:gd name="T40" fmla="*/ 1213 w 1279"/>
                  <a:gd name="T41" fmla="*/ 27 h 1576"/>
                  <a:gd name="T42" fmla="*/ 1157 w 1279"/>
                  <a:gd name="T43" fmla="*/ 31 h 1576"/>
                  <a:gd name="T44" fmla="*/ 1124 w 1279"/>
                  <a:gd name="T45" fmla="*/ 27 h 1576"/>
                  <a:gd name="T46" fmla="*/ 1078 w 1279"/>
                  <a:gd name="T47" fmla="*/ 62 h 1576"/>
                  <a:gd name="T48" fmla="*/ 1059 w 1279"/>
                  <a:gd name="T49" fmla="*/ 42 h 1576"/>
                  <a:gd name="T50" fmla="*/ 988 w 1279"/>
                  <a:gd name="T51" fmla="*/ 136 h 1576"/>
                  <a:gd name="T52" fmla="*/ 918 w 1279"/>
                  <a:gd name="T53" fmla="*/ 163 h 1576"/>
                  <a:gd name="T54" fmla="*/ 842 w 1279"/>
                  <a:gd name="T55" fmla="*/ 189 h 1576"/>
                  <a:gd name="T56" fmla="*/ 753 w 1279"/>
                  <a:gd name="T57" fmla="*/ 210 h 1576"/>
                  <a:gd name="T58" fmla="*/ 743 w 1279"/>
                  <a:gd name="T59" fmla="*/ 287 h 1576"/>
                  <a:gd name="T60" fmla="*/ 734 w 1279"/>
                  <a:gd name="T61" fmla="*/ 355 h 1576"/>
                  <a:gd name="T62" fmla="*/ 662 w 1279"/>
                  <a:gd name="T63" fmla="*/ 371 h 1576"/>
                  <a:gd name="T64" fmla="*/ 638 w 1279"/>
                  <a:gd name="T65" fmla="*/ 429 h 1576"/>
                  <a:gd name="T66" fmla="*/ 582 w 1279"/>
                  <a:gd name="T67" fmla="*/ 513 h 1576"/>
                  <a:gd name="T68" fmla="*/ 525 w 1279"/>
                  <a:gd name="T69" fmla="*/ 618 h 1576"/>
                  <a:gd name="T70" fmla="*/ 479 w 1279"/>
                  <a:gd name="T71" fmla="*/ 725 h 1576"/>
                  <a:gd name="T72" fmla="*/ 451 w 1279"/>
                  <a:gd name="T73" fmla="*/ 788 h 1576"/>
                  <a:gd name="T74" fmla="*/ 361 w 1279"/>
                  <a:gd name="T75" fmla="*/ 877 h 1576"/>
                  <a:gd name="T76" fmla="*/ 413 w 1279"/>
                  <a:gd name="T77" fmla="*/ 887 h 1576"/>
                  <a:gd name="T78" fmla="*/ 333 w 1279"/>
                  <a:gd name="T79" fmla="*/ 904 h 1576"/>
                  <a:gd name="T80" fmla="*/ 258 w 1279"/>
                  <a:gd name="T81" fmla="*/ 957 h 1576"/>
                  <a:gd name="T82" fmla="*/ 195 w 1279"/>
                  <a:gd name="T83" fmla="*/ 961 h 1576"/>
                  <a:gd name="T84" fmla="*/ 143 w 1279"/>
                  <a:gd name="T85" fmla="*/ 1001 h 1576"/>
                  <a:gd name="T86" fmla="*/ 110 w 1279"/>
                  <a:gd name="T87" fmla="*/ 1041 h 1576"/>
                  <a:gd name="T88" fmla="*/ 44 w 1279"/>
                  <a:gd name="T89" fmla="*/ 1088 h 1576"/>
                  <a:gd name="T90" fmla="*/ 25 w 1279"/>
                  <a:gd name="T91" fmla="*/ 1261 h 1576"/>
                  <a:gd name="T92" fmla="*/ 52 w 1279"/>
                  <a:gd name="T93" fmla="*/ 1301 h 1576"/>
                  <a:gd name="T94" fmla="*/ 25 w 1279"/>
                  <a:gd name="T95" fmla="*/ 1378 h 1576"/>
                  <a:gd name="T96" fmla="*/ 42 w 1279"/>
                  <a:gd name="T97" fmla="*/ 1423 h 1576"/>
                  <a:gd name="T98" fmla="*/ 0 w 1279"/>
                  <a:gd name="T99" fmla="*/ 1462 h 1576"/>
                  <a:gd name="T100" fmla="*/ 107 w 1279"/>
                  <a:gd name="T101" fmla="*/ 1576 h 1576"/>
                  <a:gd name="T102" fmla="*/ 265 w 1279"/>
                  <a:gd name="T103" fmla="*/ 1446 h 1576"/>
                  <a:gd name="T104" fmla="*/ 321 w 1279"/>
                  <a:gd name="T105" fmla="*/ 1372 h 1576"/>
                  <a:gd name="T106" fmla="*/ 333 w 1279"/>
                  <a:gd name="T107" fmla="*/ 1483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9" h="1576">
                    <a:moveTo>
                      <a:pt x="343" y="1483"/>
                    </a:moveTo>
                    <a:lnTo>
                      <a:pt x="347" y="1480"/>
                    </a:lnTo>
                    <a:lnTo>
                      <a:pt x="361" y="1476"/>
                    </a:lnTo>
                    <a:lnTo>
                      <a:pt x="371" y="1459"/>
                    </a:lnTo>
                    <a:lnTo>
                      <a:pt x="376" y="1439"/>
                    </a:lnTo>
                    <a:lnTo>
                      <a:pt x="380" y="1428"/>
                    </a:lnTo>
                    <a:lnTo>
                      <a:pt x="376" y="1396"/>
                    </a:lnTo>
                    <a:lnTo>
                      <a:pt x="380" y="1375"/>
                    </a:lnTo>
                    <a:lnTo>
                      <a:pt x="394" y="1365"/>
                    </a:lnTo>
                    <a:lnTo>
                      <a:pt x="427" y="1349"/>
                    </a:lnTo>
                    <a:lnTo>
                      <a:pt x="432" y="1332"/>
                    </a:lnTo>
                    <a:lnTo>
                      <a:pt x="427" y="1280"/>
                    </a:lnTo>
                    <a:lnTo>
                      <a:pt x="423" y="1270"/>
                    </a:lnTo>
                    <a:lnTo>
                      <a:pt x="423" y="1238"/>
                    </a:lnTo>
                    <a:lnTo>
                      <a:pt x="413" y="1227"/>
                    </a:lnTo>
                    <a:lnTo>
                      <a:pt x="418" y="1202"/>
                    </a:lnTo>
                    <a:lnTo>
                      <a:pt x="427" y="1202"/>
                    </a:lnTo>
                    <a:lnTo>
                      <a:pt x="451" y="1186"/>
                    </a:lnTo>
                    <a:lnTo>
                      <a:pt x="432" y="1137"/>
                    </a:lnTo>
                    <a:lnTo>
                      <a:pt x="423" y="1122"/>
                    </a:lnTo>
                    <a:lnTo>
                      <a:pt x="423" y="1118"/>
                    </a:lnTo>
                    <a:lnTo>
                      <a:pt x="423" y="1078"/>
                    </a:lnTo>
                    <a:lnTo>
                      <a:pt x="437" y="1046"/>
                    </a:lnTo>
                    <a:lnTo>
                      <a:pt x="441" y="1014"/>
                    </a:lnTo>
                    <a:lnTo>
                      <a:pt x="446" y="977"/>
                    </a:lnTo>
                    <a:lnTo>
                      <a:pt x="441" y="945"/>
                    </a:lnTo>
                    <a:lnTo>
                      <a:pt x="451" y="924"/>
                    </a:lnTo>
                    <a:lnTo>
                      <a:pt x="456" y="908"/>
                    </a:lnTo>
                    <a:lnTo>
                      <a:pt x="484" y="887"/>
                    </a:lnTo>
                    <a:lnTo>
                      <a:pt x="511" y="877"/>
                    </a:lnTo>
                    <a:lnTo>
                      <a:pt x="536" y="887"/>
                    </a:lnTo>
                    <a:lnTo>
                      <a:pt x="544" y="893"/>
                    </a:lnTo>
                    <a:lnTo>
                      <a:pt x="558" y="872"/>
                    </a:lnTo>
                    <a:lnTo>
                      <a:pt x="558" y="846"/>
                    </a:lnTo>
                    <a:lnTo>
                      <a:pt x="544" y="798"/>
                    </a:lnTo>
                    <a:lnTo>
                      <a:pt x="539" y="778"/>
                    </a:lnTo>
                    <a:lnTo>
                      <a:pt x="544" y="766"/>
                    </a:lnTo>
                    <a:lnTo>
                      <a:pt x="553" y="766"/>
                    </a:lnTo>
                    <a:lnTo>
                      <a:pt x="563" y="751"/>
                    </a:lnTo>
                    <a:lnTo>
                      <a:pt x="568" y="719"/>
                    </a:lnTo>
                    <a:lnTo>
                      <a:pt x="572" y="677"/>
                    </a:lnTo>
                    <a:lnTo>
                      <a:pt x="577" y="635"/>
                    </a:lnTo>
                    <a:lnTo>
                      <a:pt x="591" y="618"/>
                    </a:lnTo>
                    <a:lnTo>
                      <a:pt x="619" y="598"/>
                    </a:lnTo>
                    <a:lnTo>
                      <a:pt x="638" y="587"/>
                    </a:lnTo>
                    <a:lnTo>
                      <a:pt x="643" y="556"/>
                    </a:lnTo>
                    <a:lnTo>
                      <a:pt x="652" y="534"/>
                    </a:lnTo>
                    <a:lnTo>
                      <a:pt x="676" y="513"/>
                    </a:lnTo>
                    <a:lnTo>
                      <a:pt x="681" y="497"/>
                    </a:lnTo>
                    <a:lnTo>
                      <a:pt x="676" y="482"/>
                    </a:lnTo>
                    <a:lnTo>
                      <a:pt x="676" y="460"/>
                    </a:lnTo>
                    <a:lnTo>
                      <a:pt x="695" y="445"/>
                    </a:lnTo>
                    <a:lnTo>
                      <a:pt x="718" y="398"/>
                    </a:lnTo>
                    <a:lnTo>
                      <a:pt x="734" y="402"/>
                    </a:lnTo>
                    <a:lnTo>
                      <a:pt x="762" y="376"/>
                    </a:lnTo>
                    <a:lnTo>
                      <a:pt x="758" y="355"/>
                    </a:lnTo>
                    <a:lnTo>
                      <a:pt x="776" y="334"/>
                    </a:lnTo>
                    <a:lnTo>
                      <a:pt x="786" y="340"/>
                    </a:lnTo>
                    <a:lnTo>
                      <a:pt x="805" y="334"/>
                    </a:lnTo>
                    <a:lnTo>
                      <a:pt x="833" y="340"/>
                    </a:lnTo>
                    <a:lnTo>
                      <a:pt x="870" y="303"/>
                    </a:lnTo>
                    <a:lnTo>
                      <a:pt x="866" y="281"/>
                    </a:lnTo>
                    <a:lnTo>
                      <a:pt x="870" y="271"/>
                    </a:lnTo>
                    <a:lnTo>
                      <a:pt x="861" y="267"/>
                    </a:lnTo>
                    <a:lnTo>
                      <a:pt x="880" y="247"/>
                    </a:lnTo>
                    <a:lnTo>
                      <a:pt x="908" y="243"/>
                    </a:lnTo>
                    <a:lnTo>
                      <a:pt x="927" y="271"/>
                    </a:lnTo>
                    <a:lnTo>
                      <a:pt x="960" y="312"/>
                    </a:lnTo>
                    <a:lnTo>
                      <a:pt x="974" y="312"/>
                    </a:lnTo>
                    <a:lnTo>
                      <a:pt x="993" y="297"/>
                    </a:lnTo>
                    <a:lnTo>
                      <a:pt x="1007" y="293"/>
                    </a:lnTo>
                    <a:lnTo>
                      <a:pt x="1016" y="297"/>
                    </a:lnTo>
                    <a:lnTo>
                      <a:pt x="1031" y="312"/>
                    </a:lnTo>
                    <a:lnTo>
                      <a:pt x="1048" y="318"/>
                    </a:lnTo>
                    <a:lnTo>
                      <a:pt x="1053" y="312"/>
                    </a:lnTo>
                    <a:lnTo>
                      <a:pt x="1062" y="293"/>
                    </a:lnTo>
                    <a:lnTo>
                      <a:pt x="1067" y="281"/>
                    </a:lnTo>
                    <a:lnTo>
                      <a:pt x="1086" y="247"/>
                    </a:lnTo>
                    <a:lnTo>
                      <a:pt x="1091" y="243"/>
                    </a:lnTo>
                    <a:lnTo>
                      <a:pt x="1086" y="189"/>
                    </a:lnTo>
                    <a:lnTo>
                      <a:pt x="1110" y="163"/>
                    </a:lnTo>
                    <a:lnTo>
                      <a:pt x="1119" y="169"/>
                    </a:lnTo>
                    <a:lnTo>
                      <a:pt x="1147" y="136"/>
                    </a:lnTo>
                    <a:lnTo>
                      <a:pt x="1171" y="169"/>
                    </a:lnTo>
                    <a:lnTo>
                      <a:pt x="1180" y="179"/>
                    </a:lnTo>
                    <a:lnTo>
                      <a:pt x="1194" y="173"/>
                    </a:lnTo>
                    <a:lnTo>
                      <a:pt x="1204" y="189"/>
                    </a:lnTo>
                    <a:lnTo>
                      <a:pt x="1204" y="200"/>
                    </a:lnTo>
                    <a:lnTo>
                      <a:pt x="1213" y="210"/>
                    </a:lnTo>
                    <a:lnTo>
                      <a:pt x="1213" y="226"/>
                    </a:lnTo>
                    <a:lnTo>
                      <a:pt x="1227" y="206"/>
                    </a:lnTo>
                    <a:lnTo>
                      <a:pt x="1251" y="184"/>
                    </a:lnTo>
                    <a:lnTo>
                      <a:pt x="1265" y="152"/>
                    </a:lnTo>
                    <a:lnTo>
                      <a:pt x="1255" y="147"/>
                    </a:lnTo>
                    <a:lnTo>
                      <a:pt x="1241" y="163"/>
                    </a:lnTo>
                    <a:lnTo>
                      <a:pt x="1237" y="136"/>
                    </a:lnTo>
                    <a:lnTo>
                      <a:pt x="1227" y="132"/>
                    </a:lnTo>
                    <a:lnTo>
                      <a:pt x="1223" y="116"/>
                    </a:lnTo>
                    <a:lnTo>
                      <a:pt x="1260" y="83"/>
                    </a:lnTo>
                    <a:lnTo>
                      <a:pt x="1274" y="89"/>
                    </a:lnTo>
                    <a:lnTo>
                      <a:pt x="1279" y="68"/>
                    </a:lnTo>
                    <a:lnTo>
                      <a:pt x="1270" y="62"/>
                    </a:lnTo>
                    <a:lnTo>
                      <a:pt x="1246" y="52"/>
                    </a:lnTo>
                    <a:lnTo>
                      <a:pt x="1232" y="46"/>
                    </a:lnTo>
                    <a:lnTo>
                      <a:pt x="1213" y="27"/>
                    </a:lnTo>
                    <a:lnTo>
                      <a:pt x="1194" y="21"/>
                    </a:lnTo>
                    <a:lnTo>
                      <a:pt x="1175" y="42"/>
                    </a:lnTo>
                    <a:lnTo>
                      <a:pt x="1166" y="58"/>
                    </a:lnTo>
                    <a:lnTo>
                      <a:pt x="1147" y="42"/>
                    </a:lnTo>
                    <a:lnTo>
                      <a:pt x="1157" y="31"/>
                    </a:lnTo>
                    <a:lnTo>
                      <a:pt x="1161" y="5"/>
                    </a:lnTo>
                    <a:lnTo>
                      <a:pt x="1157" y="0"/>
                    </a:lnTo>
                    <a:lnTo>
                      <a:pt x="1133" y="0"/>
                    </a:lnTo>
                    <a:lnTo>
                      <a:pt x="1128" y="10"/>
                    </a:lnTo>
                    <a:lnTo>
                      <a:pt x="1124" y="27"/>
                    </a:lnTo>
                    <a:lnTo>
                      <a:pt x="1128" y="42"/>
                    </a:lnTo>
                    <a:lnTo>
                      <a:pt x="1110" y="62"/>
                    </a:lnTo>
                    <a:lnTo>
                      <a:pt x="1095" y="31"/>
                    </a:lnTo>
                    <a:lnTo>
                      <a:pt x="1081" y="37"/>
                    </a:lnTo>
                    <a:lnTo>
                      <a:pt x="1078" y="62"/>
                    </a:lnTo>
                    <a:lnTo>
                      <a:pt x="1067" y="99"/>
                    </a:lnTo>
                    <a:lnTo>
                      <a:pt x="1045" y="126"/>
                    </a:lnTo>
                    <a:lnTo>
                      <a:pt x="1031" y="95"/>
                    </a:lnTo>
                    <a:lnTo>
                      <a:pt x="1053" y="74"/>
                    </a:lnTo>
                    <a:lnTo>
                      <a:pt x="1059" y="42"/>
                    </a:lnTo>
                    <a:lnTo>
                      <a:pt x="1045" y="42"/>
                    </a:lnTo>
                    <a:lnTo>
                      <a:pt x="1021" y="42"/>
                    </a:lnTo>
                    <a:lnTo>
                      <a:pt x="1002" y="74"/>
                    </a:lnTo>
                    <a:lnTo>
                      <a:pt x="979" y="116"/>
                    </a:lnTo>
                    <a:lnTo>
                      <a:pt x="988" y="136"/>
                    </a:lnTo>
                    <a:lnTo>
                      <a:pt x="974" y="147"/>
                    </a:lnTo>
                    <a:lnTo>
                      <a:pt x="955" y="132"/>
                    </a:lnTo>
                    <a:lnTo>
                      <a:pt x="936" y="142"/>
                    </a:lnTo>
                    <a:lnTo>
                      <a:pt x="941" y="163"/>
                    </a:lnTo>
                    <a:lnTo>
                      <a:pt x="918" y="163"/>
                    </a:lnTo>
                    <a:lnTo>
                      <a:pt x="903" y="169"/>
                    </a:lnTo>
                    <a:lnTo>
                      <a:pt x="885" y="194"/>
                    </a:lnTo>
                    <a:lnTo>
                      <a:pt x="861" y="189"/>
                    </a:lnTo>
                    <a:lnTo>
                      <a:pt x="861" y="206"/>
                    </a:lnTo>
                    <a:lnTo>
                      <a:pt x="842" y="189"/>
                    </a:lnTo>
                    <a:lnTo>
                      <a:pt x="819" y="200"/>
                    </a:lnTo>
                    <a:lnTo>
                      <a:pt x="814" y="221"/>
                    </a:lnTo>
                    <a:lnTo>
                      <a:pt x="795" y="226"/>
                    </a:lnTo>
                    <a:lnTo>
                      <a:pt x="781" y="206"/>
                    </a:lnTo>
                    <a:lnTo>
                      <a:pt x="753" y="210"/>
                    </a:lnTo>
                    <a:lnTo>
                      <a:pt x="725" y="221"/>
                    </a:lnTo>
                    <a:lnTo>
                      <a:pt x="725" y="253"/>
                    </a:lnTo>
                    <a:lnTo>
                      <a:pt x="743" y="258"/>
                    </a:lnTo>
                    <a:lnTo>
                      <a:pt x="743" y="267"/>
                    </a:lnTo>
                    <a:lnTo>
                      <a:pt x="743" y="287"/>
                    </a:lnTo>
                    <a:lnTo>
                      <a:pt x="729" y="281"/>
                    </a:lnTo>
                    <a:lnTo>
                      <a:pt x="713" y="293"/>
                    </a:lnTo>
                    <a:lnTo>
                      <a:pt x="718" y="312"/>
                    </a:lnTo>
                    <a:lnTo>
                      <a:pt x="734" y="330"/>
                    </a:lnTo>
                    <a:lnTo>
                      <a:pt x="734" y="355"/>
                    </a:lnTo>
                    <a:lnTo>
                      <a:pt x="718" y="345"/>
                    </a:lnTo>
                    <a:lnTo>
                      <a:pt x="704" y="349"/>
                    </a:lnTo>
                    <a:lnTo>
                      <a:pt x="704" y="371"/>
                    </a:lnTo>
                    <a:lnTo>
                      <a:pt x="681" y="371"/>
                    </a:lnTo>
                    <a:lnTo>
                      <a:pt x="662" y="371"/>
                    </a:lnTo>
                    <a:lnTo>
                      <a:pt x="657" y="386"/>
                    </a:lnTo>
                    <a:lnTo>
                      <a:pt x="652" y="398"/>
                    </a:lnTo>
                    <a:lnTo>
                      <a:pt x="638" y="402"/>
                    </a:lnTo>
                    <a:lnTo>
                      <a:pt x="633" y="413"/>
                    </a:lnTo>
                    <a:lnTo>
                      <a:pt x="638" y="429"/>
                    </a:lnTo>
                    <a:lnTo>
                      <a:pt x="610" y="439"/>
                    </a:lnTo>
                    <a:lnTo>
                      <a:pt x="629" y="460"/>
                    </a:lnTo>
                    <a:lnTo>
                      <a:pt x="633" y="472"/>
                    </a:lnTo>
                    <a:lnTo>
                      <a:pt x="615" y="487"/>
                    </a:lnTo>
                    <a:lnTo>
                      <a:pt x="582" y="513"/>
                    </a:lnTo>
                    <a:lnTo>
                      <a:pt x="558" y="534"/>
                    </a:lnTo>
                    <a:lnTo>
                      <a:pt x="544" y="566"/>
                    </a:lnTo>
                    <a:lnTo>
                      <a:pt x="520" y="587"/>
                    </a:lnTo>
                    <a:lnTo>
                      <a:pt x="520" y="603"/>
                    </a:lnTo>
                    <a:lnTo>
                      <a:pt x="525" y="618"/>
                    </a:lnTo>
                    <a:lnTo>
                      <a:pt x="506" y="635"/>
                    </a:lnTo>
                    <a:lnTo>
                      <a:pt x="511" y="655"/>
                    </a:lnTo>
                    <a:lnTo>
                      <a:pt x="492" y="692"/>
                    </a:lnTo>
                    <a:lnTo>
                      <a:pt x="479" y="698"/>
                    </a:lnTo>
                    <a:lnTo>
                      <a:pt x="479" y="725"/>
                    </a:lnTo>
                    <a:lnTo>
                      <a:pt x="489" y="741"/>
                    </a:lnTo>
                    <a:lnTo>
                      <a:pt x="473" y="756"/>
                    </a:lnTo>
                    <a:lnTo>
                      <a:pt x="465" y="745"/>
                    </a:lnTo>
                    <a:lnTo>
                      <a:pt x="446" y="756"/>
                    </a:lnTo>
                    <a:lnTo>
                      <a:pt x="451" y="788"/>
                    </a:lnTo>
                    <a:lnTo>
                      <a:pt x="432" y="798"/>
                    </a:lnTo>
                    <a:lnTo>
                      <a:pt x="404" y="803"/>
                    </a:lnTo>
                    <a:lnTo>
                      <a:pt x="385" y="830"/>
                    </a:lnTo>
                    <a:lnTo>
                      <a:pt x="380" y="856"/>
                    </a:lnTo>
                    <a:lnTo>
                      <a:pt x="361" y="877"/>
                    </a:lnTo>
                    <a:lnTo>
                      <a:pt x="361" y="893"/>
                    </a:lnTo>
                    <a:lnTo>
                      <a:pt x="385" y="872"/>
                    </a:lnTo>
                    <a:lnTo>
                      <a:pt x="413" y="850"/>
                    </a:lnTo>
                    <a:lnTo>
                      <a:pt x="423" y="856"/>
                    </a:lnTo>
                    <a:lnTo>
                      <a:pt x="413" y="887"/>
                    </a:lnTo>
                    <a:lnTo>
                      <a:pt x="390" y="904"/>
                    </a:lnTo>
                    <a:lnTo>
                      <a:pt x="366" y="899"/>
                    </a:lnTo>
                    <a:lnTo>
                      <a:pt x="371" y="920"/>
                    </a:lnTo>
                    <a:lnTo>
                      <a:pt x="338" y="936"/>
                    </a:lnTo>
                    <a:lnTo>
                      <a:pt x="333" y="904"/>
                    </a:lnTo>
                    <a:lnTo>
                      <a:pt x="319" y="893"/>
                    </a:lnTo>
                    <a:lnTo>
                      <a:pt x="300" y="924"/>
                    </a:lnTo>
                    <a:lnTo>
                      <a:pt x="281" y="924"/>
                    </a:lnTo>
                    <a:lnTo>
                      <a:pt x="261" y="930"/>
                    </a:lnTo>
                    <a:lnTo>
                      <a:pt x="258" y="957"/>
                    </a:lnTo>
                    <a:lnTo>
                      <a:pt x="248" y="961"/>
                    </a:lnTo>
                    <a:lnTo>
                      <a:pt x="248" y="975"/>
                    </a:lnTo>
                    <a:lnTo>
                      <a:pt x="237" y="970"/>
                    </a:lnTo>
                    <a:lnTo>
                      <a:pt x="220" y="958"/>
                    </a:lnTo>
                    <a:lnTo>
                      <a:pt x="195" y="961"/>
                    </a:lnTo>
                    <a:lnTo>
                      <a:pt x="195" y="977"/>
                    </a:lnTo>
                    <a:lnTo>
                      <a:pt x="197" y="991"/>
                    </a:lnTo>
                    <a:lnTo>
                      <a:pt x="187" y="995"/>
                    </a:lnTo>
                    <a:lnTo>
                      <a:pt x="164" y="982"/>
                    </a:lnTo>
                    <a:lnTo>
                      <a:pt x="143" y="1001"/>
                    </a:lnTo>
                    <a:lnTo>
                      <a:pt x="148" y="1017"/>
                    </a:lnTo>
                    <a:lnTo>
                      <a:pt x="145" y="1028"/>
                    </a:lnTo>
                    <a:lnTo>
                      <a:pt x="124" y="1017"/>
                    </a:lnTo>
                    <a:lnTo>
                      <a:pt x="118" y="1031"/>
                    </a:lnTo>
                    <a:lnTo>
                      <a:pt x="110" y="1041"/>
                    </a:lnTo>
                    <a:lnTo>
                      <a:pt x="85" y="1035"/>
                    </a:lnTo>
                    <a:lnTo>
                      <a:pt x="71" y="1038"/>
                    </a:lnTo>
                    <a:lnTo>
                      <a:pt x="68" y="1059"/>
                    </a:lnTo>
                    <a:lnTo>
                      <a:pt x="58" y="1065"/>
                    </a:lnTo>
                    <a:lnTo>
                      <a:pt x="44" y="1088"/>
                    </a:lnTo>
                    <a:lnTo>
                      <a:pt x="47" y="1118"/>
                    </a:lnTo>
                    <a:lnTo>
                      <a:pt x="42" y="1159"/>
                    </a:lnTo>
                    <a:lnTo>
                      <a:pt x="35" y="1202"/>
                    </a:lnTo>
                    <a:lnTo>
                      <a:pt x="30" y="1241"/>
                    </a:lnTo>
                    <a:lnTo>
                      <a:pt x="25" y="1261"/>
                    </a:lnTo>
                    <a:lnTo>
                      <a:pt x="38" y="1280"/>
                    </a:lnTo>
                    <a:lnTo>
                      <a:pt x="58" y="1264"/>
                    </a:lnTo>
                    <a:lnTo>
                      <a:pt x="72" y="1273"/>
                    </a:lnTo>
                    <a:lnTo>
                      <a:pt x="72" y="1288"/>
                    </a:lnTo>
                    <a:lnTo>
                      <a:pt x="52" y="1301"/>
                    </a:lnTo>
                    <a:lnTo>
                      <a:pt x="49" y="1328"/>
                    </a:lnTo>
                    <a:lnTo>
                      <a:pt x="44" y="1341"/>
                    </a:lnTo>
                    <a:lnTo>
                      <a:pt x="24" y="1338"/>
                    </a:lnTo>
                    <a:lnTo>
                      <a:pt x="16" y="1369"/>
                    </a:lnTo>
                    <a:lnTo>
                      <a:pt x="25" y="1378"/>
                    </a:lnTo>
                    <a:lnTo>
                      <a:pt x="44" y="1372"/>
                    </a:lnTo>
                    <a:lnTo>
                      <a:pt x="54" y="1386"/>
                    </a:lnTo>
                    <a:lnTo>
                      <a:pt x="56" y="1394"/>
                    </a:lnTo>
                    <a:lnTo>
                      <a:pt x="40" y="1405"/>
                    </a:lnTo>
                    <a:lnTo>
                      <a:pt x="42" y="1423"/>
                    </a:lnTo>
                    <a:lnTo>
                      <a:pt x="24" y="1428"/>
                    </a:lnTo>
                    <a:lnTo>
                      <a:pt x="11" y="1418"/>
                    </a:lnTo>
                    <a:lnTo>
                      <a:pt x="14" y="1443"/>
                    </a:lnTo>
                    <a:lnTo>
                      <a:pt x="11" y="1462"/>
                    </a:lnTo>
                    <a:lnTo>
                      <a:pt x="0" y="1462"/>
                    </a:lnTo>
                    <a:lnTo>
                      <a:pt x="28" y="1495"/>
                    </a:lnTo>
                    <a:lnTo>
                      <a:pt x="42" y="1513"/>
                    </a:lnTo>
                    <a:lnTo>
                      <a:pt x="49" y="1539"/>
                    </a:lnTo>
                    <a:lnTo>
                      <a:pt x="77" y="1557"/>
                    </a:lnTo>
                    <a:lnTo>
                      <a:pt x="107" y="1576"/>
                    </a:lnTo>
                    <a:lnTo>
                      <a:pt x="137" y="1576"/>
                    </a:lnTo>
                    <a:lnTo>
                      <a:pt x="178" y="1544"/>
                    </a:lnTo>
                    <a:lnTo>
                      <a:pt x="220" y="1510"/>
                    </a:lnTo>
                    <a:lnTo>
                      <a:pt x="258" y="1452"/>
                    </a:lnTo>
                    <a:lnTo>
                      <a:pt x="265" y="1446"/>
                    </a:lnTo>
                    <a:lnTo>
                      <a:pt x="275" y="1465"/>
                    </a:lnTo>
                    <a:lnTo>
                      <a:pt x="294" y="1452"/>
                    </a:lnTo>
                    <a:lnTo>
                      <a:pt x="300" y="1431"/>
                    </a:lnTo>
                    <a:lnTo>
                      <a:pt x="302" y="1405"/>
                    </a:lnTo>
                    <a:lnTo>
                      <a:pt x="321" y="1372"/>
                    </a:lnTo>
                    <a:lnTo>
                      <a:pt x="314" y="1409"/>
                    </a:lnTo>
                    <a:lnTo>
                      <a:pt x="324" y="1415"/>
                    </a:lnTo>
                    <a:lnTo>
                      <a:pt x="319" y="1431"/>
                    </a:lnTo>
                    <a:lnTo>
                      <a:pt x="324" y="1459"/>
                    </a:lnTo>
                    <a:lnTo>
                      <a:pt x="333" y="1483"/>
                    </a:lnTo>
                    <a:lnTo>
                      <a:pt x="344" y="1476"/>
                    </a:lnTo>
                    <a:lnTo>
                      <a:pt x="343" y="1483"/>
                    </a:lnTo>
                    <a:close/>
                  </a:path>
                </a:pathLst>
              </a:custGeom>
              <a:solidFill>
                <a:schemeClr val="accent5">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1" name="Freeform 553"/>
              <p:cNvSpPr>
                <a:spLocks noChangeAspect="1"/>
              </p:cNvSpPr>
              <p:nvPr/>
            </p:nvSpPr>
            <p:spPr bwMode="auto">
              <a:xfrm>
                <a:off x="2537422" y="1148650"/>
                <a:ext cx="36" cy="42"/>
              </a:xfrm>
              <a:custGeom>
                <a:avLst/>
                <a:gdLst>
                  <a:gd name="T0" fmla="*/ 38 w 38"/>
                  <a:gd name="T1" fmla="*/ 9 h 56"/>
                  <a:gd name="T2" fmla="*/ 34 w 38"/>
                  <a:gd name="T3" fmla="*/ 21 h 56"/>
                  <a:gd name="T4" fmla="*/ 38 w 38"/>
                  <a:gd name="T5" fmla="*/ 47 h 56"/>
                  <a:gd name="T6" fmla="*/ 11 w 38"/>
                  <a:gd name="T7" fmla="*/ 56 h 56"/>
                  <a:gd name="T8" fmla="*/ 0 w 38"/>
                  <a:gd name="T9" fmla="*/ 43 h 56"/>
                  <a:gd name="T10" fmla="*/ 0 w 38"/>
                  <a:gd name="T11" fmla="*/ 21 h 56"/>
                  <a:gd name="T12" fmla="*/ 8 w 38"/>
                  <a:gd name="T13" fmla="*/ 0 h 56"/>
                  <a:gd name="T14" fmla="*/ 38 w 38"/>
                  <a:gd name="T15" fmla="*/ 9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6">
                    <a:moveTo>
                      <a:pt x="38" y="9"/>
                    </a:moveTo>
                    <a:lnTo>
                      <a:pt x="34" y="21"/>
                    </a:lnTo>
                    <a:lnTo>
                      <a:pt x="38" y="47"/>
                    </a:lnTo>
                    <a:lnTo>
                      <a:pt x="11" y="56"/>
                    </a:lnTo>
                    <a:lnTo>
                      <a:pt x="0" y="43"/>
                    </a:lnTo>
                    <a:lnTo>
                      <a:pt x="0" y="21"/>
                    </a:lnTo>
                    <a:lnTo>
                      <a:pt x="8" y="0"/>
                    </a:lnTo>
                    <a:lnTo>
                      <a:pt x="38" y="9"/>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2" name="Freeform 554"/>
              <p:cNvSpPr>
                <a:spLocks noChangeAspect="1"/>
              </p:cNvSpPr>
              <p:nvPr/>
            </p:nvSpPr>
            <p:spPr bwMode="auto">
              <a:xfrm>
                <a:off x="2537367" y="1148679"/>
                <a:ext cx="32" cy="22"/>
              </a:xfrm>
              <a:custGeom>
                <a:avLst/>
                <a:gdLst>
                  <a:gd name="T0" fmla="*/ 31 w 34"/>
                  <a:gd name="T1" fmla="*/ 0 h 30"/>
                  <a:gd name="T2" fmla="*/ 34 w 34"/>
                  <a:gd name="T3" fmla="*/ 22 h 30"/>
                  <a:gd name="T4" fmla="*/ 8 w 34"/>
                  <a:gd name="T5" fmla="*/ 30 h 30"/>
                  <a:gd name="T6" fmla="*/ 0 w 34"/>
                  <a:gd name="T7" fmla="*/ 9 h 30"/>
                  <a:gd name="T8" fmla="*/ 31 w 34"/>
                  <a:gd name="T9" fmla="*/ 0 h 30"/>
                </a:gdLst>
                <a:ahLst/>
                <a:cxnLst>
                  <a:cxn ang="0">
                    <a:pos x="T0" y="T1"/>
                  </a:cxn>
                  <a:cxn ang="0">
                    <a:pos x="T2" y="T3"/>
                  </a:cxn>
                  <a:cxn ang="0">
                    <a:pos x="T4" y="T5"/>
                  </a:cxn>
                  <a:cxn ang="0">
                    <a:pos x="T6" y="T7"/>
                  </a:cxn>
                  <a:cxn ang="0">
                    <a:pos x="T8" y="T9"/>
                  </a:cxn>
                </a:cxnLst>
                <a:rect l="0" t="0" r="r" b="b"/>
                <a:pathLst>
                  <a:path w="34" h="30">
                    <a:moveTo>
                      <a:pt x="31" y="0"/>
                    </a:moveTo>
                    <a:lnTo>
                      <a:pt x="34" y="22"/>
                    </a:lnTo>
                    <a:lnTo>
                      <a:pt x="8" y="30"/>
                    </a:lnTo>
                    <a:lnTo>
                      <a:pt x="0" y="9"/>
                    </a:lnTo>
                    <a:lnTo>
                      <a:pt x="3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3" name="Freeform 555"/>
              <p:cNvSpPr>
                <a:spLocks noChangeAspect="1"/>
              </p:cNvSpPr>
              <p:nvPr/>
            </p:nvSpPr>
            <p:spPr bwMode="auto">
              <a:xfrm>
                <a:off x="2537376" y="1148632"/>
                <a:ext cx="40" cy="27"/>
              </a:xfrm>
              <a:custGeom>
                <a:avLst/>
                <a:gdLst>
                  <a:gd name="T0" fmla="*/ 0 w 41"/>
                  <a:gd name="T1" fmla="*/ 23 h 36"/>
                  <a:gd name="T2" fmla="*/ 30 w 41"/>
                  <a:gd name="T3" fmla="*/ 36 h 36"/>
                  <a:gd name="T4" fmla="*/ 41 w 41"/>
                  <a:gd name="T5" fmla="*/ 9 h 36"/>
                  <a:gd name="T6" fmla="*/ 22 w 41"/>
                  <a:gd name="T7" fmla="*/ 0 h 36"/>
                  <a:gd name="T8" fmla="*/ 11 w 41"/>
                  <a:gd name="T9" fmla="*/ 9 h 36"/>
                  <a:gd name="T10" fmla="*/ 0 w 41"/>
                  <a:gd name="T11" fmla="*/ 16 h 36"/>
                  <a:gd name="T12" fmla="*/ 0 w 41"/>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1" h="36">
                    <a:moveTo>
                      <a:pt x="0" y="23"/>
                    </a:moveTo>
                    <a:lnTo>
                      <a:pt x="30" y="36"/>
                    </a:lnTo>
                    <a:lnTo>
                      <a:pt x="41" y="9"/>
                    </a:lnTo>
                    <a:lnTo>
                      <a:pt x="22" y="0"/>
                    </a:lnTo>
                    <a:lnTo>
                      <a:pt x="11" y="9"/>
                    </a:lnTo>
                    <a:lnTo>
                      <a:pt x="0" y="16"/>
                    </a:lnTo>
                    <a:lnTo>
                      <a:pt x="0" y="2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4" name="Freeform 556"/>
              <p:cNvSpPr>
                <a:spLocks noChangeAspect="1"/>
              </p:cNvSpPr>
              <p:nvPr/>
            </p:nvSpPr>
            <p:spPr bwMode="auto">
              <a:xfrm>
                <a:off x="2537422" y="1148608"/>
                <a:ext cx="29" cy="17"/>
              </a:xfrm>
              <a:custGeom>
                <a:avLst/>
                <a:gdLst>
                  <a:gd name="T0" fmla="*/ 0 w 30"/>
                  <a:gd name="T1" fmla="*/ 22 h 22"/>
                  <a:gd name="T2" fmla="*/ 23 w 30"/>
                  <a:gd name="T3" fmla="*/ 0 h 22"/>
                  <a:gd name="T4" fmla="*/ 30 w 30"/>
                  <a:gd name="T5" fmla="*/ 8 h 22"/>
                  <a:gd name="T6" fmla="*/ 0 w 30"/>
                  <a:gd name="T7" fmla="*/ 22 h 22"/>
                </a:gdLst>
                <a:ahLst/>
                <a:cxnLst>
                  <a:cxn ang="0">
                    <a:pos x="T0" y="T1"/>
                  </a:cxn>
                  <a:cxn ang="0">
                    <a:pos x="T2" y="T3"/>
                  </a:cxn>
                  <a:cxn ang="0">
                    <a:pos x="T4" y="T5"/>
                  </a:cxn>
                  <a:cxn ang="0">
                    <a:pos x="T6" y="T7"/>
                  </a:cxn>
                </a:cxnLst>
                <a:rect l="0" t="0" r="r" b="b"/>
                <a:pathLst>
                  <a:path w="30" h="22">
                    <a:moveTo>
                      <a:pt x="0" y="22"/>
                    </a:moveTo>
                    <a:lnTo>
                      <a:pt x="23" y="0"/>
                    </a:lnTo>
                    <a:lnTo>
                      <a:pt x="30" y="8"/>
                    </a:lnTo>
                    <a:lnTo>
                      <a:pt x="0" y="22"/>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5" name="Freeform 557"/>
              <p:cNvSpPr>
                <a:spLocks noChangeAspect="1"/>
              </p:cNvSpPr>
              <p:nvPr/>
            </p:nvSpPr>
            <p:spPr bwMode="auto">
              <a:xfrm>
                <a:off x="2537321" y="1148688"/>
                <a:ext cx="20" cy="19"/>
              </a:xfrm>
              <a:custGeom>
                <a:avLst/>
                <a:gdLst>
                  <a:gd name="T0" fmla="*/ 19 w 23"/>
                  <a:gd name="T1" fmla="*/ 0 h 26"/>
                  <a:gd name="T2" fmla="*/ 23 w 23"/>
                  <a:gd name="T3" fmla="*/ 22 h 26"/>
                  <a:gd name="T4" fmla="*/ 0 w 23"/>
                  <a:gd name="T5" fmla="*/ 26 h 26"/>
                  <a:gd name="T6" fmla="*/ 19 w 23"/>
                  <a:gd name="T7" fmla="*/ 0 h 26"/>
                </a:gdLst>
                <a:ahLst/>
                <a:cxnLst>
                  <a:cxn ang="0">
                    <a:pos x="T0" y="T1"/>
                  </a:cxn>
                  <a:cxn ang="0">
                    <a:pos x="T2" y="T3"/>
                  </a:cxn>
                  <a:cxn ang="0">
                    <a:pos x="T4" y="T5"/>
                  </a:cxn>
                  <a:cxn ang="0">
                    <a:pos x="T6" y="T7"/>
                  </a:cxn>
                </a:cxnLst>
                <a:rect l="0" t="0" r="r" b="b"/>
                <a:pathLst>
                  <a:path w="23" h="26">
                    <a:moveTo>
                      <a:pt x="19" y="0"/>
                    </a:moveTo>
                    <a:lnTo>
                      <a:pt x="23" y="22"/>
                    </a:lnTo>
                    <a:lnTo>
                      <a:pt x="0" y="26"/>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6" name="Freeform 558"/>
              <p:cNvSpPr>
                <a:spLocks noChangeAspect="1"/>
              </p:cNvSpPr>
              <p:nvPr/>
            </p:nvSpPr>
            <p:spPr bwMode="auto">
              <a:xfrm>
                <a:off x="2537543" y="1148555"/>
                <a:ext cx="40" cy="29"/>
              </a:xfrm>
              <a:custGeom>
                <a:avLst/>
                <a:gdLst>
                  <a:gd name="T0" fmla="*/ 19 w 42"/>
                  <a:gd name="T1" fmla="*/ 0 h 38"/>
                  <a:gd name="T2" fmla="*/ 0 w 42"/>
                  <a:gd name="T3" fmla="*/ 17 h 38"/>
                  <a:gd name="T4" fmla="*/ 27 w 42"/>
                  <a:gd name="T5" fmla="*/ 38 h 38"/>
                  <a:gd name="T6" fmla="*/ 42 w 42"/>
                  <a:gd name="T7" fmla="*/ 17 h 38"/>
                  <a:gd name="T8" fmla="*/ 19 w 42"/>
                  <a:gd name="T9" fmla="*/ 0 h 38"/>
                </a:gdLst>
                <a:ahLst/>
                <a:cxnLst>
                  <a:cxn ang="0">
                    <a:pos x="T0" y="T1"/>
                  </a:cxn>
                  <a:cxn ang="0">
                    <a:pos x="T2" y="T3"/>
                  </a:cxn>
                  <a:cxn ang="0">
                    <a:pos x="T4" y="T5"/>
                  </a:cxn>
                  <a:cxn ang="0">
                    <a:pos x="T6" y="T7"/>
                  </a:cxn>
                  <a:cxn ang="0">
                    <a:pos x="T8" y="T9"/>
                  </a:cxn>
                </a:cxnLst>
                <a:rect l="0" t="0" r="r" b="b"/>
                <a:pathLst>
                  <a:path w="42" h="38">
                    <a:moveTo>
                      <a:pt x="19" y="0"/>
                    </a:moveTo>
                    <a:lnTo>
                      <a:pt x="0" y="17"/>
                    </a:lnTo>
                    <a:lnTo>
                      <a:pt x="27" y="38"/>
                    </a:lnTo>
                    <a:lnTo>
                      <a:pt x="42" y="17"/>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7" name="Freeform 559"/>
              <p:cNvSpPr>
                <a:spLocks noChangeAspect="1"/>
              </p:cNvSpPr>
              <p:nvPr/>
            </p:nvSpPr>
            <p:spPr bwMode="auto">
              <a:xfrm>
                <a:off x="2537579" y="1148530"/>
                <a:ext cx="40" cy="28"/>
              </a:xfrm>
              <a:custGeom>
                <a:avLst/>
                <a:gdLst>
                  <a:gd name="T0" fmla="*/ 0 w 42"/>
                  <a:gd name="T1" fmla="*/ 13 h 38"/>
                  <a:gd name="T2" fmla="*/ 19 w 42"/>
                  <a:gd name="T3" fmla="*/ 38 h 38"/>
                  <a:gd name="T4" fmla="*/ 42 w 42"/>
                  <a:gd name="T5" fmla="*/ 21 h 38"/>
                  <a:gd name="T6" fmla="*/ 23 w 42"/>
                  <a:gd name="T7" fmla="*/ 0 h 38"/>
                  <a:gd name="T8" fmla="*/ 0 w 42"/>
                  <a:gd name="T9" fmla="*/ 13 h 38"/>
                </a:gdLst>
                <a:ahLst/>
                <a:cxnLst>
                  <a:cxn ang="0">
                    <a:pos x="T0" y="T1"/>
                  </a:cxn>
                  <a:cxn ang="0">
                    <a:pos x="T2" y="T3"/>
                  </a:cxn>
                  <a:cxn ang="0">
                    <a:pos x="T4" y="T5"/>
                  </a:cxn>
                  <a:cxn ang="0">
                    <a:pos x="T6" y="T7"/>
                  </a:cxn>
                  <a:cxn ang="0">
                    <a:pos x="T8" y="T9"/>
                  </a:cxn>
                </a:cxnLst>
                <a:rect l="0" t="0" r="r" b="b"/>
                <a:pathLst>
                  <a:path w="42" h="38">
                    <a:moveTo>
                      <a:pt x="0" y="13"/>
                    </a:moveTo>
                    <a:lnTo>
                      <a:pt x="19" y="38"/>
                    </a:lnTo>
                    <a:lnTo>
                      <a:pt x="42" y="21"/>
                    </a:lnTo>
                    <a:lnTo>
                      <a:pt x="23" y="0"/>
                    </a:lnTo>
                    <a:lnTo>
                      <a:pt x="0"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8" name="Freeform 560"/>
              <p:cNvSpPr>
                <a:spLocks noChangeAspect="1"/>
              </p:cNvSpPr>
              <p:nvPr/>
            </p:nvSpPr>
            <p:spPr bwMode="auto">
              <a:xfrm>
                <a:off x="2537682" y="1148475"/>
                <a:ext cx="58" cy="35"/>
              </a:xfrm>
              <a:custGeom>
                <a:avLst/>
                <a:gdLst>
                  <a:gd name="T0" fmla="*/ 26 w 60"/>
                  <a:gd name="T1" fmla="*/ 13 h 47"/>
                  <a:gd name="T2" fmla="*/ 38 w 60"/>
                  <a:gd name="T3" fmla="*/ 22 h 47"/>
                  <a:gd name="T4" fmla="*/ 60 w 60"/>
                  <a:gd name="T5" fmla="*/ 0 h 47"/>
                  <a:gd name="T6" fmla="*/ 49 w 60"/>
                  <a:gd name="T7" fmla="*/ 43 h 47"/>
                  <a:gd name="T8" fmla="*/ 26 w 60"/>
                  <a:gd name="T9" fmla="*/ 47 h 47"/>
                  <a:gd name="T10" fmla="*/ 0 w 60"/>
                  <a:gd name="T11" fmla="*/ 17 h 47"/>
                  <a:gd name="T12" fmla="*/ 26 w 60"/>
                  <a:gd name="T13" fmla="*/ 13 h 47"/>
                </a:gdLst>
                <a:ahLst/>
                <a:cxnLst>
                  <a:cxn ang="0">
                    <a:pos x="T0" y="T1"/>
                  </a:cxn>
                  <a:cxn ang="0">
                    <a:pos x="T2" y="T3"/>
                  </a:cxn>
                  <a:cxn ang="0">
                    <a:pos x="T4" y="T5"/>
                  </a:cxn>
                  <a:cxn ang="0">
                    <a:pos x="T6" y="T7"/>
                  </a:cxn>
                  <a:cxn ang="0">
                    <a:pos x="T8" y="T9"/>
                  </a:cxn>
                  <a:cxn ang="0">
                    <a:pos x="T10" y="T11"/>
                  </a:cxn>
                  <a:cxn ang="0">
                    <a:pos x="T12" y="T13"/>
                  </a:cxn>
                </a:cxnLst>
                <a:rect l="0" t="0" r="r" b="b"/>
                <a:pathLst>
                  <a:path w="60" h="47">
                    <a:moveTo>
                      <a:pt x="26" y="13"/>
                    </a:moveTo>
                    <a:lnTo>
                      <a:pt x="38" y="22"/>
                    </a:lnTo>
                    <a:lnTo>
                      <a:pt x="60" y="0"/>
                    </a:lnTo>
                    <a:lnTo>
                      <a:pt x="49" y="43"/>
                    </a:lnTo>
                    <a:lnTo>
                      <a:pt x="26" y="47"/>
                    </a:lnTo>
                    <a:lnTo>
                      <a:pt x="0" y="17"/>
                    </a:lnTo>
                    <a:lnTo>
                      <a:pt x="26"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9" name="Freeform 561"/>
              <p:cNvSpPr>
                <a:spLocks noChangeAspect="1"/>
              </p:cNvSpPr>
              <p:nvPr/>
            </p:nvSpPr>
            <p:spPr bwMode="auto">
              <a:xfrm>
                <a:off x="2537792" y="1148442"/>
                <a:ext cx="27" cy="19"/>
              </a:xfrm>
              <a:custGeom>
                <a:avLst/>
                <a:gdLst>
                  <a:gd name="T0" fmla="*/ 15 w 31"/>
                  <a:gd name="T1" fmla="*/ 0 h 25"/>
                  <a:gd name="T2" fmla="*/ 27 w 31"/>
                  <a:gd name="T3" fmla="*/ 8 h 25"/>
                  <a:gd name="T4" fmla="*/ 31 w 31"/>
                  <a:gd name="T5" fmla="*/ 25 h 25"/>
                  <a:gd name="T6" fmla="*/ 0 w 31"/>
                  <a:gd name="T7" fmla="*/ 25 h 25"/>
                  <a:gd name="T8" fmla="*/ 15 w 31"/>
                  <a:gd name="T9" fmla="*/ 0 h 25"/>
                </a:gdLst>
                <a:ahLst/>
                <a:cxnLst>
                  <a:cxn ang="0">
                    <a:pos x="T0" y="T1"/>
                  </a:cxn>
                  <a:cxn ang="0">
                    <a:pos x="T2" y="T3"/>
                  </a:cxn>
                  <a:cxn ang="0">
                    <a:pos x="T4" y="T5"/>
                  </a:cxn>
                  <a:cxn ang="0">
                    <a:pos x="T6" y="T7"/>
                  </a:cxn>
                  <a:cxn ang="0">
                    <a:pos x="T8" y="T9"/>
                  </a:cxn>
                </a:cxnLst>
                <a:rect l="0" t="0" r="r" b="b"/>
                <a:pathLst>
                  <a:path w="31" h="25">
                    <a:moveTo>
                      <a:pt x="15" y="0"/>
                    </a:moveTo>
                    <a:lnTo>
                      <a:pt x="27" y="8"/>
                    </a:lnTo>
                    <a:lnTo>
                      <a:pt x="31" y="25"/>
                    </a:lnTo>
                    <a:lnTo>
                      <a:pt x="0" y="25"/>
                    </a:lnTo>
                    <a:lnTo>
                      <a:pt x="1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0" name="Freeform 562"/>
              <p:cNvSpPr>
                <a:spLocks noChangeAspect="1"/>
              </p:cNvSpPr>
              <p:nvPr/>
            </p:nvSpPr>
            <p:spPr bwMode="auto">
              <a:xfrm>
                <a:off x="2537065" y="1149099"/>
                <a:ext cx="43" cy="24"/>
              </a:xfrm>
              <a:custGeom>
                <a:avLst/>
                <a:gdLst>
                  <a:gd name="T0" fmla="*/ 46 w 46"/>
                  <a:gd name="T1" fmla="*/ 17 h 29"/>
                  <a:gd name="T2" fmla="*/ 12 w 46"/>
                  <a:gd name="T3" fmla="*/ 0 h 29"/>
                  <a:gd name="T4" fmla="*/ 0 w 46"/>
                  <a:gd name="T5" fmla="*/ 12 h 29"/>
                  <a:gd name="T6" fmla="*/ 4 w 46"/>
                  <a:gd name="T7" fmla="*/ 29 h 29"/>
                  <a:gd name="T8" fmla="*/ 46 w 46"/>
                  <a:gd name="T9" fmla="*/ 17 h 29"/>
                </a:gdLst>
                <a:ahLst/>
                <a:cxnLst>
                  <a:cxn ang="0">
                    <a:pos x="T0" y="T1"/>
                  </a:cxn>
                  <a:cxn ang="0">
                    <a:pos x="T2" y="T3"/>
                  </a:cxn>
                  <a:cxn ang="0">
                    <a:pos x="T4" y="T5"/>
                  </a:cxn>
                  <a:cxn ang="0">
                    <a:pos x="T6" y="T7"/>
                  </a:cxn>
                  <a:cxn ang="0">
                    <a:pos x="T8" y="T9"/>
                  </a:cxn>
                </a:cxnLst>
                <a:rect l="0" t="0" r="r" b="b"/>
                <a:pathLst>
                  <a:path w="46" h="29">
                    <a:moveTo>
                      <a:pt x="46" y="17"/>
                    </a:moveTo>
                    <a:lnTo>
                      <a:pt x="12" y="0"/>
                    </a:lnTo>
                    <a:lnTo>
                      <a:pt x="0" y="12"/>
                    </a:lnTo>
                    <a:lnTo>
                      <a:pt x="4" y="29"/>
                    </a:lnTo>
                    <a:lnTo>
                      <a:pt x="46" y="17"/>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9" name="MK"/>
            <p:cNvSpPr>
              <a:spLocks noChangeAspect="1"/>
            </p:cNvSpPr>
            <p:nvPr/>
          </p:nvSpPr>
          <p:spPr bwMode="auto">
            <a:xfrm>
              <a:off x="6932613" y="5165725"/>
              <a:ext cx="306387" cy="203200"/>
            </a:xfrm>
            <a:custGeom>
              <a:avLst/>
              <a:gdLst>
                <a:gd name="T0" fmla="*/ 8 w 205"/>
                <a:gd name="T1" fmla="*/ 47 h 156"/>
                <a:gd name="T2" fmla="*/ 43 w 205"/>
                <a:gd name="T3" fmla="*/ 20 h 156"/>
                <a:gd name="T4" fmla="*/ 66 w 205"/>
                <a:gd name="T5" fmla="*/ 15 h 156"/>
                <a:gd name="T6" fmla="*/ 89 w 205"/>
                <a:gd name="T7" fmla="*/ 8 h 156"/>
                <a:gd name="T8" fmla="*/ 108 w 205"/>
                <a:gd name="T9" fmla="*/ 8 h 156"/>
                <a:gd name="T10" fmla="*/ 127 w 205"/>
                <a:gd name="T11" fmla="*/ 0 h 156"/>
                <a:gd name="T12" fmla="*/ 159 w 205"/>
                <a:gd name="T13" fmla="*/ 8 h 156"/>
                <a:gd name="T14" fmla="*/ 178 w 205"/>
                <a:gd name="T15" fmla="*/ 7 h 156"/>
                <a:gd name="T16" fmla="*/ 197 w 205"/>
                <a:gd name="T17" fmla="*/ 28 h 156"/>
                <a:gd name="T18" fmla="*/ 195 w 205"/>
                <a:gd name="T19" fmla="*/ 89 h 156"/>
                <a:gd name="T20" fmla="*/ 205 w 205"/>
                <a:gd name="T21" fmla="*/ 97 h 156"/>
                <a:gd name="T22" fmla="*/ 191 w 205"/>
                <a:gd name="T23" fmla="*/ 122 h 156"/>
                <a:gd name="T24" fmla="*/ 146 w 205"/>
                <a:gd name="T25" fmla="*/ 132 h 156"/>
                <a:gd name="T26" fmla="*/ 127 w 205"/>
                <a:gd name="T27" fmla="*/ 126 h 156"/>
                <a:gd name="T28" fmla="*/ 114 w 205"/>
                <a:gd name="T29" fmla="*/ 156 h 156"/>
                <a:gd name="T30" fmla="*/ 80 w 205"/>
                <a:gd name="T31" fmla="*/ 153 h 156"/>
                <a:gd name="T32" fmla="*/ 66 w 205"/>
                <a:gd name="T33" fmla="*/ 149 h 156"/>
                <a:gd name="T34" fmla="*/ 46 w 205"/>
                <a:gd name="T35" fmla="*/ 148 h 156"/>
                <a:gd name="T36" fmla="*/ 34 w 205"/>
                <a:gd name="T37" fmla="*/ 135 h 156"/>
                <a:gd name="T38" fmla="*/ 27 w 205"/>
                <a:gd name="T39" fmla="*/ 139 h 156"/>
                <a:gd name="T40" fmla="*/ 11 w 205"/>
                <a:gd name="T41" fmla="*/ 126 h 156"/>
                <a:gd name="T42" fmla="*/ 0 w 205"/>
                <a:gd name="T43" fmla="*/ 89 h 156"/>
                <a:gd name="T44" fmla="*/ 9 w 205"/>
                <a:gd name="T45" fmla="*/ 71 h 156"/>
                <a:gd name="T46" fmla="*/ 8 w 205"/>
                <a:gd name="T4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156">
                  <a:moveTo>
                    <a:pt x="8" y="47"/>
                  </a:moveTo>
                  <a:lnTo>
                    <a:pt x="43" y="20"/>
                  </a:lnTo>
                  <a:lnTo>
                    <a:pt x="66" y="15"/>
                  </a:lnTo>
                  <a:lnTo>
                    <a:pt x="89" y="8"/>
                  </a:lnTo>
                  <a:lnTo>
                    <a:pt x="108" y="8"/>
                  </a:lnTo>
                  <a:lnTo>
                    <a:pt x="127" y="0"/>
                  </a:lnTo>
                  <a:lnTo>
                    <a:pt x="159" y="8"/>
                  </a:lnTo>
                  <a:lnTo>
                    <a:pt x="178" y="7"/>
                  </a:lnTo>
                  <a:lnTo>
                    <a:pt x="197" y="28"/>
                  </a:lnTo>
                  <a:lnTo>
                    <a:pt x="195" y="89"/>
                  </a:lnTo>
                  <a:lnTo>
                    <a:pt x="205" y="97"/>
                  </a:lnTo>
                  <a:lnTo>
                    <a:pt x="191" y="122"/>
                  </a:lnTo>
                  <a:lnTo>
                    <a:pt x="146" y="132"/>
                  </a:lnTo>
                  <a:lnTo>
                    <a:pt x="127" y="126"/>
                  </a:lnTo>
                  <a:lnTo>
                    <a:pt x="114" y="156"/>
                  </a:lnTo>
                  <a:lnTo>
                    <a:pt x="80" y="153"/>
                  </a:lnTo>
                  <a:lnTo>
                    <a:pt x="66" y="149"/>
                  </a:lnTo>
                  <a:lnTo>
                    <a:pt x="46" y="148"/>
                  </a:lnTo>
                  <a:lnTo>
                    <a:pt x="34" y="135"/>
                  </a:lnTo>
                  <a:lnTo>
                    <a:pt x="27" y="139"/>
                  </a:lnTo>
                  <a:lnTo>
                    <a:pt x="11" y="126"/>
                  </a:lnTo>
                  <a:lnTo>
                    <a:pt x="0" y="89"/>
                  </a:lnTo>
                  <a:lnTo>
                    <a:pt x="9" y="71"/>
                  </a:lnTo>
                  <a:lnTo>
                    <a:pt x="8" y="47"/>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0" name="PT"/>
            <p:cNvSpPr>
              <a:spLocks noChangeAspect="1"/>
            </p:cNvSpPr>
            <p:nvPr/>
          </p:nvSpPr>
          <p:spPr bwMode="auto">
            <a:xfrm>
              <a:off x="3048000" y="4589463"/>
              <a:ext cx="574675" cy="735012"/>
            </a:xfrm>
            <a:custGeom>
              <a:avLst/>
              <a:gdLst>
                <a:gd name="T0" fmla="*/ 224 w 388"/>
                <a:gd name="T1" fmla="*/ 0 h 619"/>
                <a:gd name="T2" fmla="*/ 246 w 388"/>
                <a:gd name="T3" fmla="*/ 53 h 619"/>
                <a:gd name="T4" fmla="*/ 267 w 388"/>
                <a:gd name="T5" fmla="*/ 54 h 619"/>
                <a:gd name="T6" fmla="*/ 324 w 388"/>
                <a:gd name="T7" fmla="*/ 64 h 619"/>
                <a:gd name="T8" fmla="*/ 353 w 388"/>
                <a:gd name="T9" fmla="*/ 80 h 619"/>
                <a:gd name="T10" fmla="*/ 377 w 388"/>
                <a:gd name="T11" fmla="*/ 127 h 619"/>
                <a:gd name="T12" fmla="*/ 384 w 388"/>
                <a:gd name="T13" fmla="*/ 147 h 619"/>
                <a:gd name="T14" fmla="*/ 314 w 388"/>
                <a:gd name="T15" fmla="*/ 179 h 619"/>
                <a:gd name="T16" fmla="*/ 294 w 388"/>
                <a:gd name="T17" fmla="*/ 238 h 619"/>
                <a:gd name="T18" fmla="*/ 274 w 388"/>
                <a:gd name="T19" fmla="*/ 292 h 619"/>
                <a:gd name="T20" fmla="*/ 260 w 388"/>
                <a:gd name="T21" fmla="*/ 333 h 619"/>
                <a:gd name="T22" fmla="*/ 228 w 388"/>
                <a:gd name="T23" fmla="*/ 323 h 619"/>
                <a:gd name="T24" fmla="*/ 222 w 388"/>
                <a:gd name="T25" fmla="*/ 366 h 619"/>
                <a:gd name="T26" fmla="*/ 225 w 388"/>
                <a:gd name="T27" fmla="*/ 407 h 619"/>
                <a:gd name="T28" fmla="*/ 196 w 388"/>
                <a:gd name="T29" fmla="*/ 445 h 619"/>
                <a:gd name="T30" fmla="*/ 192 w 388"/>
                <a:gd name="T31" fmla="*/ 502 h 619"/>
                <a:gd name="T32" fmla="*/ 198 w 388"/>
                <a:gd name="T33" fmla="*/ 536 h 619"/>
                <a:gd name="T34" fmla="*/ 147 w 388"/>
                <a:gd name="T35" fmla="*/ 565 h 619"/>
                <a:gd name="T36" fmla="*/ 146 w 388"/>
                <a:gd name="T37" fmla="*/ 613 h 619"/>
                <a:gd name="T38" fmla="*/ 75 w 388"/>
                <a:gd name="T39" fmla="*/ 619 h 619"/>
                <a:gd name="T40" fmla="*/ 24 w 388"/>
                <a:gd name="T41" fmla="*/ 576 h 619"/>
                <a:gd name="T42" fmla="*/ 0 w 388"/>
                <a:gd name="T43" fmla="*/ 561 h 619"/>
                <a:gd name="T44" fmla="*/ 28 w 388"/>
                <a:gd name="T45" fmla="*/ 514 h 619"/>
                <a:gd name="T46" fmla="*/ 61 w 388"/>
                <a:gd name="T47" fmla="*/ 445 h 619"/>
                <a:gd name="T48" fmla="*/ 56 w 388"/>
                <a:gd name="T49" fmla="*/ 408 h 619"/>
                <a:gd name="T50" fmla="*/ 38 w 388"/>
                <a:gd name="T51" fmla="*/ 386 h 619"/>
                <a:gd name="T52" fmla="*/ 66 w 388"/>
                <a:gd name="T53" fmla="*/ 359 h 619"/>
                <a:gd name="T54" fmla="*/ 28 w 388"/>
                <a:gd name="T55" fmla="*/ 364 h 619"/>
                <a:gd name="T56" fmla="*/ 38 w 388"/>
                <a:gd name="T57" fmla="*/ 322 h 619"/>
                <a:gd name="T58" fmla="*/ 52 w 388"/>
                <a:gd name="T59" fmla="*/ 285 h 619"/>
                <a:gd name="T60" fmla="*/ 66 w 388"/>
                <a:gd name="T61" fmla="*/ 265 h 619"/>
                <a:gd name="T62" fmla="*/ 104 w 388"/>
                <a:gd name="T63" fmla="*/ 238 h 619"/>
                <a:gd name="T64" fmla="*/ 155 w 388"/>
                <a:gd name="T65" fmla="*/ 164 h 619"/>
                <a:gd name="T66" fmla="*/ 174 w 388"/>
                <a:gd name="T67" fmla="*/ 111 h 619"/>
                <a:gd name="T68" fmla="*/ 187 w 388"/>
                <a:gd name="T69" fmla="*/ 54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8" h="619">
                  <a:moveTo>
                    <a:pt x="196" y="6"/>
                  </a:moveTo>
                  <a:lnTo>
                    <a:pt x="224" y="0"/>
                  </a:lnTo>
                  <a:lnTo>
                    <a:pt x="243" y="24"/>
                  </a:lnTo>
                  <a:lnTo>
                    <a:pt x="246" y="53"/>
                  </a:lnTo>
                  <a:lnTo>
                    <a:pt x="253" y="59"/>
                  </a:lnTo>
                  <a:lnTo>
                    <a:pt x="267" y="54"/>
                  </a:lnTo>
                  <a:lnTo>
                    <a:pt x="312" y="74"/>
                  </a:lnTo>
                  <a:lnTo>
                    <a:pt x="324" y="64"/>
                  </a:lnTo>
                  <a:lnTo>
                    <a:pt x="342" y="63"/>
                  </a:lnTo>
                  <a:lnTo>
                    <a:pt x="353" y="80"/>
                  </a:lnTo>
                  <a:lnTo>
                    <a:pt x="363" y="108"/>
                  </a:lnTo>
                  <a:lnTo>
                    <a:pt x="377" y="127"/>
                  </a:lnTo>
                  <a:lnTo>
                    <a:pt x="388" y="137"/>
                  </a:lnTo>
                  <a:lnTo>
                    <a:pt x="384" y="147"/>
                  </a:lnTo>
                  <a:lnTo>
                    <a:pt x="351" y="157"/>
                  </a:lnTo>
                  <a:lnTo>
                    <a:pt x="314" y="179"/>
                  </a:lnTo>
                  <a:lnTo>
                    <a:pt x="315" y="218"/>
                  </a:lnTo>
                  <a:lnTo>
                    <a:pt x="294" y="238"/>
                  </a:lnTo>
                  <a:lnTo>
                    <a:pt x="276" y="255"/>
                  </a:lnTo>
                  <a:lnTo>
                    <a:pt x="274" y="292"/>
                  </a:lnTo>
                  <a:lnTo>
                    <a:pt x="274" y="316"/>
                  </a:lnTo>
                  <a:lnTo>
                    <a:pt x="260" y="333"/>
                  </a:lnTo>
                  <a:lnTo>
                    <a:pt x="248" y="316"/>
                  </a:lnTo>
                  <a:lnTo>
                    <a:pt x="228" y="323"/>
                  </a:lnTo>
                  <a:lnTo>
                    <a:pt x="225" y="335"/>
                  </a:lnTo>
                  <a:lnTo>
                    <a:pt x="222" y="366"/>
                  </a:lnTo>
                  <a:lnTo>
                    <a:pt x="229" y="377"/>
                  </a:lnTo>
                  <a:lnTo>
                    <a:pt x="225" y="407"/>
                  </a:lnTo>
                  <a:lnTo>
                    <a:pt x="213" y="421"/>
                  </a:lnTo>
                  <a:lnTo>
                    <a:pt x="196" y="445"/>
                  </a:lnTo>
                  <a:lnTo>
                    <a:pt x="189" y="465"/>
                  </a:lnTo>
                  <a:lnTo>
                    <a:pt x="192" y="502"/>
                  </a:lnTo>
                  <a:lnTo>
                    <a:pt x="206" y="524"/>
                  </a:lnTo>
                  <a:lnTo>
                    <a:pt x="198" y="536"/>
                  </a:lnTo>
                  <a:lnTo>
                    <a:pt x="161" y="549"/>
                  </a:lnTo>
                  <a:lnTo>
                    <a:pt x="147" y="565"/>
                  </a:lnTo>
                  <a:lnTo>
                    <a:pt x="146" y="582"/>
                  </a:lnTo>
                  <a:lnTo>
                    <a:pt x="146" y="613"/>
                  </a:lnTo>
                  <a:lnTo>
                    <a:pt x="104" y="613"/>
                  </a:lnTo>
                  <a:lnTo>
                    <a:pt x="75" y="619"/>
                  </a:lnTo>
                  <a:lnTo>
                    <a:pt x="42" y="576"/>
                  </a:lnTo>
                  <a:lnTo>
                    <a:pt x="24" y="576"/>
                  </a:lnTo>
                  <a:lnTo>
                    <a:pt x="9" y="576"/>
                  </a:lnTo>
                  <a:lnTo>
                    <a:pt x="0" y="561"/>
                  </a:lnTo>
                  <a:lnTo>
                    <a:pt x="9" y="545"/>
                  </a:lnTo>
                  <a:lnTo>
                    <a:pt x="28" y="514"/>
                  </a:lnTo>
                  <a:lnTo>
                    <a:pt x="38" y="482"/>
                  </a:lnTo>
                  <a:lnTo>
                    <a:pt x="61" y="445"/>
                  </a:lnTo>
                  <a:lnTo>
                    <a:pt x="66" y="424"/>
                  </a:lnTo>
                  <a:lnTo>
                    <a:pt x="56" y="408"/>
                  </a:lnTo>
                  <a:lnTo>
                    <a:pt x="42" y="394"/>
                  </a:lnTo>
                  <a:lnTo>
                    <a:pt x="38" y="386"/>
                  </a:lnTo>
                  <a:lnTo>
                    <a:pt x="56" y="380"/>
                  </a:lnTo>
                  <a:lnTo>
                    <a:pt x="66" y="359"/>
                  </a:lnTo>
                  <a:lnTo>
                    <a:pt x="47" y="353"/>
                  </a:lnTo>
                  <a:lnTo>
                    <a:pt x="28" y="364"/>
                  </a:lnTo>
                  <a:lnTo>
                    <a:pt x="28" y="337"/>
                  </a:lnTo>
                  <a:lnTo>
                    <a:pt x="38" y="322"/>
                  </a:lnTo>
                  <a:lnTo>
                    <a:pt x="47" y="306"/>
                  </a:lnTo>
                  <a:lnTo>
                    <a:pt x="52" y="285"/>
                  </a:lnTo>
                  <a:lnTo>
                    <a:pt x="56" y="269"/>
                  </a:lnTo>
                  <a:lnTo>
                    <a:pt x="66" y="265"/>
                  </a:lnTo>
                  <a:lnTo>
                    <a:pt x="80" y="275"/>
                  </a:lnTo>
                  <a:lnTo>
                    <a:pt x="104" y="238"/>
                  </a:lnTo>
                  <a:lnTo>
                    <a:pt x="118" y="212"/>
                  </a:lnTo>
                  <a:lnTo>
                    <a:pt x="155" y="164"/>
                  </a:lnTo>
                  <a:lnTo>
                    <a:pt x="155" y="144"/>
                  </a:lnTo>
                  <a:lnTo>
                    <a:pt x="174" y="111"/>
                  </a:lnTo>
                  <a:lnTo>
                    <a:pt x="179" y="74"/>
                  </a:lnTo>
                  <a:lnTo>
                    <a:pt x="187" y="54"/>
                  </a:lnTo>
                  <a:lnTo>
                    <a:pt x="196" y="6"/>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1" name="ES"/>
            <p:cNvGrpSpPr>
              <a:grpSpLocks/>
            </p:cNvGrpSpPr>
            <p:nvPr/>
          </p:nvGrpSpPr>
          <p:grpSpPr bwMode="auto">
            <a:xfrm>
              <a:off x="3260628" y="4351278"/>
              <a:ext cx="1579555" cy="1219185"/>
              <a:chOff x="212709" y="4669452"/>
              <a:chExt cx="724" cy="631"/>
            </a:xfrm>
            <a:solidFill>
              <a:schemeClr val="bg1">
                <a:lumMod val="95000"/>
              </a:schemeClr>
            </a:solidFill>
            <a:effectLst/>
          </p:grpSpPr>
          <p:sp>
            <p:nvSpPr>
              <p:cNvPr id="76" name="Freeform 548"/>
              <p:cNvSpPr>
                <a:spLocks noChangeAspect="1"/>
              </p:cNvSpPr>
              <p:nvPr/>
            </p:nvSpPr>
            <p:spPr bwMode="auto">
              <a:xfrm>
                <a:off x="213239" y="4669976"/>
                <a:ext cx="27" cy="20"/>
              </a:xfrm>
              <a:custGeom>
                <a:avLst/>
                <a:gdLst>
                  <a:gd name="T0" fmla="*/ 39 w 39"/>
                  <a:gd name="T1" fmla="*/ 0 h 31"/>
                  <a:gd name="T2" fmla="*/ 20 w 39"/>
                  <a:gd name="T3" fmla="*/ 0 h 31"/>
                  <a:gd name="T4" fmla="*/ 0 w 39"/>
                  <a:gd name="T5" fmla="*/ 21 h 31"/>
                  <a:gd name="T6" fmla="*/ 10 w 39"/>
                  <a:gd name="T7" fmla="*/ 31 h 31"/>
                  <a:gd name="T8" fmla="*/ 29 w 39"/>
                  <a:gd name="T9" fmla="*/ 31 h 31"/>
                  <a:gd name="T10" fmla="*/ 39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9" y="0"/>
                    </a:moveTo>
                    <a:lnTo>
                      <a:pt x="20" y="0"/>
                    </a:lnTo>
                    <a:lnTo>
                      <a:pt x="0" y="21"/>
                    </a:lnTo>
                    <a:lnTo>
                      <a:pt x="10" y="31"/>
                    </a:lnTo>
                    <a:lnTo>
                      <a:pt x="29" y="31"/>
                    </a:lnTo>
                    <a:lnTo>
                      <a:pt x="39"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7" name="Freeform 549"/>
              <p:cNvSpPr>
                <a:spLocks noChangeAspect="1"/>
              </p:cNvSpPr>
              <p:nvPr/>
            </p:nvSpPr>
            <p:spPr bwMode="auto">
              <a:xfrm>
                <a:off x="213316" y="4669928"/>
                <a:ext cx="62" cy="48"/>
              </a:xfrm>
              <a:custGeom>
                <a:avLst/>
                <a:gdLst>
                  <a:gd name="T0" fmla="*/ 66 w 90"/>
                  <a:gd name="T1" fmla="*/ 0 h 80"/>
                  <a:gd name="T2" fmla="*/ 57 w 90"/>
                  <a:gd name="T3" fmla="*/ 10 h 80"/>
                  <a:gd name="T4" fmla="*/ 19 w 90"/>
                  <a:gd name="T5" fmla="*/ 16 h 80"/>
                  <a:gd name="T6" fmla="*/ 0 w 90"/>
                  <a:gd name="T7" fmla="*/ 43 h 80"/>
                  <a:gd name="T8" fmla="*/ 28 w 90"/>
                  <a:gd name="T9" fmla="*/ 64 h 80"/>
                  <a:gd name="T10" fmla="*/ 43 w 90"/>
                  <a:gd name="T11" fmla="*/ 80 h 80"/>
                  <a:gd name="T12" fmla="*/ 71 w 90"/>
                  <a:gd name="T13" fmla="*/ 74 h 80"/>
                  <a:gd name="T14" fmla="*/ 90 w 90"/>
                  <a:gd name="T15" fmla="*/ 64 h 80"/>
                  <a:gd name="T16" fmla="*/ 85 w 90"/>
                  <a:gd name="T17" fmla="*/ 43 h 80"/>
                  <a:gd name="T18" fmla="*/ 71 w 90"/>
                  <a:gd name="T19" fmla="*/ 27 h 80"/>
                  <a:gd name="T20" fmla="*/ 66 w 90"/>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66" y="0"/>
                    </a:moveTo>
                    <a:lnTo>
                      <a:pt x="57" y="10"/>
                    </a:lnTo>
                    <a:lnTo>
                      <a:pt x="19" y="16"/>
                    </a:lnTo>
                    <a:lnTo>
                      <a:pt x="0" y="43"/>
                    </a:lnTo>
                    <a:lnTo>
                      <a:pt x="28" y="64"/>
                    </a:lnTo>
                    <a:lnTo>
                      <a:pt x="43" y="80"/>
                    </a:lnTo>
                    <a:lnTo>
                      <a:pt x="71" y="74"/>
                    </a:lnTo>
                    <a:lnTo>
                      <a:pt x="90" y="64"/>
                    </a:lnTo>
                    <a:lnTo>
                      <a:pt x="85" y="43"/>
                    </a:lnTo>
                    <a:lnTo>
                      <a:pt x="71" y="27"/>
                    </a:lnTo>
                    <a:lnTo>
                      <a:pt x="66"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8" name="Freeform 550"/>
              <p:cNvSpPr>
                <a:spLocks noChangeAspect="1"/>
              </p:cNvSpPr>
              <p:nvPr/>
            </p:nvSpPr>
            <p:spPr bwMode="auto">
              <a:xfrm>
                <a:off x="213412" y="4669930"/>
                <a:ext cx="21" cy="26"/>
              </a:xfrm>
              <a:custGeom>
                <a:avLst/>
                <a:gdLst>
                  <a:gd name="T0" fmla="*/ 19 w 29"/>
                  <a:gd name="T1" fmla="*/ 0 h 41"/>
                  <a:gd name="T2" fmla="*/ 0 w 29"/>
                  <a:gd name="T3" fmla="*/ 10 h 41"/>
                  <a:gd name="T4" fmla="*/ 16 w 29"/>
                  <a:gd name="T5" fmla="*/ 25 h 41"/>
                  <a:gd name="T6" fmla="*/ 29 w 29"/>
                  <a:gd name="T7" fmla="*/ 41 h 41"/>
                  <a:gd name="T8" fmla="*/ 19 w 29"/>
                  <a:gd name="T9" fmla="*/ 0 h 41"/>
                </a:gdLst>
                <a:ahLst/>
                <a:cxnLst>
                  <a:cxn ang="0">
                    <a:pos x="T0" y="T1"/>
                  </a:cxn>
                  <a:cxn ang="0">
                    <a:pos x="T2" y="T3"/>
                  </a:cxn>
                  <a:cxn ang="0">
                    <a:pos x="T4" y="T5"/>
                  </a:cxn>
                  <a:cxn ang="0">
                    <a:pos x="T6" y="T7"/>
                  </a:cxn>
                  <a:cxn ang="0">
                    <a:pos x="T8" y="T9"/>
                  </a:cxn>
                </a:cxnLst>
                <a:rect l="0" t="0" r="r" b="b"/>
                <a:pathLst>
                  <a:path w="29" h="41">
                    <a:moveTo>
                      <a:pt x="19" y="0"/>
                    </a:moveTo>
                    <a:lnTo>
                      <a:pt x="0" y="10"/>
                    </a:lnTo>
                    <a:lnTo>
                      <a:pt x="16" y="25"/>
                    </a:lnTo>
                    <a:lnTo>
                      <a:pt x="29" y="41"/>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9" name="Freeform 551"/>
              <p:cNvSpPr>
                <a:spLocks noChangeAspect="1"/>
              </p:cNvSpPr>
              <p:nvPr/>
            </p:nvSpPr>
            <p:spPr bwMode="auto">
              <a:xfrm>
                <a:off x="212709" y="4669452"/>
                <a:ext cx="696" cy="631"/>
              </a:xfrm>
              <a:custGeom>
                <a:avLst/>
                <a:gdLst>
                  <a:gd name="T0" fmla="*/ 46 w 1024"/>
                  <a:gd name="T1" fmla="*/ 185 h 1020"/>
                  <a:gd name="T2" fmla="*/ 79 w 1024"/>
                  <a:gd name="T3" fmla="*/ 111 h 1020"/>
                  <a:gd name="T4" fmla="*/ 71 w 1024"/>
                  <a:gd name="T5" fmla="*/ 84 h 1020"/>
                  <a:gd name="T6" fmla="*/ 55 w 1024"/>
                  <a:gd name="T7" fmla="*/ 59 h 1020"/>
                  <a:gd name="T8" fmla="*/ 112 w 1024"/>
                  <a:gd name="T9" fmla="*/ 27 h 1020"/>
                  <a:gd name="T10" fmla="*/ 154 w 1024"/>
                  <a:gd name="T11" fmla="*/ 16 h 1020"/>
                  <a:gd name="T12" fmla="*/ 197 w 1024"/>
                  <a:gd name="T13" fmla="*/ 6 h 1020"/>
                  <a:gd name="T14" fmla="*/ 281 w 1024"/>
                  <a:gd name="T15" fmla="*/ 80 h 1020"/>
                  <a:gd name="T16" fmla="*/ 340 w 1024"/>
                  <a:gd name="T17" fmla="*/ 84 h 1020"/>
                  <a:gd name="T18" fmla="*/ 504 w 1024"/>
                  <a:gd name="T19" fmla="*/ 170 h 1020"/>
                  <a:gd name="T20" fmla="*/ 573 w 1024"/>
                  <a:gd name="T21" fmla="*/ 190 h 1020"/>
                  <a:gd name="T22" fmla="*/ 621 w 1024"/>
                  <a:gd name="T23" fmla="*/ 232 h 1020"/>
                  <a:gd name="T24" fmla="*/ 668 w 1024"/>
                  <a:gd name="T25" fmla="*/ 238 h 1020"/>
                  <a:gd name="T26" fmla="*/ 668 w 1024"/>
                  <a:gd name="T27" fmla="*/ 264 h 1020"/>
                  <a:gd name="T28" fmla="*/ 743 w 1024"/>
                  <a:gd name="T29" fmla="*/ 343 h 1020"/>
                  <a:gd name="T30" fmla="*/ 804 w 1024"/>
                  <a:gd name="T31" fmla="*/ 374 h 1020"/>
                  <a:gd name="T32" fmla="*/ 898 w 1024"/>
                  <a:gd name="T33" fmla="*/ 406 h 1020"/>
                  <a:gd name="T34" fmla="*/ 917 w 1024"/>
                  <a:gd name="T35" fmla="*/ 443 h 1020"/>
                  <a:gd name="T36" fmla="*/ 953 w 1024"/>
                  <a:gd name="T37" fmla="*/ 458 h 1020"/>
                  <a:gd name="T38" fmla="*/ 991 w 1024"/>
                  <a:gd name="T39" fmla="*/ 458 h 1020"/>
                  <a:gd name="T40" fmla="*/ 1015 w 1024"/>
                  <a:gd name="T41" fmla="*/ 458 h 1020"/>
                  <a:gd name="T42" fmla="*/ 1024 w 1024"/>
                  <a:gd name="T43" fmla="*/ 507 h 1020"/>
                  <a:gd name="T44" fmla="*/ 936 w 1024"/>
                  <a:gd name="T45" fmla="*/ 584 h 1020"/>
                  <a:gd name="T46" fmla="*/ 809 w 1024"/>
                  <a:gd name="T47" fmla="*/ 609 h 1020"/>
                  <a:gd name="T48" fmla="*/ 776 w 1024"/>
                  <a:gd name="T49" fmla="*/ 646 h 1020"/>
                  <a:gd name="T50" fmla="*/ 738 w 1024"/>
                  <a:gd name="T51" fmla="*/ 662 h 1020"/>
                  <a:gd name="T52" fmla="*/ 700 w 1024"/>
                  <a:gd name="T53" fmla="*/ 709 h 1020"/>
                  <a:gd name="T54" fmla="*/ 658 w 1024"/>
                  <a:gd name="T55" fmla="*/ 741 h 1020"/>
                  <a:gd name="T56" fmla="*/ 672 w 1024"/>
                  <a:gd name="T57" fmla="*/ 798 h 1020"/>
                  <a:gd name="T58" fmla="*/ 677 w 1024"/>
                  <a:gd name="T59" fmla="*/ 841 h 1020"/>
                  <a:gd name="T60" fmla="*/ 653 w 1024"/>
                  <a:gd name="T61" fmla="*/ 857 h 1020"/>
                  <a:gd name="T62" fmla="*/ 589 w 1024"/>
                  <a:gd name="T63" fmla="*/ 921 h 1020"/>
                  <a:gd name="T64" fmla="*/ 564 w 1024"/>
                  <a:gd name="T65" fmla="*/ 946 h 1020"/>
                  <a:gd name="T66" fmla="*/ 523 w 1024"/>
                  <a:gd name="T67" fmla="*/ 962 h 1020"/>
                  <a:gd name="T68" fmla="*/ 480 w 1024"/>
                  <a:gd name="T69" fmla="*/ 973 h 1020"/>
                  <a:gd name="T70" fmla="*/ 457 w 1024"/>
                  <a:gd name="T71" fmla="*/ 1005 h 1020"/>
                  <a:gd name="T72" fmla="*/ 419 w 1024"/>
                  <a:gd name="T73" fmla="*/ 1015 h 1020"/>
                  <a:gd name="T74" fmla="*/ 344 w 1024"/>
                  <a:gd name="T75" fmla="*/ 1005 h 1020"/>
                  <a:gd name="T76" fmla="*/ 229 w 1024"/>
                  <a:gd name="T77" fmla="*/ 962 h 1020"/>
                  <a:gd name="T78" fmla="*/ 173 w 1024"/>
                  <a:gd name="T79" fmla="*/ 989 h 1020"/>
                  <a:gd name="T80" fmla="*/ 121 w 1024"/>
                  <a:gd name="T81" fmla="*/ 1010 h 1020"/>
                  <a:gd name="T82" fmla="*/ 55 w 1024"/>
                  <a:gd name="T83" fmla="*/ 958 h 1020"/>
                  <a:gd name="T84" fmla="*/ 33 w 1024"/>
                  <a:gd name="T85" fmla="*/ 835 h 1020"/>
                  <a:gd name="T86" fmla="*/ 0 w 1024"/>
                  <a:gd name="T87" fmla="*/ 794 h 1020"/>
                  <a:gd name="T88" fmla="*/ 14 w 1024"/>
                  <a:gd name="T89" fmla="*/ 746 h 1020"/>
                  <a:gd name="T90" fmla="*/ 60 w 1024"/>
                  <a:gd name="T91" fmla="*/ 720 h 1020"/>
                  <a:gd name="T92" fmla="*/ 41 w 1024"/>
                  <a:gd name="T93" fmla="*/ 662 h 1020"/>
                  <a:gd name="T94" fmla="*/ 84 w 1024"/>
                  <a:gd name="T95" fmla="*/ 599 h 1020"/>
                  <a:gd name="T96" fmla="*/ 74 w 1024"/>
                  <a:gd name="T97" fmla="*/ 554 h 1020"/>
                  <a:gd name="T98" fmla="*/ 88 w 1024"/>
                  <a:gd name="T99" fmla="*/ 512 h 1020"/>
                  <a:gd name="T100" fmla="*/ 112 w 1024"/>
                  <a:gd name="T101" fmla="*/ 528 h 1020"/>
                  <a:gd name="T102" fmla="*/ 131 w 1024"/>
                  <a:gd name="T103" fmla="*/ 448 h 1020"/>
                  <a:gd name="T104" fmla="*/ 168 w 1024"/>
                  <a:gd name="T105" fmla="*/ 390 h 1020"/>
                  <a:gd name="T106" fmla="*/ 206 w 1024"/>
                  <a:gd name="T107" fmla="*/ 349 h 1020"/>
                  <a:gd name="T108" fmla="*/ 244 w 1024"/>
                  <a:gd name="T109" fmla="*/ 332 h 1020"/>
                  <a:gd name="T110" fmla="*/ 201 w 1024"/>
                  <a:gd name="T111" fmla="*/ 264 h 1020"/>
                  <a:gd name="T112" fmla="*/ 164 w 1024"/>
                  <a:gd name="T113" fmla="*/ 269 h 1020"/>
                  <a:gd name="T114" fmla="*/ 117 w 1024"/>
                  <a:gd name="T115" fmla="*/ 248 h 1020"/>
                  <a:gd name="T116" fmla="*/ 98 w 1024"/>
                  <a:gd name="T117" fmla="*/ 242 h 1020"/>
                  <a:gd name="T118" fmla="*/ 84 w 1024"/>
                  <a:gd name="T119" fmla="*/ 201 h 1020"/>
                  <a:gd name="T120" fmla="*/ 52 w 1024"/>
                  <a:gd name="T121" fmla="*/ 20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1020">
                    <a:moveTo>
                      <a:pt x="52" y="201"/>
                    </a:moveTo>
                    <a:lnTo>
                      <a:pt x="46" y="185"/>
                    </a:lnTo>
                    <a:lnTo>
                      <a:pt x="52" y="164"/>
                    </a:lnTo>
                    <a:lnTo>
                      <a:pt x="79" y="111"/>
                    </a:lnTo>
                    <a:lnTo>
                      <a:pt x="65" y="100"/>
                    </a:lnTo>
                    <a:lnTo>
                      <a:pt x="71" y="84"/>
                    </a:lnTo>
                    <a:lnTo>
                      <a:pt x="55" y="80"/>
                    </a:lnTo>
                    <a:lnTo>
                      <a:pt x="55" y="59"/>
                    </a:lnTo>
                    <a:lnTo>
                      <a:pt x="65" y="43"/>
                    </a:lnTo>
                    <a:lnTo>
                      <a:pt x="112" y="27"/>
                    </a:lnTo>
                    <a:lnTo>
                      <a:pt x="150" y="32"/>
                    </a:lnTo>
                    <a:lnTo>
                      <a:pt x="154" y="16"/>
                    </a:lnTo>
                    <a:lnTo>
                      <a:pt x="182" y="0"/>
                    </a:lnTo>
                    <a:lnTo>
                      <a:pt x="197" y="6"/>
                    </a:lnTo>
                    <a:lnTo>
                      <a:pt x="229" y="53"/>
                    </a:lnTo>
                    <a:lnTo>
                      <a:pt x="281" y="80"/>
                    </a:lnTo>
                    <a:lnTo>
                      <a:pt x="328" y="80"/>
                    </a:lnTo>
                    <a:lnTo>
                      <a:pt x="340" y="84"/>
                    </a:lnTo>
                    <a:lnTo>
                      <a:pt x="466" y="164"/>
                    </a:lnTo>
                    <a:lnTo>
                      <a:pt x="504" y="170"/>
                    </a:lnTo>
                    <a:lnTo>
                      <a:pt x="532" y="201"/>
                    </a:lnTo>
                    <a:lnTo>
                      <a:pt x="573" y="190"/>
                    </a:lnTo>
                    <a:lnTo>
                      <a:pt x="597" y="207"/>
                    </a:lnTo>
                    <a:lnTo>
                      <a:pt x="621" y="232"/>
                    </a:lnTo>
                    <a:lnTo>
                      <a:pt x="649" y="232"/>
                    </a:lnTo>
                    <a:lnTo>
                      <a:pt x="668" y="238"/>
                    </a:lnTo>
                    <a:lnTo>
                      <a:pt x="677" y="248"/>
                    </a:lnTo>
                    <a:lnTo>
                      <a:pt x="668" y="264"/>
                    </a:lnTo>
                    <a:lnTo>
                      <a:pt x="668" y="285"/>
                    </a:lnTo>
                    <a:lnTo>
                      <a:pt x="743" y="343"/>
                    </a:lnTo>
                    <a:lnTo>
                      <a:pt x="785" y="380"/>
                    </a:lnTo>
                    <a:lnTo>
                      <a:pt x="804" y="374"/>
                    </a:lnTo>
                    <a:lnTo>
                      <a:pt x="827" y="369"/>
                    </a:lnTo>
                    <a:lnTo>
                      <a:pt x="898" y="406"/>
                    </a:lnTo>
                    <a:lnTo>
                      <a:pt x="906" y="433"/>
                    </a:lnTo>
                    <a:lnTo>
                      <a:pt x="917" y="443"/>
                    </a:lnTo>
                    <a:lnTo>
                      <a:pt x="939" y="448"/>
                    </a:lnTo>
                    <a:lnTo>
                      <a:pt x="953" y="458"/>
                    </a:lnTo>
                    <a:lnTo>
                      <a:pt x="972" y="458"/>
                    </a:lnTo>
                    <a:lnTo>
                      <a:pt x="991" y="458"/>
                    </a:lnTo>
                    <a:lnTo>
                      <a:pt x="1010" y="464"/>
                    </a:lnTo>
                    <a:lnTo>
                      <a:pt x="1015" y="458"/>
                    </a:lnTo>
                    <a:lnTo>
                      <a:pt x="1024" y="480"/>
                    </a:lnTo>
                    <a:lnTo>
                      <a:pt x="1024" y="507"/>
                    </a:lnTo>
                    <a:lnTo>
                      <a:pt x="1010" y="522"/>
                    </a:lnTo>
                    <a:lnTo>
                      <a:pt x="936" y="584"/>
                    </a:lnTo>
                    <a:lnTo>
                      <a:pt x="903" y="584"/>
                    </a:lnTo>
                    <a:lnTo>
                      <a:pt x="809" y="609"/>
                    </a:lnTo>
                    <a:lnTo>
                      <a:pt x="776" y="615"/>
                    </a:lnTo>
                    <a:lnTo>
                      <a:pt x="776" y="646"/>
                    </a:lnTo>
                    <a:lnTo>
                      <a:pt x="757" y="646"/>
                    </a:lnTo>
                    <a:lnTo>
                      <a:pt x="738" y="662"/>
                    </a:lnTo>
                    <a:lnTo>
                      <a:pt x="719" y="689"/>
                    </a:lnTo>
                    <a:lnTo>
                      <a:pt x="700" y="709"/>
                    </a:lnTo>
                    <a:lnTo>
                      <a:pt x="677" y="714"/>
                    </a:lnTo>
                    <a:lnTo>
                      <a:pt x="658" y="741"/>
                    </a:lnTo>
                    <a:lnTo>
                      <a:pt x="658" y="778"/>
                    </a:lnTo>
                    <a:lnTo>
                      <a:pt x="672" y="798"/>
                    </a:lnTo>
                    <a:lnTo>
                      <a:pt x="677" y="814"/>
                    </a:lnTo>
                    <a:lnTo>
                      <a:pt x="677" y="841"/>
                    </a:lnTo>
                    <a:lnTo>
                      <a:pt x="672" y="851"/>
                    </a:lnTo>
                    <a:lnTo>
                      <a:pt x="653" y="857"/>
                    </a:lnTo>
                    <a:lnTo>
                      <a:pt x="625" y="884"/>
                    </a:lnTo>
                    <a:lnTo>
                      <a:pt x="589" y="921"/>
                    </a:lnTo>
                    <a:lnTo>
                      <a:pt x="573" y="936"/>
                    </a:lnTo>
                    <a:lnTo>
                      <a:pt x="564" y="946"/>
                    </a:lnTo>
                    <a:lnTo>
                      <a:pt x="564" y="962"/>
                    </a:lnTo>
                    <a:lnTo>
                      <a:pt x="523" y="962"/>
                    </a:lnTo>
                    <a:lnTo>
                      <a:pt x="499" y="968"/>
                    </a:lnTo>
                    <a:lnTo>
                      <a:pt x="480" y="973"/>
                    </a:lnTo>
                    <a:lnTo>
                      <a:pt x="471" y="983"/>
                    </a:lnTo>
                    <a:lnTo>
                      <a:pt x="457" y="1005"/>
                    </a:lnTo>
                    <a:lnTo>
                      <a:pt x="433" y="1015"/>
                    </a:lnTo>
                    <a:lnTo>
                      <a:pt x="419" y="1015"/>
                    </a:lnTo>
                    <a:lnTo>
                      <a:pt x="391" y="1010"/>
                    </a:lnTo>
                    <a:lnTo>
                      <a:pt x="344" y="1005"/>
                    </a:lnTo>
                    <a:lnTo>
                      <a:pt x="262" y="968"/>
                    </a:lnTo>
                    <a:lnTo>
                      <a:pt x="229" y="962"/>
                    </a:lnTo>
                    <a:lnTo>
                      <a:pt x="197" y="973"/>
                    </a:lnTo>
                    <a:lnTo>
                      <a:pt x="173" y="989"/>
                    </a:lnTo>
                    <a:lnTo>
                      <a:pt x="145" y="993"/>
                    </a:lnTo>
                    <a:lnTo>
                      <a:pt x="121" y="1010"/>
                    </a:lnTo>
                    <a:lnTo>
                      <a:pt x="107" y="1020"/>
                    </a:lnTo>
                    <a:lnTo>
                      <a:pt x="55" y="958"/>
                    </a:lnTo>
                    <a:lnTo>
                      <a:pt x="55" y="868"/>
                    </a:lnTo>
                    <a:lnTo>
                      <a:pt x="33" y="835"/>
                    </a:lnTo>
                    <a:lnTo>
                      <a:pt x="5" y="810"/>
                    </a:lnTo>
                    <a:lnTo>
                      <a:pt x="0" y="794"/>
                    </a:lnTo>
                    <a:lnTo>
                      <a:pt x="0" y="761"/>
                    </a:lnTo>
                    <a:lnTo>
                      <a:pt x="14" y="746"/>
                    </a:lnTo>
                    <a:lnTo>
                      <a:pt x="52" y="730"/>
                    </a:lnTo>
                    <a:lnTo>
                      <a:pt x="60" y="720"/>
                    </a:lnTo>
                    <a:lnTo>
                      <a:pt x="46" y="699"/>
                    </a:lnTo>
                    <a:lnTo>
                      <a:pt x="41" y="662"/>
                    </a:lnTo>
                    <a:lnTo>
                      <a:pt x="55" y="630"/>
                    </a:lnTo>
                    <a:lnTo>
                      <a:pt x="84" y="599"/>
                    </a:lnTo>
                    <a:lnTo>
                      <a:pt x="84" y="575"/>
                    </a:lnTo>
                    <a:lnTo>
                      <a:pt x="74" y="554"/>
                    </a:lnTo>
                    <a:lnTo>
                      <a:pt x="84" y="517"/>
                    </a:lnTo>
                    <a:lnTo>
                      <a:pt x="88" y="512"/>
                    </a:lnTo>
                    <a:lnTo>
                      <a:pt x="102" y="512"/>
                    </a:lnTo>
                    <a:lnTo>
                      <a:pt x="112" y="528"/>
                    </a:lnTo>
                    <a:lnTo>
                      <a:pt x="126" y="507"/>
                    </a:lnTo>
                    <a:lnTo>
                      <a:pt x="131" y="448"/>
                    </a:lnTo>
                    <a:lnTo>
                      <a:pt x="168" y="411"/>
                    </a:lnTo>
                    <a:lnTo>
                      <a:pt x="168" y="390"/>
                    </a:lnTo>
                    <a:lnTo>
                      <a:pt x="168" y="374"/>
                    </a:lnTo>
                    <a:lnTo>
                      <a:pt x="206" y="349"/>
                    </a:lnTo>
                    <a:lnTo>
                      <a:pt x="234" y="343"/>
                    </a:lnTo>
                    <a:lnTo>
                      <a:pt x="244" y="332"/>
                    </a:lnTo>
                    <a:lnTo>
                      <a:pt x="220" y="306"/>
                    </a:lnTo>
                    <a:lnTo>
                      <a:pt x="201" y="264"/>
                    </a:lnTo>
                    <a:lnTo>
                      <a:pt x="192" y="254"/>
                    </a:lnTo>
                    <a:lnTo>
                      <a:pt x="164" y="269"/>
                    </a:lnTo>
                    <a:lnTo>
                      <a:pt x="145" y="259"/>
                    </a:lnTo>
                    <a:lnTo>
                      <a:pt x="117" y="248"/>
                    </a:lnTo>
                    <a:lnTo>
                      <a:pt x="107" y="254"/>
                    </a:lnTo>
                    <a:lnTo>
                      <a:pt x="98" y="242"/>
                    </a:lnTo>
                    <a:lnTo>
                      <a:pt x="98" y="222"/>
                    </a:lnTo>
                    <a:lnTo>
                      <a:pt x="84" y="201"/>
                    </a:lnTo>
                    <a:lnTo>
                      <a:pt x="74" y="195"/>
                    </a:lnTo>
                    <a:lnTo>
                      <a:pt x="52" y="201"/>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2" name="IT"/>
            <p:cNvGrpSpPr>
              <a:grpSpLocks/>
            </p:cNvGrpSpPr>
            <p:nvPr/>
          </p:nvGrpSpPr>
          <p:grpSpPr bwMode="auto">
            <a:xfrm>
              <a:off x="5286549" y="4381647"/>
              <a:ext cx="1374773" cy="1579562"/>
              <a:chOff x="2243131" y="4710790"/>
              <a:chExt cx="631" cy="817"/>
            </a:xfrm>
            <a:solidFill>
              <a:schemeClr val="bg1">
                <a:lumMod val="95000"/>
              </a:schemeClr>
            </a:solidFill>
            <a:effectLst/>
          </p:grpSpPr>
          <p:sp>
            <p:nvSpPr>
              <p:cNvPr id="73" name="Freeform 545"/>
              <p:cNvSpPr>
                <a:spLocks noChangeAspect="1"/>
              </p:cNvSpPr>
              <p:nvPr/>
            </p:nvSpPr>
            <p:spPr bwMode="auto">
              <a:xfrm>
                <a:off x="2243153" y="4711222"/>
                <a:ext cx="100" cy="168"/>
              </a:xfrm>
              <a:custGeom>
                <a:avLst/>
                <a:gdLst>
                  <a:gd name="T0" fmla="*/ 89 w 150"/>
                  <a:gd name="T1" fmla="*/ 0 h 275"/>
                  <a:gd name="T2" fmla="*/ 66 w 150"/>
                  <a:gd name="T3" fmla="*/ 16 h 275"/>
                  <a:gd name="T4" fmla="*/ 47 w 150"/>
                  <a:gd name="T5" fmla="*/ 31 h 275"/>
                  <a:gd name="T6" fmla="*/ 28 w 150"/>
                  <a:gd name="T7" fmla="*/ 37 h 275"/>
                  <a:gd name="T8" fmla="*/ 0 w 150"/>
                  <a:gd name="T9" fmla="*/ 31 h 275"/>
                  <a:gd name="T10" fmla="*/ 5 w 150"/>
                  <a:gd name="T11" fmla="*/ 64 h 275"/>
                  <a:gd name="T12" fmla="*/ 19 w 150"/>
                  <a:gd name="T13" fmla="*/ 84 h 275"/>
                  <a:gd name="T14" fmla="*/ 14 w 150"/>
                  <a:gd name="T15" fmla="*/ 138 h 275"/>
                  <a:gd name="T16" fmla="*/ 14 w 150"/>
                  <a:gd name="T17" fmla="*/ 164 h 275"/>
                  <a:gd name="T18" fmla="*/ 19 w 150"/>
                  <a:gd name="T19" fmla="*/ 185 h 275"/>
                  <a:gd name="T20" fmla="*/ 5 w 150"/>
                  <a:gd name="T21" fmla="*/ 228 h 275"/>
                  <a:gd name="T22" fmla="*/ 9 w 150"/>
                  <a:gd name="T23" fmla="*/ 259 h 275"/>
                  <a:gd name="T24" fmla="*/ 28 w 150"/>
                  <a:gd name="T25" fmla="*/ 275 h 275"/>
                  <a:gd name="T26" fmla="*/ 56 w 150"/>
                  <a:gd name="T27" fmla="*/ 253 h 275"/>
                  <a:gd name="T28" fmla="*/ 66 w 150"/>
                  <a:gd name="T29" fmla="*/ 248 h 275"/>
                  <a:gd name="T30" fmla="*/ 94 w 150"/>
                  <a:gd name="T31" fmla="*/ 253 h 275"/>
                  <a:gd name="T32" fmla="*/ 113 w 150"/>
                  <a:gd name="T33" fmla="*/ 232 h 275"/>
                  <a:gd name="T34" fmla="*/ 113 w 150"/>
                  <a:gd name="T35" fmla="*/ 211 h 275"/>
                  <a:gd name="T36" fmla="*/ 136 w 150"/>
                  <a:gd name="T37" fmla="*/ 169 h 275"/>
                  <a:gd name="T38" fmla="*/ 145 w 150"/>
                  <a:gd name="T39" fmla="*/ 142 h 275"/>
                  <a:gd name="T40" fmla="*/ 136 w 150"/>
                  <a:gd name="T41" fmla="*/ 117 h 275"/>
                  <a:gd name="T42" fmla="*/ 150 w 150"/>
                  <a:gd name="T43" fmla="*/ 84 h 275"/>
                  <a:gd name="T44" fmla="*/ 141 w 150"/>
                  <a:gd name="T45" fmla="*/ 37 h 275"/>
                  <a:gd name="T46" fmla="*/ 136 w 150"/>
                  <a:gd name="T47" fmla="*/ 10 h 275"/>
                  <a:gd name="T48" fmla="*/ 89 w 150"/>
                  <a:gd name="T4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75">
                    <a:moveTo>
                      <a:pt x="89" y="0"/>
                    </a:moveTo>
                    <a:lnTo>
                      <a:pt x="66" y="16"/>
                    </a:lnTo>
                    <a:lnTo>
                      <a:pt x="47" y="31"/>
                    </a:lnTo>
                    <a:lnTo>
                      <a:pt x="28" y="37"/>
                    </a:lnTo>
                    <a:lnTo>
                      <a:pt x="0" y="31"/>
                    </a:lnTo>
                    <a:lnTo>
                      <a:pt x="5" y="64"/>
                    </a:lnTo>
                    <a:lnTo>
                      <a:pt x="19" y="84"/>
                    </a:lnTo>
                    <a:lnTo>
                      <a:pt x="14" y="138"/>
                    </a:lnTo>
                    <a:lnTo>
                      <a:pt x="14" y="164"/>
                    </a:lnTo>
                    <a:lnTo>
                      <a:pt x="19" y="185"/>
                    </a:lnTo>
                    <a:lnTo>
                      <a:pt x="5" y="228"/>
                    </a:lnTo>
                    <a:lnTo>
                      <a:pt x="9" y="259"/>
                    </a:lnTo>
                    <a:lnTo>
                      <a:pt x="28" y="275"/>
                    </a:lnTo>
                    <a:lnTo>
                      <a:pt x="56" y="253"/>
                    </a:lnTo>
                    <a:lnTo>
                      <a:pt x="66" y="248"/>
                    </a:lnTo>
                    <a:lnTo>
                      <a:pt x="94" y="253"/>
                    </a:lnTo>
                    <a:lnTo>
                      <a:pt x="113" y="232"/>
                    </a:lnTo>
                    <a:lnTo>
                      <a:pt x="113" y="211"/>
                    </a:lnTo>
                    <a:lnTo>
                      <a:pt x="136" y="169"/>
                    </a:lnTo>
                    <a:lnTo>
                      <a:pt x="145" y="142"/>
                    </a:lnTo>
                    <a:lnTo>
                      <a:pt x="136" y="117"/>
                    </a:lnTo>
                    <a:lnTo>
                      <a:pt x="150" y="84"/>
                    </a:lnTo>
                    <a:lnTo>
                      <a:pt x="141" y="37"/>
                    </a:lnTo>
                    <a:lnTo>
                      <a:pt x="136" y="10"/>
                    </a:lnTo>
                    <a:lnTo>
                      <a:pt x="89"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4" name="Freeform 546"/>
              <p:cNvSpPr>
                <a:spLocks noChangeAspect="1"/>
              </p:cNvSpPr>
              <p:nvPr/>
            </p:nvSpPr>
            <p:spPr bwMode="auto">
              <a:xfrm>
                <a:off x="2243388" y="4711487"/>
                <a:ext cx="184" cy="120"/>
              </a:xfrm>
              <a:custGeom>
                <a:avLst/>
                <a:gdLst>
                  <a:gd name="T0" fmla="*/ 260 w 274"/>
                  <a:gd name="T1" fmla="*/ 0 h 194"/>
                  <a:gd name="T2" fmla="*/ 274 w 274"/>
                  <a:gd name="T3" fmla="*/ 16 h 194"/>
                  <a:gd name="T4" fmla="*/ 265 w 274"/>
                  <a:gd name="T5" fmla="*/ 32 h 194"/>
                  <a:gd name="T6" fmla="*/ 255 w 274"/>
                  <a:gd name="T7" fmla="*/ 57 h 194"/>
                  <a:gd name="T8" fmla="*/ 241 w 274"/>
                  <a:gd name="T9" fmla="*/ 73 h 194"/>
                  <a:gd name="T10" fmla="*/ 246 w 274"/>
                  <a:gd name="T11" fmla="*/ 121 h 194"/>
                  <a:gd name="T12" fmla="*/ 255 w 274"/>
                  <a:gd name="T13" fmla="*/ 157 h 194"/>
                  <a:gd name="T14" fmla="*/ 231 w 274"/>
                  <a:gd name="T15" fmla="*/ 172 h 194"/>
                  <a:gd name="T16" fmla="*/ 227 w 274"/>
                  <a:gd name="T17" fmla="*/ 188 h 194"/>
                  <a:gd name="T18" fmla="*/ 208 w 274"/>
                  <a:gd name="T19" fmla="*/ 194 h 194"/>
                  <a:gd name="T20" fmla="*/ 180 w 274"/>
                  <a:gd name="T21" fmla="*/ 162 h 194"/>
                  <a:gd name="T22" fmla="*/ 161 w 274"/>
                  <a:gd name="T23" fmla="*/ 162 h 194"/>
                  <a:gd name="T24" fmla="*/ 146 w 274"/>
                  <a:gd name="T25" fmla="*/ 137 h 194"/>
                  <a:gd name="T26" fmla="*/ 118 w 274"/>
                  <a:gd name="T27" fmla="*/ 121 h 194"/>
                  <a:gd name="T28" fmla="*/ 99 w 274"/>
                  <a:gd name="T29" fmla="*/ 115 h 194"/>
                  <a:gd name="T30" fmla="*/ 80 w 274"/>
                  <a:gd name="T31" fmla="*/ 105 h 194"/>
                  <a:gd name="T32" fmla="*/ 61 w 274"/>
                  <a:gd name="T33" fmla="*/ 88 h 194"/>
                  <a:gd name="T34" fmla="*/ 28 w 274"/>
                  <a:gd name="T35" fmla="*/ 63 h 194"/>
                  <a:gd name="T36" fmla="*/ 14 w 274"/>
                  <a:gd name="T37" fmla="*/ 57 h 194"/>
                  <a:gd name="T38" fmla="*/ 0 w 274"/>
                  <a:gd name="T39" fmla="*/ 41 h 194"/>
                  <a:gd name="T40" fmla="*/ 0 w 274"/>
                  <a:gd name="T41" fmla="*/ 22 h 194"/>
                  <a:gd name="T42" fmla="*/ 5 w 274"/>
                  <a:gd name="T43" fmla="*/ 6 h 194"/>
                  <a:gd name="T44" fmla="*/ 33 w 274"/>
                  <a:gd name="T45" fmla="*/ 10 h 194"/>
                  <a:gd name="T46" fmla="*/ 76 w 274"/>
                  <a:gd name="T47" fmla="*/ 10 h 194"/>
                  <a:gd name="T48" fmla="*/ 85 w 274"/>
                  <a:gd name="T49" fmla="*/ 26 h 194"/>
                  <a:gd name="T50" fmla="*/ 132 w 274"/>
                  <a:gd name="T51" fmla="*/ 26 h 194"/>
                  <a:gd name="T52" fmla="*/ 165 w 274"/>
                  <a:gd name="T53" fmla="*/ 26 h 194"/>
                  <a:gd name="T54" fmla="*/ 208 w 274"/>
                  <a:gd name="T55" fmla="*/ 16 h 194"/>
                  <a:gd name="T56" fmla="*/ 260 w 274"/>
                  <a:gd name="T5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 h="194">
                    <a:moveTo>
                      <a:pt x="260" y="0"/>
                    </a:moveTo>
                    <a:lnTo>
                      <a:pt x="274" y="16"/>
                    </a:lnTo>
                    <a:lnTo>
                      <a:pt x="265" y="32"/>
                    </a:lnTo>
                    <a:lnTo>
                      <a:pt x="255" y="57"/>
                    </a:lnTo>
                    <a:lnTo>
                      <a:pt x="241" y="73"/>
                    </a:lnTo>
                    <a:lnTo>
                      <a:pt x="246" y="121"/>
                    </a:lnTo>
                    <a:lnTo>
                      <a:pt x="255" y="157"/>
                    </a:lnTo>
                    <a:lnTo>
                      <a:pt x="231" y="172"/>
                    </a:lnTo>
                    <a:lnTo>
                      <a:pt x="227" y="188"/>
                    </a:lnTo>
                    <a:lnTo>
                      <a:pt x="208" y="194"/>
                    </a:lnTo>
                    <a:lnTo>
                      <a:pt x="180" y="162"/>
                    </a:lnTo>
                    <a:lnTo>
                      <a:pt x="161" y="162"/>
                    </a:lnTo>
                    <a:lnTo>
                      <a:pt x="146" y="137"/>
                    </a:lnTo>
                    <a:lnTo>
                      <a:pt x="118" y="121"/>
                    </a:lnTo>
                    <a:lnTo>
                      <a:pt x="99" y="115"/>
                    </a:lnTo>
                    <a:lnTo>
                      <a:pt x="80" y="105"/>
                    </a:lnTo>
                    <a:lnTo>
                      <a:pt x="61" y="88"/>
                    </a:lnTo>
                    <a:lnTo>
                      <a:pt x="28" y="63"/>
                    </a:lnTo>
                    <a:lnTo>
                      <a:pt x="14" y="57"/>
                    </a:lnTo>
                    <a:lnTo>
                      <a:pt x="0" y="41"/>
                    </a:lnTo>
                    <a:lnTo>
                      <a:pt x="0" y="22"/>
                    </a:lnTo>
                    <a:lnTo>
                      <a:pt x="5" y="6"/>
                    </a:lnTo>
                    <a:lnTo>
                      <a:pt x="33" y="10"/>
                    </a:lnTo>
                    <a:lnTo>
                      <a:pt x="76" y="10"/>
                    </a:lnTo>
                    <a:lnTo>
                      <a:pt x="85" y="26"/>
                    </a:lnTo>
                    <a:lnTo>
                      <a:pt x="132" y="26"/>
                    </a:lnTo>
                    <a:lnTo>
                      <a:pt x="165" y="26"/>
                    </a:lnTo>
                    <a:lnTo>
                      <a:pt x="208" y="16"/>
                    </a:lnTo>
                    <a:lnTo>
                      <a:pt x="260"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5" name="Freeform 547"/>
              <p:cNvSpPr>
                <a:spLocks noChangeAspect="1"/>
              </p:cNvSpPr>
              <p:nvPr/>
            </p:nvSpPr>
            <p:spPr bwMode="auto">
              <a:xfrm>
                <a:off x="2243131" y="4710790"/>
                <a:ext cx="631" cy="730"/>
              </a:xfrm>
              <a:custGeom>
                <a:avLst/>
                <a:gdLst>
                  <a:gd name="T0" fmla="*/ 713 w 931"/>
                  <a:gd name="T1" fmla="*/ 1163 h 1179"/>
                  <a:gd name="T2" fmla="*/ 769 w 931"/>
                  <a:gd name="T3" fmla="*/ 1052 h 1179"/>
                  <a:gd name="T4" fmla="*/ 793 w 931"/>
                  <a:gd name="T5" fmla="*/ 1015 h 1179"/>
                  <a:gd name="T6" fmla="*/ 774 w 931"/>
                  <a:gd name="T7" fmla="*/ 963 h 1179"/>
                  <a:gd name="T8" fmla="*/ 751 w 931"/>
                  <a:gd name="T9" fmla="*/ 957 h 1179"/>
                  <a:gd name="T10" fmla="*/ 769 w 931"/>
                  <a:gd name="T11" fmla="*/ 916 h 1179"/>
                  <a:gd name="T12" fmla="*/ 798 w 931"/>
                  <a:gd name="T13" fmla="*/ 857 h 1179"/>
                  <a:gd name="T14" fmla="*/ 887 w 931"/>
                  <a:gd name="T15" fmla="*/ 926 h 1179"/>
                  <a:gd name="T16" fmla="*/ 924 w 931"/>
                  <a:gd name="T17" fmla="*/ 926 h 1179"/>
                  <a:gd name="T18" fmla="*/ 896 w 931"/>
                  <a:gd name="T19" fmla="*/ 846 h 1179"/>
                  <a:gd name="T20" fmla="*/ 868 w 931"/>
                  <a:gd name="T21" fmla="*/ 842 h 1179"/>
                  <a:gd name="T22" fmla="*/ 769 w 931"/>
                  <a:gd name="T23" fmla="*/ 752 h 1179"/>
                  <a:gd name="T24" fmla="*/ 708 w 931"/>
                  <a:gd name="T25" fmla="*/ 704 h 1179"/>
                  <a:gd name="T26" fmla="*/ 713 w 931"/>
                  <a:gd name="T27" fmla="*/ 672 h 1179"/>
                  <a:gd name="T28" fmla="*/ 620 w 931"/>
                  <a:gd name="T29" fmla="*/ 624 h 1179"/>
                  <a:gd name="T30" fmla="*/ 578 w 931"/>
                  <a:gd name="T31" fmla="*/ 583 h 1179"/>
                  <a:gd name="T32" fmla="*/ 479 w 931"/>
                  <a:gd name="T33" fmla="*/ 416 h 1179"/>
                  <a:gd name="T34" fmla="*/ 460 w 931"/>
                  <a:gd name="T35" fmla="*/ 284 h 1179"/>
                  <a:gd name="T36" fmla="*/ 432 w 931"/>
                  <a:gd name="T37" fmla="*/ 232 h 1179"/>
                  <a:gd name="T38" fmla="*/ 512 w 931"/>
                  <a:gd name="T39" fmla="*/ 190 h 1179"/>
                  <a:gd name="T40" fmla="*/ 549 w 931"/>
                  <a:gd name="T41" fmla="*/ 99 h 1179"/>
                  <a:gd name="T42" fmla="*/ 465 w 931"/>
                  <a:gd name="T43" fmla="*/ 58 h 1179"/>
                  <a:gd name="T44" fmla="*/ 451 w 931"/>
                  <a:gd name="T45" fmla="*/ 21 h 1179"/>
                  <a:gd name="T46" fmla="*/ 334 w 931"/>
                  <a:gd name="T47" fmla="*/ 5 h 1179"/>
                  <a:gd name="T48" fmla="*/ 278 w 931"/>
                  <a:gd name="T49" fmla="*/ 74 h 1179"/>
                  <a:gd name="T50" fmla="*/ 230 w 931"/>
                  <a:gd name="T51" fmla="*/ 68 h 1179"/>
                  <a:gd name="T52" fmla="*/ 169 w 931"/>
                  <a:gd name="T53" fmla="*/ 89 h 1179"/>
                  <a:gd name="T54" fmla="*/ 146 w 931"/>
                  <a:gd name="T55" fmla="*/ 42 h 1179"/>
                  <a:gd name="T56" fmla="*/ 113 w 931"/>
                  <a:gd name="T57" fmla="*/ 84 h 1179"/>
                  <a:gd name="T58" fmla="*/ 28 w 931"/>
                  <a:gd name="T59" fmla="*/ 121 h 1179"/>
                  <a:gd name="T60" fmla="*/ 9 w 931"/>
                  <a:gd name="T61" fmla="*/ 195 h 1179"/>
                  <a:gd name="T62" fmla="*/ 0 w 931"/>
                  <a:gd name="T63" fmla="*/ 268 h 1179"/>
                  <a:gd name="T64" fmla="*/ 38 w 931"/>
                  <a:gd name="T65" fmla="*/ 296 h 1179"/>
                  <a:gd name="T66" fmla="*/ 66 w 931"/>
                  <a:gd name="T67" fmla="*/ 354 h 1179"/>
                  <a:gd name="T68" fmla="*/ 155 w 931"/>
                  <a:gd name="T69" fmla="*/ 300 h 1179"/>
                  <a:gd name="T70" fmla="*/ 240 w 931"/>
                  <a:gd name="T71" fmla="*/ 385 h 1179"/>
                  <a:gd name="T72" fmla="*/ 278 w 931"/>
                  <a:gd name="T73" fmla="*/ 500 h 1179"/>
                  <a:gd name="T74" fmla="*/ 342 w 931"/>
                  <a:gd name="T75" fmla="*/ 563 h 1179"/>
                  <a:gd name="T76" fmla="*/ 427 w 931"/>
                  <a:gd name="T77" fmla="*/ 678 h 1179"/>
                  <a:gd name="T78" fmla="*/ 559 w 931"/>
                  <a:gd name="T79" fmla="*/ 788 h 1179"/>
                  <a:gd name="T80" fmla="*/ 601 w 931"/>
                  <a:gd name="T81" fmla="*/ 820 h 1179"/>
                  <a:gd name="T82" fmla="*/ 634 w 931"/>
                  <a:gd name="T83" fmla="*/ 894 h 1179"/>
                  <a:gd name="T84" fmla="*/ 686 w 931"/>
                  <a:gd name="T85" fmla="*/ 916 h 1179"/>
                  <a:gd name="T86" fmla="*/ 705 w 931"/>
                  <a:gd name="T87" fmla="*/ 1010 h 1179"/>
                  <a:gd name="T88" fmla="*/ 689 w 931"/>
                  <a:gd name="T89" fmla="*/ 1079 h 1179"/>
                  <a:gd name="T90" fmla="*/ 675 w 931"/>
                  <a:gd name="T91" fmla="*/ 116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1" h="1179">
                    <a:moveTo>
                      <a:pt x="675" y="1163"/>
                    </a:moveTo>
                    <a:lnTo>
                      <a:pt x="689" y="1179"/>
                    </a:lnTo>
                    <a:lnTo>
                      <a:pt x="713" y="1163"/>
                    </a:lnTo>
                    <a:lnTo>
                      <a:pt x="741" y="1121"/>
                    </a:lnTo>
                    <a:lnTo>
                      <a:pt x="755" y="1058"/>
                    </a:lnTo>
                    <a:lnTo>
                      <a:pt x="769" y="1052"/>
                    </a:lnTo>
                    <a:lnTo>
                      <a:pt x="779" y="1062"/>
                    </a:lnTo>
                    <a:lnTo>
                      <a:pt x="798" y="1042"/>
                    </a:lnTo>
                    <a:lnTo>
                      <a:pt x="793" y="1015"/>
                    </a:lnTo>
                    <a:lnTo>
                      <a:pt x="802" y="994"/>
                    </a:lnTo>
                    <a:lnTo>
                      <a:pt x="798" y="984"/>
                    </a:lnTo>
                    <a:lnTo>
                      <a:pt x="774" y="963"/>
                    </a:lnTo>
                    <a:lnTo>
                      <a:pt x="765" y="963"/>
                    </a:lnTo>
                    <a:lnTo>
                      <a:pt x="769" y="951"/>
                    </a:lnTo>
                    <a:lnTo>
                      <a:pt x="751" y="957"/>
                    </a:lnTo>
                    <a:lnTo>
                      <a:pt x="741" y="947"/>
                    </a:lnTo>
                    <a:lnTo>
                      <a:pt x="741" y="936"/>
                    </a:lnTo>
                    <a:lnTo>
                      <a:pt x="769" y="916"/>
                    </a:lnTo>
                    <a:lnTo>
                      <a:pt x="783" y="894"/>
                    </a:lnTo>
                    <a:lnTo>
                      <a:pt x="783" y="862"/>
                    </a:lnTo>
                    <a:lnTo>
                      <a:pt x="798" y="857"/>
                    </a:lnTo>
                    <a:lnTo>
                      <a:pt x="845" y="883"/>
                    </a:lnTo>
                    <a:lnTo>
                      <a:pt x="863" y="889"/>
                    </a:lnTo>
                    <a:lnTo>
                      <a:pt x="887" y="926"/>
                    </a:lnTo>
                    <a:lnTo>
                      <a:pt x="896" y="947"/>
                    </a:lnTo>
                    <a:lnTo>
                      <a:pt x="910" y="947"/>
                    </a:lnTo>
                    <a:lnTo>
                      <a:pt x="924" y="926"/>
                    </a:lnTo>
                    <a:lnTo>
                      <a:pt x="931" y="904"/>
                    </a:lnTo>
                    <a:lnTo>
                      <a:pt x="915" y="867"/>
                    </a:lnTo>
                    <a:lnTo>
                      <a:pt x="896" y="846"/>
                    </a:lnTo>
                    <a:lnTo>
                      <a:pt x="878" y="846"/>
                    </a:lnTo>
                    <a:lnTo>
                      <a:pt x="878" y="842"/>
                    </a:lnTo>
                    <a:lnTo>
                      <a:pt x="868" y="842"/>
                    </a:lnTo>
                    <a:lnTo>
                      <a:pt x="821" y="788"/>
                    </a:lnTo>
                    <a:lnTo>
                      <a:pt x="798" y="793"/>
                    </a:lnTo>
                    <a:lnTo>
                      <a:pt x="769" y="752"/>
                    </a:lnTo>
                    <a:lnTo>
                      <a:pt x="751" y="746"/>
                    </a:lnTo>
                    <a:lnTo>
                      <a:pt x="722" y="715"/>
                    </a:lnTo>
                    <a:lnTo>
                      <a:pt x="708" y="704"/>
                    </a:lnTo>
                    <a:lnTo>
                      <a:pt x="719" y="694"/>
                    </a:lnTo>
                    <a:lnTo>
                      <a:pt x="732" y="688"/>
                    </a:lnTo>
                    <a:lnTo>
                      <a:pt x="713" y="672"/>
                    </a:lnTo>
                    <a:lnTo>
                      <a:pt x="689" y="682"/>
                    </a:lnTo>
                    <a:lnTo>
                      <a:pt x="672" y="672"/>
                    </a:lnTo>
                    <a:lnTo>
                      <a:pt x="620" y="624"/>
                    </a:lnTo>
                    <a:lnTo>
                      <a:pt x="615" y="604"/>
                    </a:lnTo>
                    <a:lnTo>
                      <a:pt x="596" y="598"/>
                    </a:lnTo>
                    <a:lnTo>
                      <a:pt x="578" y="583"/>
                    </a:lnTo>
                    <a:lnTo>
                      <a:pt x="530" y="469"/>
                    </a:lnTo>
                    <a:lnTo>
                      <a:pt x="516" y="453"/>
                    </a:lnTo>
                    <a:lnTo>
                      <a:pt x="479" y="416"/>
                    </a:lnTo>
                    <a:lnTo>
                      <a:pt x="436" y="342"/>
                    </a:lnTo>
                    <a:lnTo>
                      <a:pt x="436" y="300"/>
                    </a:lnTo>
                    <a:lnTo>
                      <a:pt x="460" y="284"/>
                    </a:lnTo>
                    <a:lnTo>
                      <a:pt x="460" y="263"/>
                    </a:lnTo>
                    <a:lnTo>
                      <a:pt x="441" y="243"/>
                    </a:lnTo>
                    <a:lnTo>
                      <a:pt x="432" y="232"/>
                    </a:lnTo>
                    <a:lnTo>
                      <a:pt x="436" y="216"/>
                    </a:lnTo>
                    <a:lnTo>
                      <a:pt x="455" y="206"/>
                    </a:lnTo>
                    <a:lnTo>
                      <a:pt x="512" y="190"/>
                    </a:lnTo>
                    <a:lnTo>
                      <a:pt x="535" y="173"/>
                    </a:lnTo>
                    <a:lnTo>
                      <a:pt x="554" y="153"/>
                    </a:lnTo>
                    <a:lnTo>
                      <a:pt x="549" y="99"/>
                    </a:lnTo>
                    <a:lnTo>
                      <a:pt x="554" y="79"/>
                    </a:lnTo>
                    <a:lnTo>
                      <a:pt x="526" y="74"/>
                    </a:lnTo>
                    <a:lnTo>
                      <a:pt x="465" y="58"/>
                    </a:lnTo>
                    <a:lnTo>
                      <a:pt x="455" y="42"/>
                    </a:lnTo>
                    <a:lnTo>
                      <a:pt x="451" y="37"/>
                    </a:lnTo>
                    <a:lnTo>
                      <a:pt x="451" y="21"/>
                    </a:lnTo>
                    <a:lnTo>
                      <a:pt x="446" y="5"/>
                    </a:lnTo>
                    <a:lnTo>
                      <a:pt x="413" y="0"/>
                    </a:lnTo>
                    <a:lnTo>
                      <a:pt x="334" y="5"/>
                    </a:lnTo>
                    <a:lnTo>
                      <a:pt x="325" y="27"/>
                    </a:lnTo>
                    <a:lnTo>
                      <a:pt x="296" y="31"/>
                    </a:lnTo>
                    <a:lnTo>
                      <a:pt x="278" y="74"/>
                    </a:lnTo>
                    <a:lnTo>
                      <a:pt x="278" y="89"/>
                    </a:lnTo>
                    <a:lnTo>
                      <a:pt x="259" y="74"/>
                    </a:lnTo>
                    <a:lnTo>
                      <a:pt x="230" y="68"/>
                    </a:lnTo>
                    <a:lnTo>
                      <a:pt x="212" y="79"/>
                    </a:lnTo>
                    <a:lnTo>
                      <a:pt x="198" y="111"/>
                    </a:lnTo>
                    <a:lnTo>
                      <a:pt x="169" y="89"/>
                    </a:lnTo>
                    <a:lnTo>
                      <a:pt x="174" y="58"/>
                    </a:lnTo>
                    <a:lnTo>
                      <a:pt x="165" y="37"/>
                    </a:lnTo>
                    <a:lnTo>
                      <a:pt x="146" y="42"/>
                    </a:lnTo>
                    <a:lnTo>
                      <a:pt x="141" y="68"/>
                    </a:lnTo>
                    <a:lnTo>
                      <a:pt x="127" y="84"/>
                    </a:lnTo>
                    <a:lnTo>
                      <a:pt x="113" y="84"/>
                    </a:lnTo>
                    <a:lnTo>
                      <a:pt x="47" y="74"/>
                    </a:lnTo>
                    <a:lnTo>
                      <a:pt x="25" y="95"/>
                    </a:lnTo>
                    <a:lnTo>
                      <a:pt x="28" y="121"/>
                    </a:lnTo>
                    <a:lnTo>
                      <a:pt x="33" y="142"/>
                    </a:lnTo>
                    <a:lnTo>
                      <a:pt x="0" y="173"/>
                    </a:lnTo>
                    <a:lnTo>
                      <a:pt x="9" y="195"/>
                    </a:lnTo>
                    <a:lnTo>
                      <a:pt x="19" y="206"/>
                    </a:lnTo>
                    <a:lnTo>
                      <a:pt x="0" y="232"/>
                    </a:lnTo>
                    <a:lnTo>
                      <a:pt x="0" y="268"/>
                    </a:lnTo>
                    <a:lnTo>
                      <a:pt x="9" y="284"/>
                    </a:lnTo>
                    <a:lnTo>
                      <a:pt x="28" y="284"/>
                    </a:lnTo>
                    <a:lnTo>
                      <a:pt x="38" y="296"/>
                    </a:lnTo>
                    <a:lnTo>
                      <a:pt x="47" y="321"/>
                    </a:lnTo>
                    <a:lnTo>
                      <a:pt x="47" y="348"/>
                    </a:lnTo>
                    <a:lnTo>
                      <a:pt x="66" y="354"/>
                    </a:lnTo>
                    <a:lnTo>
                      <a:pt x="80" y="348"/>
                    </a:lnTo>
                    <a:lnTo>
                      <a:pt x="132" y="290"/>
                    </a:lnTo>
                    <a:lnTo>
                      <a:pt x="155" y="300"/>
                    </a:lnTo>
                    <a:lnTo>
                      <a:pt x="202" y="327"/>
                    </a:lnTo>
                    <a:lnTo>
                      <a:pt x="235" y="354"/>
                    </a:lnTo>
                    <a:lnTo>
                      <a:pt x="240" y="385"/>
                    </a:lnTo>
                    <a:lnTo>
                      <a:pt x="259" y="406"/>
                    </a:lnTo>
                    <a:lnTo>
                      <a:pt x="268" y="443"/>
                    </a:lnTo>
                    <a:lnTo>
                      <a:pt x="278" y="500"/>
                    </a:lnTo>
                    <a:lnTo>
                      <a:pt x="292" y="527"/>
                    </a:lnTo>
                    <a:lnTo>
                      <a:pt x="309" y="549"/>
                    </a:lnTo>
                    <a:lnTo>
                      <a:pt x="342" y="563"/>
                    </a:lnTo>
                    <a:lnTo>
                      <a:pt x="372" y="614"/>
                    </a:lnTo>
                    <a:lnTo>
                      <a:pt x="399" y="657"/>
                    </a:lnTo>
                    <a:lnTo>
                      <a:pt x="427" y="678"/>
                    </a:lnTo>
                    <a:lnTo>
                      <a:pt x="479" y="746"/>
                    </a:lnTo>
                    <a:lnTo>
                      <a:pt x="516" y="746"/>
                    </a:lnTo>
                    <a:lnTo>
                      <a:pt x="559" y="788"/>
                    </a:lnTo>
                    <a:lnTo>
                      <a:pt x="559" y="830"/>
                    </a:lnTo>
                    <a:lnTo>
                      <a:pt x="573" y="842"/>
                    </a:lnTo>
                    <a:lnTo>
                      <a:pt x="601" y="820"/>
                    </a:lnTo>
                    <a:lnTo>
                      <a:pt x="606" y="842"/>
                    </a:lnTo>
                    <a:lnTo>
                      <a:pt x="606" y="867"/>
                    </a:lnTo>
                    <a:lnTo>
                      <a:pt x="634" y="894"/>
                    </a:lnTo>
                    <a:lnTo>
                      <a:pt x="643" y="910"/>
                    </a:lnTo>
                    <a:lnTo>
                      <a:pt x="681" y="899"/>
                    </a:lnTo>
                    <a:lnTo>
                      <a:pt x="686" y="916"/>
                    </a:lnTo>
                    <a:lnTo>
                      <a:pt x="681" y="951"/>
                    </a:lnTo>
                    <a:lnTo>
                      <a:pt x="700" y="984"/>
                    </a:lnTo>
                    <a:lnTo>
                      <a:pt x="705" y="1010"/>
                    </a:lnTo>
                    <a:lnTo>
                      <a:pt x="713" y="1037"/>
                    </a:lnTo>
                    <a:lnTo>
                      <a:pt x="708" y="1058"/>
                    </a:lnTo>
                    <a:lnTo>
                      <a:pt x="689" y="1079"/>
                    </a:lnTo>
                    <a:lnTo>
                      <a:pt x="686" y="1105"/>
                    </a:lnTo>
                    <a:lnTo>
                      <a:pt x="672" y="1136"/>
                    </a:lnTo>
                    <a:lnTo>
                      <a:pt x="675" y="1163"/>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3" name="GR"/>
            <p:cNvGrpSpPr>
              <a:grpSpLocks/>
            </p:cNvGrpSpPr>
            <p:nvPr/>
          </p:nvGrpSpPr>
          <p:grpSpPr bwMode="auto">
            <a:xfrm>
              <a:off x="6856601" y="5199139"/>
              <a:ext cx="1093780" cy="1031887"/>
              <a:chOff x="3816299" y="5517315"/>
              <a:chExt cx="501" cy="535"/>
            </a:xfrm>
            <a:solidFill>
              <a:schemeClr val="bg1">
                <a:lumMod val="95000"/>
              </a:schemeClr>
            </a:solidFill>
            <a:effectLst/>
          </p:grpSpPr>
          <p:sp>
            <p:nvSpPr>
              <p:cNvPr id="64" name="Freeform 536"/>
              <p:cNvSpPr>
                <a:spLocks noChangeAspect="1"/>
              </p:cNvSpPr>
              <p:nvPr/>
            </p:nvSpPr>
            <p:spPr bwMode="auto">
              <a:xfrm>
                <a:off x="3816585" y="5517458"/>
                <a:ext cx="26" cy="24"/>
              </a:xfrm>
              <a:custGeom>
                <a:avLst/>
                <a:gdLst>
                  <a:gd name="T0" fmla="*/ 38 w 38"/>
                  <a:gd name="T1" fmla="*/ 0 h 40"/>
                  <a:gd name="T2" fmla="*/ 14 w 38"/>
                  <a:gd name="T3" fmla="*/ 0 h 40"/>
                  <a:gd name="T4" fmla="*/ 2 w 38"/>
                  <a:gd name="T5" fmla="*/ 9 h 40"/>
                  <a:gd name="T6" fmla="*/ 0 w 38"/>
                  <a:gd name="T7" fmla="*/ 22 h 40"/>
                  <a:gd name="T8" fmla="*/ 0 w 38"/>
                  <a:gd name="T9" fmla="*/ 37 h 40"/>
                  <a:gd name="T10" fmla="*/ 11 w 38"/>
                  <a:gd name="T11" fmla="*/ 40 h 40"/>
                  <a:gd name="T12" fmla="*/ 33 w 38"/>
                  <a:gd name="T13" fmla="*/ 25 h 40"/>
                  <a:gd name="T14" fmla="*/ 38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8" y="0"/>
                    </a:moveTo>
                    <a:lnTo>
                      <a:pt x="14" y="0"/>
                    </a:lnTo>
                    <a:lnTo>
                      <a:pt x="2" y="9"/>
                    </a:lnTo>
                    <a:lnTo>
                      <a:pt x="0" y="22"/>
                    </a:lnTo>
                    <a:lnTo>
                      <a:pt x="0" y="37"/>
                    </a:lnTo>
                    <a:lnTo>
                      <a:pt x="11" y="40"/>
                    </a:lnTo>
                    <a:lnTo>
                      <a:pt x="33" y="25"/>
                    </a:lnTo>
                    <a:lnTo>
                      <a:pt x="3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5" name="Freeform 537"/>
              <p:cNvSpPr>
                <a:spLocks noChangeAspect="1"/>
              </p:cNvSpPr>
              <p:nvPr/>
            </p:nvSpPr>
            <p:spPr bwMode="auto">
              <a:xfrm>
                <a:off x="3816633" y="5517499"/>
                <a:ext cx="45" cy="33"/>
              </a:xfrm>
              <a:custGeom>
                <a:avLst/>
                <a:gdLst>
                  <a:gd name="T0" fmla="*/ 35 w 66"/>
                  <a:gd name="T1" fmla="*/ 0 h 52"/>
                  <a:gd name="T2" fmla="*/ 66 w 66"/>
                  <a:gd name="T3" fmla="*/ 37 h 52"/>
                  <a:gd name="T4" fmla="*/ 60 w 66"/>
                  <a:gd name="T5" fmla="*/ 47 h 52"/>
                  <a:gd name="T6" fmla="*/ 44 w 66"/>
                  <a:gd name="T7" fmla="*/ 52 h 52"/>
                  <a:gd name="T8" fmla="*/ 41 w 66"/>
                  <a:gd name="T9" fmla="*/ 40 h 52"/>
                  <a:gd name="T10" fmla="*/ 35 w 66"/>
                  <a:gd name="T11" fmla="*/ 34 h 52"/>
                  <a:gd name="T12" fmla="*/ 25 w 66"/>
                  <a:gd name="T13" fmla="*/ 40 h 52"/>
                  <a:gd name="T14" fmla="*/ 14 w 66"/>
                  <a:gd name="T15" fmla="*/ 31 h 52"/>
                  <a:gd name="T16" fmla="*/ 9 w 66"/>
                  <a:gd name="T17" fmla="*/ 24 h 52"/>
                  <a:gd name="T18" fmla="*/ 16 w 66"/>
                  <a:gd name="T19" fmla="*/ 18 h 52"/>
                  <a:gd name="T20" fmla="*/ 2 w 66"/>
                  <a:gd name="T21" fmla="*/ 27 h 52"/>
                  <a:gd name="T22" fmla="*/ 0 w 66"/>
                  <a:gd name="T23" fmla="*/ 18 h 52"/>
                  <a:gd name="T24" fmla="*/ 19 w 66"/>
                  <a:gd name="T25" fmla="*/ 10 h 52"/>
                  <a:gd name="T26" fmla="*/ 35 w 66"/>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52">
                    <a:moveTo>
                      <a:pt x="35" y="0"/>
                    </a:moveTo>
                    <a:lnTo>
                      <a:pt x="66" y="37"/>
                    </a:lnTo>
                    <a:lnTo>
                      <a:pt x="60" y="47"/>
                    </a:lnTo>
                    <a:lnTo>
                      <a:pt x="44" y="52"/>
                    </a:lnTo>
                    <a:lnTo>
                      <a:pt x="41" y="40"/>
                    </a:lnTo>
                    <a:lnTo>
                      <a:pt x="35" y="34"/>
                    </a:lnTo>
                    <a:lnTo>
                      <a:pt x="25" y="40"/>
                    </a:lnTo>
                    <a:lnTo>
                      <a:pt x="14" y="31"/>
                    </a:lnTo>
                    <a:lnTo>
                      <a:pt x="9" y="24"/>
                    </a:lnTo>
                    <a:lnTo>
                      <a:pt x="16" y="18"/>
                    </a:lnTo>
                    <a:lnTo>
                      <a:pt x="2" y="27"/>
                    </a:lnTo>
                    <a:lnTo>
                      <a:pt x="0" y="18"/>
                    </a:lnTo>
                    <a:lnTo>
                      <a:pt x="19" y="10"/>
                    </a:lnTo>
                    <a:lnTo>
                      <a:pt x="3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6" name="Freeform 538"/>
              <p:cNvSpPr>
                <a:spLocks noChangeAspect="1"/>
              </p:cNvSpPr>
              <p:nvPr/>
            </p:nvSpPr>
            <p:spPr bwMode="auto">
              <a:xfrm>
                <a:off x="3816309" y="5517596"/>
                <a:ext cx="21" cy="22"/>
              </a:xfrm>
              <a:custGeom>
                <a:avLst/>
                <a:gdLst>
                  <a:gd name="T0" fmla="*/ 22 w 30"/>
                  <a:gd name="T1" fmla="*/ 0 h 36"/>
                  <a:gd name="T2" fmla="*/ 30 w 30"/>
                  <a:gd name="T3" fmla="*/ 10 h 36"/>
                  <a:gd name="T4" fmla="*/ 27 w 30"/>
                  <a:gd name="T5" fmla="*/ 23 h 36"/>
                  <a:gd name="T6" fmla="*/ 30 w 30"/>
                  <a:gd name="T7" fmla="*/ 33 h 36"/>
                  <a:gd name="T8" fmla="*/ 22 w 30"/>
                  <a:gd name="T9" fmla="*/ 36 h 36"/>
                  <a:gd name="T10" fmla="*/ 8 w 30"/>
                  <a:gd name="T11" fmla="*/ 33 h 36"/>
                  <a:gd name="T12" fmla="*/ 0 w 30"/>
                  <a:gd name="T13" fmla="*/ 20 h 36"/>
                  <a:gd name="T14" fmla="*/ 22 w 3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6">
                    <a:moveTo>
                      <a:pt x="22" y="0"/>
                    </a:moveTo>
                    <a:lnTo>
                      <a:pt x="30" y="10"/>
                    </a:lnTo>
                    <a:lnTo>
                      <a:pt x="27" y="23"/>
                    </a:lnTo>
                    <a:lnTo>
                      <a:pt x="30" y="33"/>
                    </a:lnTo>
                    <a:lnTo>
                      <a:pt x="22" y="36"/>
                    </a:lnTo>
                    <a:lnTo>
                      <a:pt x="8" y="33"/>
                    </a:lnTo>
                    <a:lnTo>
                      <a:pt x="0" y="20"/>
                    </a:lnTo>
                    <a:lnTo>
                      <a:pt x="22"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7" name="Freeform 539"/>
              <p:cNvSpPr>
                <a:spLocks noChangeAspect="1"/>
              </p:cNvSpPr>
              <p:nvPr/>
            </p:nvSpPr>
            <p:spPr bwMode="auto">
              <a:xfrm>
                <a:off x="3816484" y="5517548"/>
                <a:ext cx="91" cy="76"/>
              </a:xfrm>
              <a:custGeom>
                <a:avLst/>
                <a:gdLst>
                  <a:gd name="T0" fmla="*/ 11 w 134"/>
                  <a:gd name="T1" fmla="*/ 0 h 124"/>
                  <a:gd name="T2" fmla="*/ 0 w 134"/>
                  <a:gd name="T3" fmla="*/ 10 h 124"/>
                  <a:gd name="T4" fmla="*/ 14 w 134"/>
                  <a:gd name="T5" fmla="*/ 37 h 124"/>
                  <a:gd name="T6" fmla="*/ 30 w 134"/>
                  <a:gd name="T7" fmla="*/ 43 h 124"/>
                  <a:gd name="T8" fmla="*/ 49 w 134"/>
                  <a:gd name="T9" fmla="*/ 65 h 124"/>
                  <a:gd name="T10" fmla="*/ 66 w 134"/>
                  <a:gd name="T11" fmla="*/ 77 h 124"/>
                  <a:gd name="T12" fmla="*/ 93 w 134"/>
                  <a:gd name="T13" fmla="*/ 100 h 124"/>
                  <a:gd name="T14" fmla="*/ 109 w 134"/>
                  <a:gd name="T15" fmla="*/ 108 h 124"/>
                  <a:gd name="T16" fmla="*/ 129 w 134"/>
                  <a:gd name="T17" fmla="*/ 124 h 124"/>
                  <a:gd name="T18" fmla="*/ 134 w 134"/>
                  <a:gd name="T19" fmla="*/ 115 h 124"/>
                  <a:gd name="T20" fmla="*/ 93 w 134"/>
                  <a:gd name="T21" fmla="*/ 80 h 124"/>
                  <a:gd name="T22" fmla="*/ 90 w 134"/>
                  <a:gd name="T23" fmla="*/ 63 h 124"/>
                  <a:gd name="T24" fmla="*/ 85 w 134"/>
                  <a:gd name="T25" fmla="*/ 47 h 124"/>
                  <a:gd name="T26" fmla="*/ 68 w 134"/>
                  <a:gd name="T27" fmla="*/ 28 h 124"/>
                  <a:gd name="T28" fmla="*/ 63 w 134"/>
                  <a:gd name="T29" fmla="*/ 31 h 124"/>
                  <a:gd name="T30" fmla="*/ 41 w 134"/>
                  <a:gd name="T31" fmla="*/ 13 h 124"/>
                  <a:gd name="T32" fmla="*/ 28 w 134"/>
                  <a:gd name="T33" fmla="*/ 6 h 124"/>
                  <a:gd name="T34" fmla="*/ 11 w 134"/>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24">
                    <a:moveTo>
                      <a:pt x="11" y="0"/>
                    </a:moveTo>
                    <a:lnTo>
                      <a:pt x="0" y="10"/>
                    </a:lnTo>
                    <a:lnTo>
                      <a:pt x="14" y="37"/>
                    </a:lnTo>
                    <a:lnTo>
                      <a:pt x="30" y="43"/>
                    </a:lnTo>
                    <a:lnTo>
                      <a:pt x="49" y="65"/>
                    </a:lnTo>
                    <a:lnTo>
                      <a:pt x="66" y="77"/>
                    </a:lnTo>
                    <a:lnTo>
                      <a:pt x="93" y="100"/>
                    </a:lnTo>
                    <a:lnTo>
                      <a:pt x="109" y="108"/>
                    </a:lnTo>
                    <a:lnTo>
                      <a:pt x="129" y="124"/>
                    </a:lnTo>
                    <a:lnTo>
                      <a:pt x="134" y="115"/>
                    </a:lnTo>
                    <a:lnTo>
                      <a:pt x="93" y="80"/>
                    </a:lnTo>
                    <a:lnTo>
                      <a:pt x="90" y="63"/>
                    </a:lnTo>
                    <a:lnTo>
                      <a:pt x="85" y="47"/>
                    </a:lnTo>
                    <a:lnTo>
                      <a:pt x="68" y="28"/>
                    </a:lnTo>
                    <a:lnTo>
                      <a:pt x="63" y="31"/>
                    </a:lnTo>
                    <a:lnTo>
                      <a:pt x="41" y="13"/>
                    </a:lnTo>
                    <a:lnTo>
                      <a:pt x="28" y="6"/>
                    </a:lnTo>
                    <a:lnTo>
                      <a:pt x="1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8" name="Freeform 540"/>
              <p:cNvSpPr>
                <a:spLocks noChangeAspect="1"/>
              </p:cNvSpPr>
              <p:nvPr/>
            </p:nvSpPr>
            <p:spPr bwMode="auto">
              <a:xfrm>
                <a:off x="3816760" y="5517688"/>
                <a:ext cx="36" cy="20"/>
              </a:xfrm>
              <a:custGeom>
                <a:avLst/>
                <a:gdLst>
                  <a:gd name="T0" fmla="*/ 52 w 52"/>
                  <a:gd name="T1" fmla="*/ 8 h 31"/>
                  <a:gd name="T2" fmla="*/ 28 w 52"/>
                  <a:gd name="T3" fmla="*/ 31 h 31"/>
                  <a:gd name="T4" fmla="*/ 12 w 52"/>
                  <a:gd name="T5" fmla="*/ 31 h 31"/>
                  <a:gd name="T6" fmla="*/ 0 w 52"/>
                  <a:gd name="T7" fmla="*/ 21 h 31"/>
                  <a:gd name="T8" fmla="*/ 8 w 52"/>
                  <a:gd name="T9" fmla="*/ 2 h 31"/>
                  <a:gd name="T10" fmla="*/ 33 w 52"/>
                  <a:gd name="T11" fmla="*/ 0 h 31"/>
                  <a:gd name="T12" fmla="*/ 52 w 52"/>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52" h="31">
                    <a:moveTo>
                      <a:pt x="52" y="8"/>
                    </a:moveTo>
                    <a:lnTo>
                      <a:pt x="28" y="31"/>
                    </a:lnTo>
                    <a:lnTo>
                      <a:pt x="12" y="31"/>
                    </a:lnTo>
                    <a:lnTo>
                      <a:pt x="0" y="21"/>
                    </a:lnTo>
                    <a:lnTo>
                      <a:pt x="8" y="2"/>
                    </a:lnTo>
                    <a:lnTo>
                      <a:pt x="33" y="0"/>
                    </a:lnTo>
                    <a:lnTo>
                      <a:pt x="52" y="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9" name="Freeform 541"/>
              <p:cNvSpPr>
                <a:spLocks noChangeAspect="1"/>
              </p:cNvSpPr>
              <p:nvPr/>
            </p:nvSpPr>
            <p:spPr bwMode="auto">
              <a:xfrm>
                <a:off x="3816767" y="5517732"/>
                <a:ext cx="33" cy="30"/>
              </a:xfrm>
              <a:custGeom>
                <a:avLst/>
                <a:gdLst>
                  <a:gd name="T0" fmla="*/ 53 w 53"/>
                  <a:gd name="T1" fmla="*/ 0 h 47"/>
                  <a:gd name="T2" fmla="*/ 53 w 53"/>
                  <a:gd name="T3" fmla="*/ 15 h 47"/>
                  <a:gd name="T4" fmla="*/ 20 w 53"/>
                  <a:gd name="T5" fmla="*/ 40 h 47"/>
                  <a:gd name="T6" fmla="*/ 6 w 53"/>
                  <a:gd name="T7" fmla="*/ 47 h 47"/>
                  <a:gd name="T8" fmla="*/ 0 w 53"/>
                  <a:gd name="T9" fmla="*/ 44 h 47"/>
                  <a:gd name="T10" fmla="*/ 5 w 53"/>
                  <a:gd name="T11" fmla="*/ 27 h 47"/>
                  <a:gd name="T12" fmla="*/ 28 w 53"/>
                  <a:gd name="T13" fmla="*/ 8 h 47"/>
                  <a:gd name="T14" fmla="*/ 53 w 53"/>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7">
                    <a:moveTo>
                      <a:pt x="53" y="0"/>
                    </a:moveTo>
                    <a:lnTo>
                      <a:pt x="53" y="15"/>
                    </a:lnTo>
                    <a:lnTo>
                      <a:pt x="20" y="40"/>
                    </a:lnTo>
                    <a:lnTo>
                      <a:pt x="6" y="47"/>
                    </a:lnTo>
                    <a:lnTo>
                      <a:pt x="0" y="44"/>
                    </a:lnTo>
                    <a:lnTo>
                      <a:pt x="5" y="27"/>
                    </a:lnTo>
                    <a:lnTo>
                      <a:pt x="28" y="8"/>
                    </a:lnTo>
                    <a:lnTo>
                      <a:pt x="5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0" name="Freeform 542"/>
              <p:cNvSpPr>
                <a:spLocks noChangeAspect="1"/>
              </p:cNvSpPr>
              <p:nvPr/>
            </p:nvSpPr>
            <p:spPr bwMode="auto">
              <a:xfrm>
                <a:off x="3816352" y="5517605"/>
                <a:ext cx="158" cy="142"/>
              </a:xfrm>
              <a:custGeom>
                <a:avLst/>
                <a:gdLst>
                  <a:gd name="T0" fmla="*/ 33 w 233"/>
                  <a:gd name="T1" fmla="*/ 10 h 231"/>
                  <a:gd name="T2" fmla="*/ 21 w 233"/>
                  <a:gd name="T3" fmla="*/ 16 h 231"/>
                  <a:gd name="T4" fmla="*/ 25 w 233"/>
                  <a:gd name="T5" fmla="*/ 29 h 231"/>
                  <a:gd name="T6" fmla="*/ 14 w 233"/>
                  <a:gd name="T7" fmla="*/ 45 h 231"/>
                  <a:gd name="T8" fmla="*/ 5 w 233"/>
                  <a:gd name="T9" fmla="*/ 43 h 231"/>
                  <a:gd name="T10" fmla="*/ 0 w 233"/>
                  <a:gd name="T11" fmla="*/ 50 h 231"/>
                  <a:gd name="T12" fmla="*/ 2 w 233"/>
                  <a:gd name="T13" fmla="*/ 66 h 231"/>
                  <a:gd name="T14" fmla="*/ 40 w 233"/>
                  <a:gd name="T15" fmla="*/ 82 h 231"/>
                  <a:gd name="T16" fmla="*/ 49 w 233"/>
                  <a:gd name="T17" fmla="*/ 117 h 231"/>
                  <a:gd name="T18" fmla="*/ 60 w 233"/>
                  <a:gd name="T19" fmla="*/ 161 h 231"/>
                  <a:gd name="T20" fmla="*/ 74 w 233"/>
                  <a:gd name="T21" fmla="*/ 185 h 231"/>
                  <a:gd name="T22" fmla="*/ 91 w 233"/>
                  <a:gd name="T23" fmla="*/ 170 h 231"/>
                  <a:gd name="T24" fmla="*/ 112 w 233"/>
                  <a:gd name="T25" fmla="*/ 201 h 231"/>
                  <a:gd name="T26" fmla="*/ 134 w 233"/>
                  <a:gd name="T27" fmla="*/ 231 h 231"/>
                  <a:gd name="T28" fmla="*/ 143 w 233"/>
                  <a:gd name="T29" fmla="*/ 208 h 231"/>
                  <a:gd name="T30" fmla="*/ 136 w 233"/>
                  <a:gd name="T31" fmla="*/ 192 h 231"/>
                  <a:gd name="T32" fmla="*/ 145 w 233"/>
                  <a:gd name="T33" fmla="*/ 185 h 231"/>
                  <a:gd name="T34" fmla="*/ 178 w 233"/>
                  <a:gd name="T35" fmla="*/ 214 h 231"/>
                  <a:gd name="T36" fmla="*/ 188 w 233"/>
                  <a:gd name="T37" fmla="*/ 205 h 231"/>
                  <a:gd name="T38" fmla="*/ 191 w 233"/>
                  <a:gd name="T39" fmla="*/ 195 h 231"/>
                  <a:gd name="T40" fmla="*/ 174 w 233"/>
                  <a:gd name="T41" fmla="*/ 158 h 231"/>
                  <a:gd name="T42" fmla="*/ 174 w 233"/>
                  <a:gd name="T43" fmla="*/ 151 h 231"/>
                  <a:gd name="T44" fmla="*/ 159 w 233"/>
                  <a:gd name="T45" fmla="*/ 121 h 231"/>
                  <a:gd name="T46" fmla="*/ 153 w 233"/>
                  <a:gd name="T47" fmla="*/ 100 h 231"/>
                  <a:gd name="T48" fmla="*/ 159 w 233"/>
                  <a:gd name="T49" fmla="*/ 99 h 231"/>
                  <a:gd name="T50" fmla="*/ 178 w 233"/>
                  <a:gd name="T51" fmla="*/ 103 h 231"/>
                  <a:gd name="T52" fmla="*/ 200 w 233"/>
                  <a:gd name="T53" fmla="*/ 124 h 231"/>
                  <a:gd name="T54" fmla="*/ 211 w 233"/>
                  <a:gd name="T55" fmla="*/ 109 h 231"/>
                  <a:gd name="T56" fmla="*/ 230 w 233"/>
                  <a:gd name="T57" fmla="*/ 111 h 231"/>
                  <a:gd name="T58" fmla="*/ 233 w 233"/>
                  <a:gd name="T59" fmla="*/ 106 h 231"/>
                  <a:gd name="T60" fmla="*/ 209 w 233"/>
                  <a:gd name="T61" fmla="*/ 72 h 231"/>
                  <a:gd name="T62" fmla="*/ 191 w 233"/>
                  <a:gd name="T63" fmla="*/ 74 h 231"/>
                  <a:gd name="T64" fmla="*/ 186 w 233"/>
                  <a:gd name="T65" fmla="*/ 63 h 231"/>
                  <a:gd name="T66" fmla="*/ 174 w 233"/>
                  <a:gd name="T67" fmla="*/ 37 h 231"/>
                  <a:gd name="T68" fmla="*/ 164 w 233"/>
                  <a:gd name="T69" fmla="*/ 47 h 231"/>
                  <a:gd name="T70" fmla="*/ 141 w 233"/>
                  <a:gd name="T71" fmla="*/ 37 h 231"/>
                  <a:gd name="T72" fmla="*/ 126 w 233"/>
                  <a:gd name="T73" fmla="*/ 10 h 231"/>
                  <a:gd name="T74" fmla="*/ 98 w 233"/>
                  <a:gd name="T75" fmla="*/ 13 h 231"/>
                  <a:gd name="T76" fmla="*/ 77 w 233"/>
                  <a:gd name="T77" fmla="*/ 16 h 231"/>
                  <a:gd name="T78" fmla="*/ 63 w 233"/>
                  <a:gd name="T79" fmla="*/ 0 h 231"/>
                  <a:gd name="T80" fmla="*/ 52 w 233"/>
                  <a:gd name="T81" fmla="*/ 9 h 231"/>
                  <a:gd name="T82" fmla="*/ 33 w 233"/>
                  <a:gd name="T83" fmla="*/ 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 h="231">
                    <a:moveTo>
                      <a:pt x="33" y="10"/>
                    </a:moveTo>
                    <a:lnTo>
                      <a:pt x="21" y="16"/>
                    </a:lnTo>
                    <a:lnTo>
                      <a:pt x="25" y="29"/>
                    </a:lnTo>
                    <a:lnTo>
                      <a:pt x="14" y="45"/>
                    </a:lnTo>
                    <a:lnTo>
                      <a:pt x="5" y="43"/>
                    </a:lnTo>
                    <a:lnTo>
                      <a:pt x="0" y="50"/>
                    </a:lnTo>
                    <a:lnTo>
                      <a:pt x="2" y="66"/>
                    </a:lnTo>
                    <a:lnTo>
                      <a:pt x="40" y="82"/>
                    </a:lnTo>
                    <a:lnTo>
                      <a:pt x="49" y="117"/>
                    </a:lnTo>
                    <a:lnTo>
                      <a:pt x="60" y="161"/>
                    </a:lnTo>
                    <a:lnTo>
                      <a:pt x="74" y="185"/>
                    </a:lnTo>
                    <a:lnTo>
                      <a:pt x="91" y="170"/>
                    </a:lnTo>
                    <a:lnTo>
                      <a:pt x="112" y="201"/>
                    </a:lnTo>
                    <a:lnTo>
                      <a:pt x="134" y="231"/>
                    </a:lnTo>
                    <a:lnTo>
                      <a:pt x="143" y="208"/>
                    </a:lnTo>
                    <a:lnTo>
                      <a:pt x="136" y="192"/>
                    </a:lnTo>
                    <a:lnTo>
                      <a:pt x="145" y="185"/>
                    </a:lnTo>
                    <a:lnTo>
                      <a:pt x="178" y="214"/>
                    </a:lnTo>
                    <a:lnTo>
                      <a:pt x="188" y="205"/>
                    </a:lnTo>
                    <a:lnTo>
                      <a:pt x="191" y="195"/>
                    </a:lnTo>
                    <a:lnTo>
                      <a:pt x="174" y="158"/>
                    </a:lnTo>
                    <a:lnTo>
                      <a:pt x="174" y="151"/>
                    </a:lnTo>
                    <a:lnTo>
                      <a:pt x="159" y="121"/>
                    </a:lnTo>
                    <a:lnTo>
                      <a:pt x="153" y="100"/>
                    </a:lnTo>
                    <a:lnTo>
                      <a:pt x="159" y="99"/>
                    </a:lnTo>
                    <a:lnTo>
                      <a:pt x="178" y="103"/>
                    </a:lnTo>
                    <a:lnTo>
                      <a:pt x="200" y="124"/>
                    </a:lnTo>
                    <a:lnTo>
                      <a:pt x="211" y="109"/>
                    </a:lnTo>
                    <a:lnTo>
                      <a:pt x="230" y="111"/>
                    </a:lnTo>
                    <a:lnTo>
                      <a:pt x="233" y="106"/>
                    </a:lnTo>
                    <a:lnTo>
                      <a:pt x="209" y="72"/>
                    </a:lnTo>
                    <a:lnTo>
                      <a:pt x="191" y="74"/>
                    </a:lnTo>
                    <a:lnTo>
                      <a:pt x="186" y="63"/>
                    </a:lnTo>
                    <a:lnTo>
                      <a:pt x="174" y="37"/>
                    </a:lnTo>
                    <a:lnTo>
                      <a:pt x="164" y="47"/>
                    </a:lnTo>
                    <a:lnTo>
                      <a:pt x="141" y="37"/>
                    </a:lnTo>
                    <a:lnTo>
                      <a:pt x="126" y="10"/>
                    </a:lnTo>
                    <a:lnTo>
                      <a:pt x="98" y="13"/>
                    </a:lnTo>
                    <a:lnTo>
                      <a:pt x="77" y="16"/>
                    </a:lnTo>
                    <a:lnTo>
                      <a:pt x="63" y="0"/>
                    </a:lnTo>
                    <a:lnTo>
                      <a:pt x="52" y="9"/>
                    </a:lnTo>
                    <a:lnTo>
                      <a:pt x="33" y="1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1" name="Freeform 543"/>
              <p:cNvSpPr>
                <a:spLocks noChangeAspect="1"/>
              </p:cNvSpPr>
              <p:nvPr/>
            </p:nvSpPr>
            <p:spPr bwMode="auto">
              <a:xfrm>
                <a:off x="3816299" y="5517315"/>
                <a:ext cx="370" cy="338"/>
              </a:xfrm>
              <a:custGeom>
                <a:avLst/>
                <a:gdLst>
                  <a:gd name="T0" fmla="*/ 99 w 543"/>
                  <a:gd name="T1" fmla="*/ 145 h 549"/>
                  <a:gd name="T2" fmla="*/ 70 w 543"/>
                  <a:gd name="T3" fmla="*/ 238 h 549"/>
                  <a:gd name="T4" fmla="*/ 56 w 543"/>
                  <a:gd name="T5" fmla="*/ 259 h 549"/>
                  <a:gd name="T6" fmla="*/ 30 w 543"/>
                  <a:gd name="T7" fmla="*/ 285 h 549"/>
                  <a:gd name="T8" fmla="*/ 0 w 543"/>
                  <a:gd name="T9" fmla="*/ 290 h 549"/>
                  <a:gd name="T10" fmla="*/ 39 w 543"/>
                  <a:gd name="T11" fmla="*/ 370 h 549"/>
                  <a:gd name="T12" fmla="*/ 72 w 543"/>
                  <a:gd name="T13" fmla="*/ 370 h 549"/>
                  <a:gd name="T14" fmla="*/ 61 w 543"/>
                  <a:gd name="T15" fmla="*/ 395 h 549"/>
                  <a:gd name="T16" fmla="*/ 72 w 543"/>
                  <a:gd name="T17" fmla="*/ 438 h 549"/>
                  <a:gd name="T18" fmla="*/ 96 w 543"/>
                  <a:gd name="T19" fmla="*/ 469 h 549"/>
                  <a:gd name="T20" fmla="*/ 115 w 543"/>
                  <a:gd name="T21" fmla="*/ 451 h 549"/>
                  <a:gd name="T22" fmla="*/ 136 w 543"/>
                  <a:gd name="T23" fmla="*/ 454 h 549"/>
                  <a:gd name="T24" fmla="*/ 201 w 543"/>
                  <a:gd name="T25" fmla="*/ 462 h 549"/>
                  <a:gd name="T26" fmla="*/ 241 w 543"/>
                  <a:gd name="T27" fmla="*/ 485 h 549"/>
                  <a:gd name="T28" fmla="*/ 262 w 543"/>
                  <a:gd name="T29" fmla="*/ 515 h 549"/>
                  <a:gd name="T30" fmla="*/ 290 w 543"/>
                  <a:gd name="T31" fmla="*/ 502 h 549"/>
                  <a:gd name="T32" fmla="*/ 342 w 543"/>
                  <a:gd name="T33" fmla="*/ 549 h 549"/>
                  <a:gd name="T34" fmla="*/ 351 w 543"/>
                  <a:gd name="T35" fmla="*/ 522 h 549"/>
                  <a:gd name="T36" fmla="*/ 350 w 543"/>
                  <a:gd name="T37" fmla="*/ 478 h 549"/>
                  <a:gd name="T38" fmla="*/ 328 w 543"/>
                  <a:gd name="T39" fmla="*/ 459 h 549"/>
                  <a:gd name="T40" fmla="*/ 272 w 543"/>
                  <a:gd name="T41" fmla="*/ 420 h 549"/>
                  <a:gd name="T42" fmla="*/ 239 w 543"/>
                  <a:gd name="T43" fmla="*/ 407 h 549"/>
                  <a:gd name="T44" fmla="*/ 227 w 543"/>
                  <a:gd name="T45" fmla="*/ 388 h 549"/>
                  <a:gd name="T46" fmla="*/ 246 w 543"/>
                  <a:gd name="T47" fmla="*/ 367 h 549"/>
                  <a:gd name="T48" fmla="*/ 232 w 543"/>
                  <a:gd name="T49" fmla="*/ 336 h 549"/>
                  <a:gd name="T50" fmla="*/ 256 w 543"/>
                  <a:gd name="T51" fmla="*/ 349 h 549"/>
                  <a:gd name="T52" fmla="*/ 272 w 543"/>
                  <a:gd name="T53" fmla="*/ 339 h 549"/>
                  <a:gd name="T54" fmla="*/ 241 w 543"/>
                  <a:gd name="T55" fmla="*/ 287 h 549"/>
                  <a:gd name="T56" fmla="*/ 215 w 543"/>
                  <a:gd name="T57" fmla="*/ 228 h 549"/>
                  <a:gd name="T58" fmla="*/ 209 w 543"/>
                  <a:gd name="T59" fmla="*/ 191 h 549"/>
                  <a:gd name="T60" fmla="*/ 223 w 543"/>
                  <a:gd name="T61" fmla="*/ 166 h 549"/>
                  <a:gd name="T62" fmla="*/ 234 w 543"/>
                  <a:gd name="T63" fmla="*/ 198 h 549"/>
                  <a:gd name="T64" fmla="*/ 241 w 543"/>
                  <a:gd name="T65" fmla="*/ 209 h 549"/>
                  <a:gd name="T66" fmla="*/ 288 w 543"/>
                  <a:gd name="T67" fmla="*/ 250 h 549"/>
                  <a:gd name="T68" fmla="*/ 293 w 543"/>
                  <a:gd name="T69" fmla="*/ 222 h 549"/>
                  <a:gd name="T70" fmla="*/ 326 w 543"/>
                  <a:gd name="T71" fmla="*/ 250 h 549"/>
                  <a:gd name="T72" fmla="*/ 312 w 543"/>
                  <a:gd name="T73" fmla="*/ 216 h 549"/>
                  <a:gd name="T74" fmla="*/ 326 w 543"/>
                  <a:gd name="T75" fmla="*/ 201 h 549"/>
                  <a:gd name="T76" fmla="*/ 364 w 543"/>
                  <a:gd name="T77" fmla="*/ 211 h 549"/>
                  <a:gd name="T78" fmla="*/ 347 w 543"/>
                  <a:gd name="T79" fmla="*/ 185 h 549"/>
                  <a:gd name="T80" fmla="*/ 312 w 543"/>
                  <a:gd name="T81" fmla="*/ 161 h 549"/>
                  <a:gd name="T82" fmla="*/ 314 w 543"/>
                  <a:gd name="T83" fmla="*/ 139 h 549"/>
                  <a:gd name="T84" fmla="*/ 377 w 543"/>
                  <a:gd name="T85" fmla="*/ 124 h 549"/>
                  <a:gd name="T86" fmla="*/ 442 w 543"/>
                  <a:gd name="T87" fmla="*/ 117 h 549"/>
                  <a:gd name="T88" fmla="*/ 478 w 543"/>
                  <a:gd name="T89" fmla="*/ 124 h 549"/>
                  <a:gd name="T90" fmla="*/ 513 w 543"/>
                  <a:gd name="T91" fmla="*/ 108 h 549"/>
                  <a:gd name="T92" fmla="*/ 541 w 543"/>
                  <a:gd name="T93" fmla="*/ 68 h 549"/>
                  <a:gd name="T94" fmla="*/ 541 w 543"/>
                  <a:gd name="T95" fmla="*/ 9 h 549"/>
                  <a:gd name="T96" fmla="*/ 516 w 543"/>
                  <a:gd name="T97" fmla="*/ 0 h 549"/>
                  <a:gd name="T98" fmla="*/ 508 w 543"/>
                  <a:gd name="T99" fmla="*/ 28 h 549"/>
                  <a:gd name="T100" fmla="*/ 491 w 543"/>
                  <a:gd name="T101" fmla="*/ 50 h 549"/>
                  <a:gd name="T102" fmla="*/ 469 w 543"/>
                  <a:gd name="T103" fmla="*/ 64 h 549"/>
                  <a:gd name="T104" fmla="*/ 427 w 543"/>
                  <a:gd name="T105" fmla="*/ 47 h 549"/>
                  <a:gd name="T106" fmla="*/ 386 w 543"/>
                  <a:gd name="T107" fmla="*/ 28 h 549"/>
                  <a:gd name="T108" fmla="*/ 342 w 543"/>
                  <a:gd name="T109" fmla="*/ 64 h 549"/>
                  <a:gd name="T110" fmla="*/ 293 w 543"/>
                  <a:gd name="T111" fmla="*/ 80 h 549"/>
                  <a:gd name="T112" fmla="*/ 256 w 543"/>
                  <a:gd name="T113" fmla="*/ 87 h 549"/>
                  <a:gd name="T114" fmla="*/ 232 w 543"/>
                  <a:gd name="T115" fmla="*/ 111 h 549"/>
                  <a:gd name="T116" fmla="*/ 194 w 543"/>
                  <a:gd name="T117" fmla="*/ 117 h 549"/>
                  <a:gd name="T118" fmla="*/ 160 w 543"/>
                  <a:gd name="T119" fmla="*/ 138 h 549"/>
                  <a:gd name="T120" fmla="*/ 124 w 543"/>
                  <a:gd name="T121" fmla="*/ 1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3" h="549">
                    <a:moveTo>
                      <a:pt x="110" y="135"/>
                    </a:moveTo>
                    <a:lnTo>
                      <a:pt x="99" y="145"/>
                    </a:lnTo>
                    <a:lnTo>
                      <a:pt x="86" y="192"/>
                    </a:lnTo>
                    <a:lnTo>
                      <a:pt x="70" y="238"/>
                    </a:lnTo>
                    <a:lnTo>
                      <a:pt x="63" y="243"/>
                    </a:lnTo>
                    <a:lnTo>
                      <a:pt x="56" y="259"/>
                    </a:lnTo>
                    <a:lnTo>
                      <a:pt x="47" y="275"/>
                    </a:lnTo>
                    <a:lnTo>
                      <a:pt x="30" y="285"/>
                    </a:lnTo>
                    <a:lnTo>
                      <a:pt x="17" y="290"/>
                    </a:lnTo>
                    <a:lnTo>
                      <a:pt x="0" y="290"/>
                    </a:lnTo>
                    <a:lnTo>
                      <a:pt x="22" y="343"/>
                    </a:lnTo>
                    <a:lnTo>
                      <a:pt x="39" y="370"/>
                    </a:lnTo>
                    <a:lnTo>
                      <a:pt x="56" y="370"/>
                    </a:lnTo>
                    <a:lnTo>
                      <a:pt x="72" y="370"/>
                    </a:lnTo>
                    <a:lnTo>
                      <a:pt x="77" y="383"/>
                    </a:lnTo>
                    <a:lnTo>
                      <a:pt x="61" y="395"/>
                    </a:lnTo>
                    <a:lnTo>
                      <a:pt x="61" y="413"/>
                    </a:lnTo>
                    <a:lnTo>
                      <a:pt x="72" y="438"/>
                    </a:lnTo>
                    <a:lnTo>
                      <a:pt x="86" y="459"/>
                    </a:lnTo>
                    <a:lnTo>
                      <a:pt x="96" y="469"/>
                    </a:lnTo>
                    <a:lnTo>
                      <a:pt x="101" y="454"/>
                    </a:lnTo>
                    <a:lnTo>
                      <a:pt x="115" y="451"/>
                    </a:lnTo>
                    <a:lnTo>
                      <a:pt x="132" y="467"/>
                    </a:lnTo>
                    <a:lnTo>
                      <a:pt x="136" y="454"/>
                    </a:lnTo>
                    <a:lnTo>
                      <a:pt x="162" y="457"/>
                    </a:lnTo>
                    <a:lnTo>
                      <a:pt x="201" y="462"/>
                    </a:lnTo>
                    <a:lnTo>
                      <a:pt x="229" y="472"/>
                    </a:lnTo>
                    <a:lnTo>
                      <a:pt x="241" y="485"/>
                    </a:lnTo>
                    <a:lnTo>
                      <a:pt x="253" y="504"/>
                    </a:lnTo>
                    <a:lnTo>
                      <a:pt x="262" y="515"/>
                    </a:lnTo>
                    <a:lnTo>
                      <a:pt x="274" y="504"/>
                    </a:lnTo>
                    <a:lnTo>
                      <a:pt x="290" y="502"/>
                    </a:lnTo>
                    <a:lnTo>
                      <a:pt x="314" y="521"/>
                    </a:lnTo>
                    <a:lnTo>
                      <a:pt x="342" y="549"/>
                    </a:lnTo>
                    <a:lnTo>
                      <a:pt x="350" y="543"/>
                    </a:lnTo>
                    <a:lnTo>
                      <a:pt x="351" y="522"/>
                    </a:lnTo>
                    <a:lnTo>
                      <a:pt x="351" y="499"/>
                    </a:lnTo>
                    <a:lnTo>
                      <a:pt x="350" y="478"/>
                    </a:lnTo>
                    <a:lnTo>
                      <a:pt x="337" y="454"/>
                    </a:lnTo>
                    <a:lnTo>
                      <a:pt x="328" y="459"/>
                    </a:lnTo>
                    <a:lnTo>
                      <a:pt x="307" y="448"/>
                    </a:lnTo>
                    <a:lnTo>
                      <a:pt x="272" y="420"/>
                    </a:lnTo>
                    <a:lnTo>
                      <a:pt x="262" y="410"/>
                    </a:lnTo>
                    <a:lnTo>
                      <a:pt x="239" y="407"/>
                    </a:lnTo>
                    <a:lnTo>
                      <a:pt x="227" y="398"/>
                    </a:lnTo>
                    <a:lnTo>
                      <a:pt x="227" y="388"/>
                    </a:lnTo>
                    <a:lnTo>
                      <a:pt x="241" y="373"/>
                    </a:lnTo>
                    <a:lnTo>
                      <a:pt x="246" y="367"/>
                    </a:lnTo>
                    <a:lnTo>
                      <a:pt x="237" y="354"/>
                    </a:lnTo>
                    <a:lnTo>
                      <a:pt x="232" y="336"/>
                    </a:lnTo>
                    <a:lnTo>
                      <a:pt x="237" y="327"/>
                    </a:lnTo>
                    <a:lnTo>
                      <a:pt x="256" y="349"/>
                    </a:lnTo>
                    <a:lnTo>
                      <a:pt x="272" y="357"/>
                    </a:lnTo>
                    <a:lnTo>
                      <a:pt x="272" y="339"/>
                    </a:lnTo>
                    <a:lnTo>
                      <a:pt x="262" y="317"/>
                    </a:lnTo>
                    <a:lnTo>
                      <a:pt x="241" y="287"/>
                    </a:lnTo>
                    <a:lnTo>
                      <a:pt x="218" y="248"/>
                    </a:lnTo>
                    <a:lnTo>
                      <a:pt x="215" y="228"/>
                    </a:lnTo>
                    <a:lnTo>
                      <a:pt x="213" y="209"/>
                    </a:lnTo>
                    <a:lnTo>
                      <a:pt x="209" y="191"/>
                    </a:lnTo>
                    <a:lnTo>
                      <a:pt x="206" y="172"/>
                    </a:lnTo>
                    <a:lnTo>
                      <a:pt x="223" y="166"/>
                    </a:lnTo>
                    <a:lnTo>
                      <a:pt x="220" y="179"/>
                    </a:lnTo>
                    <a:lnTo>
                      <a:pt x="234" y="198"/>
                    </a:lnTo>
                    <a:lnTo>
                      <a:pt x="243" y="198"/>
                    </a:lnTo>
                    <a:lnTo>
                      <a:pt x="241" y="209"/>
                    </a:lnTo>
                    <a:lnTo>
                      <a:pt x="286" y="259"/>
                    </a:lnTo>
                    <a:lnTo>
                      <a:pt x="288" y="250"/>
                    </a:lnTo>
                    <a:lnTo>
                      <a:pt x="279" y="228"/>
                    </a:lnTo>
                    <a:lnTo>
                      <a:pt x="293" y="222"/>
                    </a:lnTo>
                    <a:lnTo>
                      <a:pt x="314" y="232"/>
                    </a:lnTo>
                    <a:lnTo>
                      <a:pt x="326" y="250"/>
                    </a:lnTo>
                    <a:lnTo>
                      <a:pt x="328" y="238"/>
                    </a:lnTo>
                    <a:lnTo>
                      <a:pt x="312" y="216"/>
                    </a:lnTo>
                    <a:lnTo>
                      <a:pt x="314" y="206"/>
                    </a:lnTo>
                    <a:lnTo>
                      <a:pt x="326" y="201"/>
                    </a:lnTo>
                    <a:lnTo>
                      <a:pt x="356" y="216"/>
                    </a:lnTo>
                    <a:lnTo>
                      <a:pt x="364" y="211"/>
                    </a:lnTo>
                    <a:lnTo>
                      <a:pt x="361" y="195"/>
                    </a:lnTo>
                    <a:lnTo>
                      <a:pt x="347" y="185"/>
                    </a:lnTo>
                    <a:lnTo>
                      <a:pt x="326" y="174"/>
                    </a:lnTo>
                    <a:lnTo>
                      <a:pt x="312" y="161"/>
                    </a:lnTo>
                    <a:lnTo>
                      <a:pt x="309" y="151"/>
                    </a:lnTo>
                    <a:lnTo>
                      <a:pt x="314" y="139"/>
                    </a:lnTo>
                    <a:lnTo>
                      <a:pt x="345" y="135"/>
                    </a:lnTo>
                    <a:lnTo>
                      <a:pt x="377" y="124"/>
                    </a:lnTo>
                    <a:lnTo>
                      <a:pt x="400" y="127"/>
                    </a:lnTo>
                    <a:lnTo>
                      <a:pt x="442" y="117"/>
                    </a:lnTo>
                    <a:lnTo>
                      <a:pt x="450" y="111"/>
                    </a:lnTo>
                    <a:lnTo>
                      <a:pt x="478" y="124"/>
                    </a:lnTo>
                    <a:lnTo>
                      <a:pt x="502" y="138"/>
                    </a:lnTo>
                    <a:lnTo>
                      <a:pt x="513" y="108"/>
                    </a:lnTo>
                    <a:lnTo>
                      <a:pt x="534" y="77"/>
                    </a:lnTo>
                    <a:lnTo>
                      <a:pt x="541" y="68"/>
                    </a:lnTo>
                    <a:lnTo>
                      <a:pt x="543" y="13"/>
                    </a:lnTo>
                    <a:lnTo>
                      <a:pt x="541" y="9"/>
                    </a:lnTo>
                    <a:lnTo>
                      <a:pt x="529" y="0"/>
                    </a:lnTo>
                    <a:lnTo>
                      <a:pt x="516" y="0"/>
                    </a:lnTo>
                    <a:lnTo>
                      <a:pt x="508" y="9"/>
                    </a:lnTo>
                    <a:lnTo>
                      <a:pt x="508" y="28"/>
                    </a:lnTo>
                    <a:lnTo>
                      <a:pt x="510" y="46"/>
                    </a:lnTo>
                    <a:lnTo>
                      <a:pt x="491" y="50"/>
                    </a:lnTo>
                    <a:lnTo>
                      <a:pt x="478" y="61"/>
                    </a:lnTo>
                    <a:lnTo>
                      <a:pt x="469" y="64"/>
                    </a:lnTo>
                    <a:lnTo>
                      <a:pt x="438" y="56"/>
                    </a:lnTo>
                    <a:lnTo>
                      <a:pt x="427" y="47"/>
                    </a:lnTo>
                    <a:lnTo>
                      <a:pt x="410" y="58"/>
                    </a:lnTo>
                    <a:lnTo>
                      <a:pt x="386" y="28"/>
                    </a:lnTo>
                    <a:lnTo>
                      <a:pt x="361" y="50"/>
                    </a:lnTo>
                    <a:lnTo>
                      <a:pt x="342" y="64"/>
                    </a:lnTo>
                    <a:lnTo>
                      <a:pt x="323" y="74"/>
                    </a:lnTo>
                    <a:lnTo>
                      <a:pt x="293" y="80"/>
                    </a:lnTo>
                    <a:lnTo>
                      <a:pt x="272" y="87"/>
                    </a:lnTo>
                    <a:lnTo>
                      <a:pt x="256" y="87"/>
                    </a:lnTo>
                    <a:lnTo>
                      <a:pt x="248" y="90"/>
                    </a:lnTo>
                    <a:lnTo>
                      <a:pt x="232" y="111"/>
                    </a:lnTo>
                    <a:lnTo>
                      <a:pt x="218" y="111"/>
                    </a:lnTo>
                    <a:lnTo>
                      <a:pt x="194" y="117"/>
                    </a:lnTo>
                    <a:lnTo>
                      <a:pt x="171" y="114"/>
                    </a:lnTo>
                    <a:lnTo>
                      <a:pt x="160" y="138"/>
                    </a:lnTo>
                    <a:lnTo>
                      <a:pt x="141" y="139"/>
                    </a:lnTo>
                    <a:lnTo>
                      <a:pt x="124" y="138"/>
                    </a:lnTo>
                    <a:lnTo>
                      <a:pt x="110" y="135"/>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2" name="Freeform 544"/>
              <p:cNvSpPr>
                <a:spLocks noChangeAspect="1"/>
              </p:cNvSpPr>
              <p:nvPr/>
            </p:nvSpPr>
            <p:spPr bwMode="auto">
              <a:xfrm>
                <a:off x="3816513" y="5517804"/>
                <a:ext cx="170" cy="46"/>
              </a:xfrm>
              <a:custGeom>
                <a:avLst/>
                <a:gdLst>
                  <a:gd name="T0" fmla="*/ 52 w 253"/>
                  <a:gd name="T1" fmla="*/ 16 h 77"/>
                  <a:gd name="T2" fmla="*/ 71 w 253"/>
                  <a:gd name="T3" fmla="*/ 6 h 77"/>
                  <a:gd name="T4" fmla="*/ 80 w 253"/>
                  <a:gd name="T5" fmla="*/ 16 h 77"/>
                  <a:gd name="T6" fmla="*/ 88 w 253"/>
                  <a:gd name="T7" fmla="*/ 18 h 77"/>
                  <a:gd name="T8" fmla="*/ 101 w 253"/>
                  <a:gd name="T9" fmla="*/ 10 h 77"/>
                  <a:gd name="T10" fmla="*/ 110 w 253"/>
                  <a:gd name="T11" fmla="*/ 6 h 77"/>
                  <a:gd name="T12" fmla="*/ 151 w 253"/>
                  <a:gd name="T13" fmla="*/ 10 h 77"/>
                  <a:gd name="T14" fmla="*/ 190 w 253"/>
                  <a:gd name="T15" fmla="*/ 8 h 77"/>
                  <a:gd name="T16" fmla="*/ 202 w 253"/>
                  <a:gd name="T17" fmla="*/ 21 h 77"/>
                  <a:gd name="T18" fmla="*/ 202 w 253"/>
                  <a:gd name="T19" fmla="*/ 28 h 77"/>
                  <a:gd name="T20" fmla="*/ 229 w 253"/>
                  <a:gd name="T21" fmla="*/ 24 h 77"/>
                  <a:gd name="T22" fmla="*/ 245 w 253"/>
                  <a:gd name="T23" fmla="*/ 27 h 77"/>
                  <a:gd name="T24" fmla="*/ 253 w 253"/>
                  <a:gd name="T25" fmla="*/ 37 h 77"/>
                  <a:gd name="T26" fmla="*/ 245 w 253"/>
                  <a:gd name="T27" fmla="*/ 50 h 77"/>
                  <a:gd name="T28" fmla="*/ 220 w 253"/>
                  <a:gd name="T29" fmla="*/ 48 h 77"/>
                  <a:gd name="T30" fmla="*/ 204 w 253"/>
                  <a:gd name="T31" fmla="*/ 58 h 77"/>
                  <a:gd name="T32" fmla="*/ 176 w 253"/>
                  <a:gd name="T33" fmla="*/ 58 h 77"/>
                  <a:gd name="T34" fmla="*/ 148 w 253"/>
                  <a:gd name="T35" fmla="*/ 71 h 77"/>
                  <a:gd name="T36" fmla="*/ 124 w 253"/>
                  <a:gd name="T37" fmla="*/ 77 h 77"/>
                  <a:gd name="T38" fmla="*/ 105 w 253"/>
                  <a:gd name="T39" fmla="*/ 64 h 77"/>
                  <a:gd name="T40" fmla="*/ 80 w 253"/>
                  <a:gd name="T41" fmla="*/ 48 h 77"/>
                  <a:gd name="T42" fmla="*/ 55 w 253"/>
                  <a:gd name="T43" fmla="*/ 48 h 77"/>
                  <a:gd name="T44" fmla="*/ 22 w 253"/>
                  <a:gd name="T45" fmla="*/ 40 h 77"/>
                  <a:gd name="T46" fmla="*/ 9 w 253"/>
                  <a:gd name="T47" fmla="*/ 28 h 77"/>
                  <a:gd name="T48" fmla="*/ 0 w 253"/>
                  <a:gd name="T49" fmla="*/ 8 h 77"/>
                  <a:gd name="T50" fmla="*/ 5 w 253"/>
                  <a:gd name="T51" fmla="*/ 0 h 77"/>
                  <a:gd name="T52" fmla="*/ 33 w 253"/>
                  <a:gd name="T53" fmla="*/ 6 h 77"/>
                  <a:gd name="T54" fmla="*/ 52 w 253"/>
                  <a:gd name="T5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77">
                    <a:moveTo>
                      <a:pt x="52" y="16"/>
                    </a:moveTo>
                    <a:lnTo>
                      <a:pt x="71" y="6"/>
                    </a:lnTo>
                    <a:lnTo>
                      <a:pt x="80" y="16"/>
                    </a:lnTo>
                    <a:lnTo>
                      <a:pt x="88" y="18"/>
                    </a:lnTo>
                    <a:lnTo>
                      <a:pt x="101" y="10"/>
                    </a:lnTo>
                    <a:lnTo>
                      <a:pt x="110" y="6"/>
                    </a:lnTo>
                    <a:lnTo>
                      <a:pt x="151" y="10"/>
                    </a:lnTo>
                    <a:lnTo>
                      <a:pt x="190" y="8"/>
                    </a:lnTo>
                    <a:lnTo>
                      <a:pt x="202" y="21"/>
                    </a:lnTo>
                    <a:lnTo>
                      <a:pt x="202" y="28"/>
                    </a:lnTo>
                    <a:lnTo>
                      <a:pt x="229" y="24"/>
                    </a:lnTo>
                    <a:lnTo>
                      <a:pt x="245" y="27"/>
                    </a:lnTo>
                    <a:lnTo>
                      <a:pt x="253" y="37"/>
                    </a:lnTo>
                    <a:lnTo>
                      <a:pt x="245" y="50"/>
                    </a:lnTo>
                    <a:lnTo>
                      <a:pt x="220" y="48"/>
                    </a:lnTo>
                    <a:lnTo>
                      <a:pt x="204" y="58"/>
                    </a:lnTo>
                    <a:lnTo>
                      <a:pt x="176" y="58"/>
                    </a:lnTo>
                    <a:lnTo>
                      <a:pt x="148" y="71"/>
                    </a:lnTo>
                    <a:lnTo>
                      <a:pt x="124" y="77"/>
                    </a:lnTo>
                    <a:lnTo>
                      <a:pt x="105" y="64"/>
                    </a:lnTo>
                    <a:lnTo>
                      <a:pt x="80" y="48"/>
                    </a:lnTo>
                    <a:lnTo>
                      <a:pt x="55" y="48"/>
                    </a:lnTo>
                    <a:lnTo>
                      <a:pt x="22" y="40"/>
                    </a:lnTo>
                    <a:lnTo>
                      <a:pt x="9" y="28"/>
                    </a:lnTo>
                    <a:lnTo>
                      <a:pt x="0" y="8"/>
                    </a:lnTo>
                    <a:lnTo>
                      <a:pt x="5" y="0"/>
                    </a:lnTo>
                    <a:lnTo>
                      <a:pt x="33" y="6"/>
                    </a:lnTo>
                    <a:lnTo>
                      <a:pt x="52" y="16"/>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4" name="HU"/>
            <p:cNvSpPr>
              <a:spLocks noChangeAspect="1"/>
            </p:cNvSpPr>
            <p:nvPr/>
          </p:nvSpPr>
          <p:spPr bwMode="auto">
            <a:xfrm>
              <a:off x="6411913" y="4203700"/>
              <a:ext cx="782637" cy="431800"/>
            </a:xfrm>
            <a:custGeom>
              <a:avLst/>
              <a:gdLst>
                <a:gd name="T0" fmla="*/ 3 w 532"/>
                <a:gd name="T1" fmla="*/ 229 h 361"/>
                <a:gd name="T2" fmla="*/ 19 w 532"/>
                <a:gd name="T3" fmla="*/ 245 h 361"/>
                <a:gd name="T4" fmla="*/ 17 w 532"/>
                <a:gd name="T5" fmla="*/ 253 h 361"/>
                <a:gd name="T6" fmla="*/ 22 w 532"/>
                <a:gd name="T7" fmla="*/ 269 h 361"/>
                <a:gd name="T8" fmla="*/ 36 w 532"/>
                <a:gd name="T9" fmla="*/ 269 h 361"/>
                <a:gd name="T10" fmla="*/ 89 w 532"/>
                <a:gd name="T11" fmla="*/ 327 h 361"/>
                <a:gd name="T12" fmla="*/ 105 w 532"/>
                <a:gd name="T13" fmla="*/ 330 h 361"/>
                <a:gd name="T14" fmla="*/ 148 w 532"/>
                <a:gd name="T15" fmla="*/ 361 h 361"/>
                <a:gd name="T16" fmla="*/ 169 w 532"/>
                <a:gd name="T17" fmla="*/ 343 h 361"/>
                <a:gd name="T18" fmla="*/ 199 w 532"/>
                <a:gd name="T19" fmla="*/ 346 h 361"/>
                <a:gd name="T20" fmla="*/ 209 w 532"/>
                <a:gd name="T21" fmla="*/ 353 h 361"/>
                <a:gd name="T22" fmla="*/ 232 w 532"/>
                <a:gd name="T23" fmla="*/ 343 h 361"/>
                <a:gd name="T24" fmla="*/ 279 w 532"/>
                <a:gd name="T25" fmla="*/ 321 h 361"/>
                <a:gd name="T26" fmla="*/ 333 w 532"/>
                <a:gd name="T27" fmla="*/ 311 h 361"/>
                <a:gd name="T28" fmla="*/ 356 w 532"/>
                <a:gd name="T29" fmla="*/ 316 h 361"/>
                <a:gd name="T30" fmla="*/ 364 w 532"/>
                <a:gd name="T31" fmla="*/ 330 h 361"/>
                <a:gd name="T32" fmla="*/ 383 w 532"/>
                <a:gd name="T33" fmla="*/ 306 h 361"/>
                <a:gd name="T34" fmla="*/ 408 w 532"/>
                <a:gd name="T35" fmla="*/ 296 h 361"/>
                <a:gd name="T36" fmla="*/ 432 w 532"/>
                <a:gd name="T37" fmla="*/ 292 h 361"/>
                <a:gd name="T38" fmla="*/ 474 w 532"/>
                <a:gd name="T39" fmla="*/ 245 h 361"/>
                <a:gd name="T40" fmla="*/ 485 w 532"/>
                <a:gd name="T41" fmla="*/ 216 h 361"/>
                <a:gd name="T42" fmla="*/ 490 w 532"/>
                <a:gd name="T43" fmla="*/ 161 h 361"/>
                <a:gd name="T44" fmla="*/ 495 w 532"/>
                <a:gd name="T45" fmla="*/ 115 h 361"/>
                <a:gd name="T46" fmla="*/ 512 w 532"/>
                <a:gd name="T47" fmla="*/ 114 h 361"/>
                <a:gd name="T48" fmla="*/ 525 w 532"/>
                <a:gd name="T49" fmla="*/ 97 h 361"/>
                <a:gd name="T50" fmla="*/ 532 w 532"/>
                <a:gd name="T51" fmla="*/ 84 h 361"/>
                <a:gd name="T52" fmla="*/ 516 w 532"/>
                <a:gd name="T53" fmla="*/ 71 h 361"/>
                <a:gd name="T54" fmla="*/ 507 w 532"/>
                <a:gd name="T55" fmla="*/ 77 h 361"/>
                <a:gd name="T56" fmla="*/ 483 w 532"/>
                <a:gd name="T57" fmla="*/ 71 h 361"/>
                <a:gd name="T58" fmla="*/ 469 w 532"/>
                <a:gd name="T59" fmla="*/ 50 h 361"/>
                <a:gd name="T60" fmla="*/ 455 w 532"/>
                <a:gd name="T61" fmla="*/ 21 h 361"/>
                <a:gd name="T62" fmla="*/ 439 w 532"/>
                <a:gd name="T63" fmla="*/ 21 h 361"/>
                <a:gd name="T64" fmla="*/ 413 w 532"/>
                <a:gd name="T65" fmla="*/ 0 h 361"/>
                <a:gd name="T66" fmla="*/ 399 w 532"/>
                <a:gd name="T67" fmla="*/ 3 h 361"/>
                <a:gd name="T68" fmla="*/ 347 w 532"/>
                <a:gd name="T69" fmla="*/ 10 h 361"/>
                <a:gd name="T70" fmla="*/ 337 w 532"/>
                <a:gd name="T71" fmla="*/ 27 h 361"/>
                <a:gd name="T72" fmla="*/ 323 w 532"/>
                <a:gd name="T73" fmla="*/ 47 h 361"/>
                <a:gd name="T74" fmla="*/ 304 w 532"/>
                <a:gd name="T75" fmla="*/ 58 h 361"/>
                <a:gd name="T76" fmla="*/ 287 w 532"/>
                <a:gd name="T77" fmla="*/ 63 h 361"/>
                <a:gd name="T78" fmla="*/ 274 w 532"/>
                <a:gd name="T79" fmla="*/ 58 h 361"/>
                <a:gd name="T80" fmla="*/ 262 w 532"/>
                <a:gd name="T81" fmla="*/ 50 h 361"/>
                <a:gd name="T82" fmla="*/ 254 w 532"/>
                <a:gd name="T83" fmla="*/ 47 h 361"/>
                <a:gd name="T84" fmla="*/ 237 w 532"/>
                <a:gd name="T85" fmla="*/ 55 h 361"/>
                <a:gd name="T86" fmla="*/ 216 w 532"/>
                <a:gd name="T87" fmla="*/ 68 h 361"/>
                <a:gd name="T88" fmla="*/ 171 w 532"/>
                <a:gd name="T89" fmla="*/ 90 h 361"/>
                <a:gd name="T90" fmla="*/ 152 w 532"/>
                <a:gd name="T91" fmla="*/ 92 h 361"/>
                <a:gd name="T92" fmla="*/ 105 w 532"/>
                <a:gd name="T93" fmla="*/ 90 h 361"/>
                <a:gd name="T94" fmla="*/ 99 w 532"/>
                <a:gd name="T95" fmla="*/ 87 h 361"/>
                <a:gd name="T96" fmla="*/ 86 w 532"/>
                <a:gd name="T97" fmla="*/ 65 h 361"/>
                <a:gd name="T98" fmla="*/ 71 w 532"/>
                <a:gd name="T99" fmla="*/ 55 h 361"/>
                <a:gd name="T100" fmla="*/ 66 w 532"/>
                <a:gd name="T101" fmla="*/ 63 h 361"/>
                <a:gd name="T102" fmla="*/ 64 w 532"/>
                <a:gd name="T103" fmla="*/ 84 h 361"/>
                <a:gd name="T104" fmla="*/ 55 w 532"/>
                <a:gd name="T105" fmla="*/ 105 h 361"/>
                <a:gd name="T106" fmla="*/ 38 w 532"/>
                <a:gd name="T107" fmla="*/ 105 h 361"/>
                <a:gd name="T108" fmla="*/ 33 w 532"/>
                <a:gd name="T109" fmla="*/ 111 h 361"/>
                <a:gd name="T110" fmla="*/ 42 w 532"/>
                <a:gd name="T111" fmla="*/ 132 h 361"/>
                <a:gd name="T112" fmla="*/ 40 w 532"/>
                <a:gd name="T113" fmla="*/ 154 h 361"/>
                <a:gd name="T114" fmla="*/ 28 w 532"/>
                <a:gd name="T115" fmla="*/ 173 h 361"/>
                <a:gd name="T116" fmla="*/ 19 w 532"/>
                <a:gd name="T117" fmla="*/ 182 h 361"/>
                <a:gd name="T118" fmla="*/ 5 w 532"/>
                <a:gd name="T119" fmla="*/ 189 h 361"/>
                <a:gd name="T120" fmla="*/ 0 w 532"/>
                <a:gd name="T121" fmla="*/ 206 h 361"/>
                <a:gd name="T122" fmla="*/ 3 w 532"/>
                <a:gd name="T123" fmla="*/ 22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 h="361">
                  <a:moveTo>
                    <a:pt x="3" y="229"/>
                  </a:moveTo>
                  <a:lnTo>
                    <a:pt x="19" y="245"/>
                  </a:lnTo>
                  <a:lnTo>
                    <a:pt x="17" y="253"/>
                  </a:lnTo>
                  <a:lnTo>
                    <a:pt x="22" y="269"/>
                  </a:lnTo>
                  <a:lnTo>
                    <a:pt x="36" y="269"/>
                  </a:lnTo>
                  <a:lnTo>
                    <a:pt x="89" y="327"/>
                  </a:lnTo>
                  <a:lnTo>
                    <a:pt x="105" y="330"/>
                  </a:lnTo>
                  <a:lnTo>
                    <a:pt x="148" y="361"/>
                  </a:lnTo>
                  <a:lnTo>
                    <a:pt x="169" y="343"/>
                  </a:lnTo>
                  <a:lnTo>
                    <a:pt x="199" y="346"/>
                  </a:lnTo>
                  <a:lnTo>
                    <a:pt x="209" y="353"/>
                  </a:lnTo>
                  <a:lnTo>
                    <a:pt x="232" y="343"/>
                  </a:lnTo>
                  <a:lnTo>
                    <a:pt x="279" y="321"/>
                  </a:lnTo>
                  <a:lnTo>
                    <a:pt x="333" y="311"/>
                  </a:lnTo>
                  <a:lnTo>
                    <a:pt x="356" y="316"/>
                  </a:lnTo>
                  <a:lnTo>
                    <a:pt x="364" y="330"/>
                  </a:lnTo>
                  <a:lnTo>
                    <a:pt x="383" y="306"/>
                  </a:lnTo>
                  <a:lnTo>
                    <a:pt x="408" y="296"/>
                  </a:lnTo>
                  <a:lnTo>
                    <a:pt x="432" y="292"/>
                  </a:lnTo>
                  <a:lnTo>
                    <a:pt x="474" y="245"/>
                  </a:lnTo>
                  <a:lnTo>
                    <a:pt x="485" y="216"/>
                  </a:lnTo>
                  <a:lnTo>
                    <a:pt x="490" y="161"/>
                  </a:lnTo>
                  <a:lnTo>
                    <a:pt x="495" y="115"/>
                  </a:lnTo>
                  <a:lnTo>
                    <a:pt x="512" y="114"/>
                  </a:lnTo>
                  <a:lnTo>
                    <a:pt x="525" y="97"/>
                  </a:lnTo>
                  <a:lnTo>
                    <a:pt x="532" y="84"/>
                  </a:lnTo>
                  <a:lnTo>
                    <a:pt x="516" y="71"/>
                  </a:lnTo>
                  <a:lnTo>
                    <a:pt x="507" y="77"/>
                  </a:lnTo>
                  <a:lnTo>
                    <a:pt x="483" y="71"/>
                  </a:lnTo>
                  <a:lnTo>
                    <a:pt x="469" y="50"/>
                  </a:lnTo>
                  <a:lnTo>
                    <a:pt x="455" y="21"/>
                  </a:lnTo>
                  <a:lnTo>
                    <a:pt x="439" y="21"/>
                  </a:lnTo>
                  <a:lnTo>
                    <a:pt x="413" y="0"/>
                  </a:lnTo>
                  <a:lnTo>
                    <a:pt x="399" y="3"/>
                  </a:lnTo>
                  <a:lnTo>
                    <a:pt x="347" y="10"/>
                  </a:lnTo>
                  <a:lnTo>
                    <a:pt x="337" y="27"/>
                  </a:lnTo>
                  <a:lnTo>
                    <a:pt x="323" y="47"/>
                  </a:lnTo>
                  <a:lnTo>
                    <a:pt x="304" y="58"/>
                  </a:lnTo>
                  <a:lnTo>
                    <a:pt x="287" y="63"/>
                  </a:lnTo>
                  <a:lnTo>
                    <a:pt x="274" y="58"/>
                  </a:lnTo>
                  <a:lnTo>
                    <a:pt x="262" y="50"/>
                  </a:lnTo>
                  <a:lnTo>
                    <a:pt x="254" y="47"/>
                  </a:lnTo>
                  <a:lnTo>
                    <a:pt x="237" y="55"/>
                  </a:lnTo>
                  <a:lnTo>
                    <a:pt x="216" y="68"/>
                  </a:lnTo>
                  <a:lnTo>
                    <a:pt x="171" y="90"/>
                  </a:lnTo>
                  <a:lnTo>
                    <a:pt x="152" y="92"/>
                  </a:lnTo>
                  <a:lnTo>
                    <a:pt x="105" y="90"/>
                  </a:lnTo>
                  <a:lnTo>
                    <a:pt x="99" y="87"/>
                  </a:lnTo>
                  <a:lnTo>
                    <a:pt x="86" y="65"/>
                  </a:lnTo>
                  <a:lnTo>
                    <a:pt x="71" y="55"/>
                  </a:lnTo>
                  <a:lnTo>
                    <a:pt x="66" y="63"/>
                  </a:lnTo>
                  <a:lnTo>
                    <a:pt x="64" y="84"/>
                  </a:lnTo>
                  <a:lnTo>
                    <a:pt x="55" y="105"/>
                  </a:lnTo>
                  <a:lnTo>
                    <a:pt x="38" y="105"/>
                  </a:lnTo>
                  <a:lnTo>
                    <a:pt x="33" y="111"/>
                  </a:lnTo>
                  <a:lnTo>
                    <a:pt x="42" y="132"/>
                  </a:lnTo>
                  <a:lnTo>
                    <a:pt x="40" y="154"/>
                  </a:lnTo>
                  <a:lnTo>
                    <a:pt x="28" y="173"/>
                  </a:lnTo>
                  <a:lnTo>
                    <a:pt x="19" y="182"/>
                  </a:lnTo>
                  <a:lnTo>
                    <a:pt x="5" y="189"/>
                  </a:lnTo>
                  <a:lnTo>
                    <a:pt x="0" y="206"/>
                  </a:lnTo>
                  <a:lnTo>
                    <a:pt x="3" y="229"/>
                  </a:lnTo>
                  <a:close/>
                </a:path>
              </a:pathLst>
            </a:custGeom>
            <a:solidFill>
              <a:srgbClr val="DCE6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5" name="RO"/>
            <p:cNvSpPr>
              <a:spLocks noChangeAspect="1"/>
            </p:cNvSpPr>
            <p:nvPr/>
          </p:nvSpPr>
          <p:spPr bwMode="auto">
            <a:xfrm>
              <a:off x="6938963" y="4241800"/>
              <a:ext cx="1028700" cy="677863"/>
            </a:xfrm>
            <a:custGeom>
              <a:avLst/>
              <a:gdLst>
                <a:gd name="T0" fmla="*/ 155 w 696"/>
                <a:gd name="T1" fmla="*/ 65 h 572"/>
                <a:gd name="T2" fmla="*/ 129 w 696"/>
                <a:gd name="T3" fmla="*/ 81 h 572"/>
                <a:gd name="T4" fmla="*/ 121 w 696"/>
                <a:gd name="T5" fmla="*/ 185 h 572"/>
                <a:gd name="T6" fmla="*/ 79 w 696"/>
                <a:gd name="T7" fmla="*/ 240 h 572"/>
                <a:gd name="T8" fmla="*/ 24 w 696"/>
                <a:gd name="T9" fmla="*/ 269 h 572"/>
                <a:gd name="T10" fmla="*/ 0 w 696"/>
                <a:gd name="T11" fmla="*/ 306 h 572"/>
                <a:gd name="T12" fmla="*/ 22 w 696"/>
                <a:gd name="T13" fmla="*/ 337 h 572"/>
                <a:gd name="T14" fmla="*/ 22 w 696"/>
                <a:gd name="T15" fmla="*/ 367 h 572"/>
                <a:gd name="T16" fmla="*/ 52 w 696"/>
                <a:gd name="T17" fmla="*/ 374 h 572"/>
                <a:gd name="T18" fmla="*/ 66 w 696"/>
                <a:gd name="T19" fmla="*/ 420 h 572"/>
                <a:gd name="T20" fmla="*/ 75 w 696"/>
                <a:gd name="T21" fmla="*/ 461 h 572"/>
                <a:gd name="T22" fmla="*/ 97 w 696"/>
                <a:gd name="T23" fmla="*/ 461 h 572"/>
                <a:gd name="T24" fmla="*/ 132 w 696"/>
                <a:gd name="T25" fmla="*/ 464 h 572"/>
                <a:gd name="T26" fmla="*/ 132 w 696"/>
                <a:gd name="T27" fmla="*/ 488 h 572"/>
                <a:gd name="T28" fmla="*/ 155 w 696"/>
                <a:gd name="T29" fmla="*/ 509 h 572"/>
                <a:gd name="T30" fmla="*/ 155 w 696"/>
                <a:gd name="T31" fmla="*/ 538 h 572"/>
                <a:gd name="T32" fmla="*/ 203 w 696"/>
                <a:gd name="T33" fmla="*/ 551 h 572"/>
                <a:gd name="T34" fmla="*/ 270 w 696"/>
                <a:gd name="T35" fmla="*/ 572 h 572"/>
                <a:gd name="T36" fmla="*/ 319 w 696"/>
                <a:gd name="T37" fmla="*/ 556 h 572"/>
                <a:gd name="T38" fmla="*/ 376 w 696"/>
                <a:gd name="T39" fmla="*/ 562 h 572"/>
                <a:gd name="T40" fmla="*/ 409 w 696"/>
                <a:gd name="T41" fmla="*/ 541 h 572"/>
                <a:gd name="T42" fmla="*/ 503 w 696"/>
                <a:gd name="T43" fmla="*/ 492 h 572"/>
                <a:gd name="T44" fmla="*/ 558 w 696"/>
                <a:gd name="T45" fmla="*/ 498 h 572"/>
                <a:gd name="T46" fmla="*/ 599 w 696"/>
                <a:gd name="T47" fmla="*/ 506 h 572"/>
                <a:gd name="T48" fmla="*/ 625 w 696"/>
                <a:gd name="T49" fmla="*/ 482 h 572"/>
                <a:gd name="T50" fmla="*/ 627 w 696"/>
                <a:gd name="T51" fmla="*/ 401 h 572"/>
                <a:gd name="T52" fmla="*/ 651 w 696"/>
                <a:gd name="T53" fmla="*/ 374 h 572"/>
                <a:gd name="T54" fmla="*/ 674 w 696"/>
                <a:gd name="T55" fmla="*/ 374 h 572"/>
                <a:gd name="T56" fmla="*/ 679 w 696"/>
                <a:gd name="T57" fmla="*/ 353 h 572"/>
                <a:gd name="T58" fmla="*/ 696 w 696"/>
                <a:gd name="T59" fmla="*/ 334 h 572"/>
                <a:gd name="T60" fmla="*/ 660 w 696"/>
                <a:gd name="T61" fmla="*/ 322 h 572"/>
                <a:gd name="T62" fmla="*/ 618 w 696"/>
                <a:gd name="T63" fmla="*/ 331 h 572"/>
                <a:gd name="T64" fmla="*/ 578 w 696"/>
                <a:gd name="T65" fmla="*/ 322 h 572"/>
                <a:gd name="T66" fmla="*/ 571 w 696"/>
                <a:gd name="T67" fmla="*/ 285 h 572"/>
                <a:gd name="T68" fmla="*/ 558 w 696"/>
                <a:gd name="T69" fmla="*/ 248 h 572"/>
                <a:gd name="T70" fmla="*/ 550 w 696"/>
                <a:gd name="T71" fmla="*/ 211 h 572"/>
                <a:gd name="T72" fmla="*/ 552 w 696"/>
                <a:gd name="T73" fmla="*/ 176 h 572"/>
                <a:gd name="T74" fmla="*/ 522 w 696"/>
                <a:gd name="T75" fmla="*/ 124 h 572"/>
                <a:gd name="T76" fmla="*/ 512 w 696"/>
                <a:gd name="T77" fmla="*/ 87 h 572"/>
                <a:gd name="T78" fmla="*/ 482 w 696"/>
                <a:gd name="T79" fmla="*/ 58 h 572"/>
                <a:gd name="T80" fmla="*/ 461 w 696"/>
                <a:gd name="T81" fmla="*/ 13 h 572"/>
                <a:gd name="T82" fmla="*/ 440 w 696"/>
                <a:gd name="T83" fmla="*/ 0 h 572"/>
                <a:gd name="T84" fmla="*/ 416 w 696"/>
                <a:gd name="T85" fmla="*/ 19 h 572"/>
                <a:gd name="T86" fmla="*/ 388 w 696"/>
                <a:gd name="T87" fmla="*/ 21 h 572"/>
                <a:gd name="T88" fmla="*/ 364 w 696"/>
                <a:gd name="T89" fmla="*/ 37 h 572"/>
                <a:gd name="T90" fmla="*/ 327 w 696"/>
                <a:gd name="T91" fmla="*/ 43 h 572"/>
                <a:gd name="T92" fmla="*/ 297 w 696"/>
                <a:gd name="T93" fmla="*/ 19 h 572"/>
                <a:gd name="T94" fmla="*/ 259 w 696"/>
                <a:gd name="T95" fmla="*/ 34 h 572"/>
                <a:gd name="T96" fmla="*/ 228 w 696"/>
                <a:gd name="T97" fmla="*/ 31 h 572"/>
                <a:gd name="T98" fmla="*/ 190 w 696"/>
                <a:gd name="T99" fmla="*/ 29 h 572"/>
                <a:gd name="T100" fmla="*/ 171 w 696"/>
                <a:gd name="T101" fmla="*/ 40 h 572"/>
                <a:gd name="T102" fmla="*/ 162 w 696"/>
                <a:gd name="T103" fmla="*/ 4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6" h="572">
                  <a:moveTo>
                    <a:pt x="167" y="50"/>
                  </a:moveTo>
                  <a:lnTo>
                    <a:pt x="155" y="65"/>
                  </a:lnTo>
                  <a:lnTo>
                    <a:pt x="146" y="77"/>
                  </a:lnTo>
                  <a:lnTo>
                    <a:pt x="129" y="81"/>
                  </a:lnTo>
                  <a:lnTo>
                    <a:pt x="122" y="169"/>
                  </a:lnTo>
                  <a:lnTo>
                    <a:pt x="121" y="185"/>
                  </a:lnTo>
                  <a:lnTo>
                    <a:pt x="102" y="219"/>
                  </a:lnTo>
                  <a:lnTo>
                    <a:pt x="79" y="240"/>
                  </a:lnTo>
                  <a:lnTo>
                    <a:pt x="64" y="259"/>
                  </a:lnTo>
                  <a:lnTo>
                    <a:pt x="24" y="269"/>
                  </a:lnTo>
                  <a:lnTo>
                    <a:pt x="4" y="289"/>
                  </a:lnTo>
                  <a:lnTo>
                    <a:pt x="0" y="306"/>
                  </a:lnTo>
                  <a:lnTo>
                    <a:pt x="14" y="319"/>
                  </a:lnTo>
                  <a:lnTo>
                    <a:pt x="22" y="337"/>
                  </a:lnTo>
                  <a:lnTo>
                    <a:pt x="19" y="350"/>
                  </a:lnTo>
                  <a:lnTo>
                    <a:pt x="22" y="367"/>
                  </a:lnTo>
                  <a:lnTo>
                    <a:pt x="33" y="374"/>
                  </a:lnTo>
                  <a:lnTo>
                    <a:pt x="52" y="374"/>
                  </a:lnTo>
                  <a:lnTo>
                    <a:pt x="59" y="390"/>
                  </a:lnTo>
                  <a:lnTo>
                    <a:pt x="66" y="420"/>
                  </a:lnTo>
                  <a:lnTo>
                    <a:pt x="69" y="442"/>
                  </a:lnTo>
                  <a:lnTo>
                    <a:pt x="75" y="461"/>
                  </a:lnTo>
                  <a:lnTo>
                    <a:pt x="88" y="467"/>
                  </a:lnTo>
                  <a:lnTo>
                    <a:pt x="97" y="461"/>
                  </a:lnTo>
                  <a:lnTo>
                    <a:pt x="113" y="448"/>
                  </a:lnTo>
                  <a:lnTo>
                    <a:pt x="132" y="464"/>
                  </a:lnTo>
                  <a:lnTo>
                    <a:pt x="129" y="479"/>
                  </a:lnTo>
                  <a:lnTo>
                    <a:pt x="132" y="488"/>
                  </a:lnTo>
                  <a:lnTo>
                    <a:pt x="141" y="492"/>
                  </a:lnTo>
                  <a:lnTo>
                    <a:pt x="155" y="509"/>
                  </a:lnTo>
                  <a:lnTo>
                    <a:pt x="151" y="528"/>
                  </a:lnTo>
                  <a:lnTo>
                    <a:pt x="155" y="538"/>
                  </a:lnTo>
                  <a:lnTo>
                    <a:pt x="176" y="538"/>
                  </a:lnTo>
                  <a:lnTo>
                    <a:pt x="203" y="551"/>
                  </a:lnTo>
                  <a:lnTo>
                    <a:pt x="251" y="572"/>
                  </a:lnTo>
                  <a:lnTo>
                    <a:pt x="270" y="572"/>
                  </a:lnTo>
                  <a:lnTo>
                    <a:pt x="297" y="566"/>
                  </a:lnTo>
                  <a:lnTo>
                    <a:pt x="319" y="556"/>
                  </a:lnTo>
                  <a:lnTo>
                    <a:pt x="357" y="563"/>
                  </a:lnTo>
                  <a:lnTo>
                    <a:pt x="376" y="562"/>
                  </a:lnTo>
                  <a:lnTo>
                    <a:pt x="385" y="559"/>
                  </a:lnTo>
                  <a:lnTo>
                    <a:pt x="409" y="541"/>
                  </a:lnTo>
                  <a:lnTo>
                    <a:pt x="463" y="506"/>
                  </a:lnTo>
                  <a:lnTo>
                    <a:pt x="503" y="492"/>
                  </a:lnTo>
                  <a:lnTo>
                    <a:pt x="525" y="491"/>
                  </a:lnTo>
                  <a:lnTo>
                    <a:pt x="558" y="498"/>
                  </a:lnTo>
                  <a:lnTo>
                    <a:pt x="585" y="501"/>
                  </a:lnTo>
                  <a:lnTo>
                    <a:pt x="599" y="506"/>
                  </a:lnTo>
                  <a:lnTo>
                    <a:pt x="621" y="504"/>
                  </a:lnTo>
                  <a:lnTo>
                    <a:pt x="625" y="482"/>
                  </a:lnTo>
                  <a:lnTo>
                    <a:pt x="625" y="442"/>
                  </a:lnTo>
                  <a:lnTo>
                    <a:pt x="627" y="401"/>
                  </a:lnTo>
                  <a:lnTo>
                    <a:pt x="639" y="380"/>
                  </a:lnTo>
                  <a:lnTo>
                    <a:pt x="651" y="374"/>
                  </a:lnTo>
                  <a:lnTo>
                    <a:pt x="663" y="383"/>
                  </a:lnTo>
                  <a:lnTo>
                    <a:pt x="674" y="374"/>
                  </a:lnTo>
                  <a:lnTo>
                    <a:pt x="682" y="364"/>
                  </a:lnTo>
                  <a:lnTo>
                    <a:pt x="679" y="353"/>
                  </a:lnTo>
                  <a:lnTo>
                    <a:pt x="693" y="349"/>
                  </a:lnTo>
                  <a:lnTo>
                    <a:pt x="696" y="334"/>
                  </a:lnTo>
                  <a:lnTo>
                    <a:pt x="682" y="327"/>
                  </a:lnTo>
                  <a:lnTo>
                    <a:pt x="660" y="322"/>
                  </a:lnTo>
                  <a:lnTo>
                    <a:pt x="644" y="327"/>
                  </a:lnTo>
                  <a:lnTo>
                    <a:pt x="618" y="331"/>
                  </a:lnTo>
                  <a:lnTo>
                    <a:pt x="594" y="331"/>
                  </a:lnTo>
                  <a:lnTo>
                    <a:pt x="578" y="322"/>
                  </a:lnTo>
                  <a:lnTo>
                    <a:pt x="571" y="306"/>
                  </a:lnTo>
                  <a:lnTo>
                    <a:pt x="571" y="285"/>
                  </a:lnTo>
                  <a:lnTo>
                    <a:pt x="569" y="263"/>
                  </a:lnTo>
                  <a:lnTo>
                    <a:pt x="558" y="248"/>
                  </a:lnTo>
                  <a:lnTo>
                    <a:pt x="550" y="232"/>
                  </a:lnTo>
                  <a:lnTo>
                    <a:pt x="550" y="211"/>
                  </a:lnTo>
                  <a:lnTo>
                    <a:pt x="552" y="189"/>
                  </a:lnTo>
                  <a:lnTo>
                    <a:pt x="552" y="176"/>
                  </a:lnTo>
                  <a:lnTo>
                    <a:pt x="541" y="145"/>
                  </a:lnTo>
                  <a:lnTo>
                    <a:pt x="522" y="124"/>
                  </a:lnTo>
                  <a:lnTo>
                    <a:pt x="514" y="102"/>
                  </a:lnTo>
                  <a:lnTo>
                    <a:pt x="512" y="87"/>
                  </a:lnTo>
                  <a:lnTo>
                    <a:pt x="508" y="80"/>
                  </a:lnTo>
                  <a:lnTo>
                    <a:pt x="482" y="58"/>
                  </a:lnTo>
                  <a:lnTo>
                    <a:pt x="473" y="40"/>
                  </a:lnTo>
                  <a:lnTo>
                    <a:pt x="461" y="13"/>
                  </a:lnTo>
                  <a:lnTo>
                    <a:pt x="451" y="3"/>
                  </a:lnTo>
                  <a:lnTo>
                    <a:pt x="440" y="0"/>
                  </a:lnTo>
                  <a:lnTo>
                    <a:pt x="428" y="6"/>
                  </a:lnTo>
                  <a:lnTo>
                    <a:pt x="416" y="19"/>
                  </a:lnTo>
                  <a:lnTo>
                    <a:pt x="409" y="21"/>
                  </a:lnTo>
                  <a:lnTo>
                    <a:pt x="388" y="21"/>
                  </a:lnTo>
                  <a:lnTo>
                    <a:pt x="374" y="24"/>
                  </a:lnTo>
                  <a:lnTo>
                    <a:pt x="364" y="37"/>
                  </a:lnTo>
                  <a:lnTo>
                    <a:pt x="346" y="44"/>
                  </a:lnTo>
                  <a:lnTo>
                    <a:pt x="327" y="43"/>
                  </a:lnTo>
                  <a:lnTo>
                    <a:pt x="317" y="31"/>
                  </a:lnTo>
                  <a:lnTo>
                    <a:pt x="297" y="19"/>
                  </a:lnTo>
                  <a:lnTo>
                    <a:pt x="280" y="24"/>
                  </a:lnTo>
                  <a:lnTo>
                    <a:pt x="259" y="34"/>
                  </a:lnTo>
                  <a:lnTo>
                    <a:pt x="242" y="37"/>
                  </a:lnTo>
                  <a:lnTo>
                    <a:pt x="228" y="31"/>
                  </a:lnTo>
                  <a:lnTo>
                    <a:pt x="212" y="21"/>
                  </a:lnTo>
                  <a:lnTo>
                    <a:pt x="190" y="29"/>
                  </a:lnTo>
                  <a:lnTo>
                    <a:pt x="176" y="37"/>
                  </a:lnTo>
                  <a:lnTo>
                    <a:pt x="171" y="40"/>
                  </a:lnTo>
                  <a:lnTo>
                    <a:pt x="167" y="43"/>
                  </a:lnTo>
                  <a:lnTo>
                    <a:pt x="162" y="44"/>
                  </a:lnTo>
                  <a:lnTo>
                    <a:pt x="167" y="5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6" name="LT"/>
            <p:cNvSpPr>
              <a:spLocks noChangeAspect="1"/>
            </p:cNvSpPr>
            <p:nvPr/>
          </p:nvSpPr>
          <p:spPr bwMode="auto">
            <a:xfrm>
              <a:off x="6938963" y="3040063"/>
              <a:ext cx="538162" cy="381000"/>
            </a:xfrm>
            <a:custGeom>
              <a:avLst/>
              <a:gdLst>
                <a:gd name="T0" fmla="*/ 3 w 364"/>
                <a:gd name="T1" fmla="*/ 34 h 318"/>
                <a:gd name="T2" fmla="*/ 0 w 364"/>
                <a:gd name="T3" fmla="*/ 44 h 318"/>
                <a:gd name="T4" fmla="*/ 6 w 364"/>
                <a:gd name="T5" fmla="*/ 81 h 318"/>
                <a:gd name="T6" fmla="*/ 22 w 364"/>
                <a:gd name="T7" fmla="*/ 136 h 318"/>
                <a:gd name="T8" fmla="*/ 36 w 364"/>
                <a:gd name="T9" fmla="*/ 152 h 318"/>
                <a:gd name="T10" fmla="*/ 69 w 364"/>
                <a:gd name="T11" fmla="*/ 166 h 318"/>
                <a:gd name="T12" fmla="*/ 83 w 364"/>
                <a:gd name="T13" fmla="*/ 170 h 318"/>
                <a:gd name="T14" fmla="*/ 85 w 364"/>
                <a:gd name="T15" fmla="*/ 189 h 318"/>
                <a:gd name="T16" fmla="*/ 85 w 364"/>
                <a:gd name="T17" fmla="*/ 220 h 318"/>
                <a:gd name="T18" fmla="*/ 118 w 364"/>
                <a:gd name="T19" fmla="*/ 257 h 318"/>
                <a:gd name="T20" fmla="*/ 138 w 364"/>
                <a:gd name="T21" fmla="*/ 268 h 318"/>
                <a:gd name="T22" fmla="*/ 149 w 364"/>
                <a:gd name="T23" fmla="*/ 274 h 318"/>
                <a:gd name="T24" fmla="*/ 176 w 364"/>
                <a:gd name="T25" fmla="*/ 312 h 318"/>
                <a:gd name="T26" fmla="*/ 185 w 364"/>
                <a:gd name="T27" fmla="*/ 305 h 318"/>
                <a:gd name="T28" fmla="*/ 204 w 364"/>
                <a:gd name="T29" fmla="*/ 303 h 318"/>
                <a:gd name="T30" fmla="*/ 226 w 364"/>
                <a:gd name="T31" fmla="*/ 318 h 318"/>
                <a:gd name="T32" fmla="*/ 242 w 364"/>
                <a:gd name="T33" fmla="*/ 308 h 318"/>
                <a:gd name="T34" fmla="*/ 265 w 364"/>
                <a:gd name="T35" fmla="*/ 278 h 318"/>
                <a:gd name="T36" fmla="*/ 282 w 364"/>
                <a:gd name="T37" fmla="*/ 268 h 318"/>
                <a:gd name="T38" fmla="*/ 298 w 364"/>
                <a:gd name="T39" fmla="*/ 276 h 318"/>
                <a:gd name="T40" fmla="*/ 308 w 364"/>
                <a:gd name="T41" fmla="*/ 271 h 318"/>
                <a:gd name="T42" fmla="*/ 309 w 364"/>
                <a:gd name="T43" fmla="*/ 260 h 318"/>
                <a:gd name="T44" fmla="*/ 312 w 364"/>
                <a:gd name="T45" fmla="*/ 200 h 318"/>
                <a:gd name="T46" fmla="*/ 322 w 364"/>
                <a:gd name="T47" fmla="*/ 182 h 318"/>
                <a:gd name="T48" fmla="*/ 322 w 364"/>
                <a:gd name="T49" fmla="*/ 155 h 318"/>
                <a:gd name="T50" fmla="*/ 326 w 364"/>
                <a:gd name="T51" fmla="*/ 145 h 318"/>
                <a:gd name="T52" fmla="*/ 345 w 364"/>
                <a:gd name="T53" fmla="*/ 129 h 318"/>
                <a:gd name="T54" fmla="*/ 364 w 364"/>
                <a:gd name="T55" fmla="*/ 126 h 318"/>
                <a:gd name="T56" fmla="*/ 364 w 364"/>
                <a:gd name="T57" fmla="*/ 96 h 318"/>
                <a:gd name="T58" fmla="*/ 359 w 364"/>
                <a:gd name="T59" fmla="*/ 74 h 318"/>
                <a:gd name="T60" fmla="*/ 345 w 364"/>
                <a:gd name="T61" fmla="*/ 65 h 318"/>
                <a:gd name="T62" fmla="*/ 339 w 364"/>
                <a:gd name="T63" fmla="*/ 68 h 318"/>
                <a:gd name="T64" fmla="*/ 315 w 364"/>
                <a:gd name="T65" fmla="*/ 44 h 318"/>
                <a:gd name="T66" fmla="*/ 301 w 364"/>
                <a:gd name="T67" fmla="*/ 27 h 318"/>
                <a:gd name="T68" fmla="*/ 284 w 364"/>
                <a:gd name="T69" fmla="*/ 27 h 318"/>
                <a:gd name="T70" fmla="*/ 251 w 364"/>
                <a:gd name="T71" fmla="*/ 27 h 318"/>
                <a:gd name="T72" fmla="*/ 245 w 364"/>
                <a:gd name="T73" fmla="*/ 21 h 318"/>
                <a:gd name="T74" fmla="*/ 237 w 364"/>
                <a:gd name="T75" fmla="*/ 2 h 318"/>
                <a:gd name="T76" fmla="*/ 228 w 364"/>
                <a:gd name="T77" fmla="*/ 0 h 318"/>
                <a:gd name="T78" fmla="*/ 199 w 364"/>
                <a:gd name="T79" fmla="*/ 0 h 318"/>
                <a:gd name="T80" fmla="*/ 188 w 364"/>
                <a:gd name="T81" fmla="*/ 15 h 318"/>
                <a:gd name="T82" fmla="*/ 176 w 364"/>
                <a:gd name="T83" fmla="*/ 12 h 318"/>
                <a:gd name="T84" fmla="*/ 157 w 364"/>
                <a:gd name="T85" fmla="*/ 8 h 318"/>
                <a:gd name="T86" fmla="*/ 149 w 364"/>
                <a:gd name="T87" fmla="*/ 5 h 318"/>
                <a:gd name="T88" fmla="*/ 135 w 364"/>
                <a:gd name="T89" fmla="*/ 10 h 318"/>
                <a:gd name="T90" fmla="*/ 125 w 364"/>
                <a:gd name="T91" fmla="*/ 18 h 318"/>
                <a:gd name="T92" fmla="*/ 106 w 364"/>
                <a:gd name="T93" fmla="*/ 10 h 318"/>
                <a:gd name="T94" fmla="*/ 66 w 364"/>
                <a:gd name="T95" fmla="*/ 2 h 318"/>
                <a:gd name="T96" fmla="*/ 56 w 364"/>
                <a:gd name="T97" fmla="*/ 0 h 318"/>
                <a:gd name="T98" fmla="*/ 45 w 364"/>
                <a:gd name="T99" fmla="*/ 10 h 318"/>
                <a:gd name="T100" fmla="*/ 26 w 364"/>
                <a:gd name="T101" fmla="*/ 24 h 318"/>
                <a:gd name="T102" fmla="*/ 3 w 364"/>
                <a:gd name="T103" fmla="*/ 3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18">
                  <a:moveTo>
                    <a:pt x="3" y="34"/>
                  </a:moveTo>
                  <a:lnTo>
                    <a:pt x="0" y="44"/>
                  </a:lnTo>
                  <a:lnTo>
                    <a:pt x="6" y="81"/>
                  </a:lnTo>
                  <a:lnTo>
                    <a:pt x="22" y="136"/>
                  </a:lnTo>
                  <a:lnTo>
                    <a:pt x="36" y="152"/>
                  </a:lnTo>
                  <a:lnTo>
                    <a:pt x="69" y="166"/>
                  </a:lnTo>
                  <a:lnTo>
                    <a:pt x="83" y="170"/>
                  </a:lnTo>
                  <a:lnTo>
                    <a:pt x="85" y="189"/>
                  </a:lnTo>
                  <a:lnTo>
                    <a:pt x="85" y="220"/>
                  </a:lnTo>
                  <a:lnTo>
                    <a:pt x="118" y="257"/>
                  </a:lnTo>
                  <a:lnTo>
                    <a:pt x="138" y="268"/>
                  </a:lnTo>
                  <a:lnTo>
                    <a:pt x="149" y="274"/>
                  </a:lnTo>
                  <a:lnTo>
                    <a:pt x="176" y="312"/>
                  </a:lnTo>
                  <a:lnTo>
                    <a:pt x="185" y="305"/>
                  </a:lnTo>
                  <a:lnTo>
                    <a:pt x="204" y="303"/>
                  </a:lnTo>
                  <a:lnTo>
                    <a:pt x="226" y="318"/>
                  </a:lnTo>
                  <a:lnTo>
                    <a:pt x="242" y="308"/>
                  </a:lnTo>
                  <a:lnTo>
                    <a:pt x="265" y="278"/>
                  </a:lnTo>
                  <a:lnTo>
                    <a:pt x="282" y="268"/>
                  </a:lnTo>
                  <a:lnTo>
                    <a:pt x="298" y="276"/>
                  </a:lnTo>
                  <a:lnTo>
                    <a:pt x="308" y="271"/>
                  </a:lnTo>
                  <a:lnTo>
                    <a:pt x="309" y="260"/>
                  </a:lnTo>
                  <a:lnTo>
                    <a:pt x="312" y="200"/>
                  </a:lnTo>
                  <a:lnTo>
                    <a:pt x="322" y="182"/>
                  </a:lnTo>
                  <a:lnTo>
                    <a:pt x="322" y="155"/>
                  </a:lnTo>
                  <a:lnTo>
                    <a:pt x="326" y="145"/>
                  </a:lnTo>
                  <a:lnTo>
                    <a:pt x="345" y="129"/>
                  </a:lnTo>
                  <a:lnTo>
                    <a:pt x="364" y="126"/>
                  </a:lnTo>
                  <a:lnTo>
                    <a:pt x="364" y="96"/>
                  </a:lnTo>
                  <a:lnTo>
                    <a:pt x="359" y="74"/>
                  </a:lnTo>
                  <a:lnTo>
                    <a:pt x="345" y="65"/>
                  </a:lnTo>
                  <a:lnTo>
                    <a:pt x="339" y="68"/>
                  </a:lnTo>
                  <a:lnTo>
                    <a:pt x="315" y="44"/>
                  </a:lnTo>
                  <a:lnTo>
                    <a:pt x="301" y="27"/>
                  </a:lnTo>
                  <a:lnTo>
                    <a:pt x="284" y="27"/>
                  </a:lnTo>
                  <a:lnTo>
                    <a:pt x="251" y="27"/>
                  </a:lnTo>
                  <a:lnTo>
                    <a:pt x="245" y="21"/>
                  </a:lnTo>
                  <a:lnTo>
                    <a:pt x="237" y="2"/>
                  </a:lnTo>
                  <a:lnTo>
                    <a:pt x="228" y="0"/>
                  </a:lnTo>
                  <a:lnTo>
                    <a:pt x="199" y="0"/>
                  </a:lnTo>
                  <a:lnTo>
                    <a:pt x="188" y="15"/>
                  </a:lnTo>
                  <a:lnTo>
                    <a:pt x="176" y="12"/>
                  </a:lnTo>
                  <a:lnTo>
                    <a:pt x="157" y="8"/>
                  </a:lnTo>
                  <a:lnTo>
                    <a:pt x="149" y="5"/>
                  </a:lnTo>
                  <a:lnTo>
                    <a:pt x="135" y="10"/>
                  </a:lnTo>
                  <a:lnTo>
                    <a:pt x="125" y="18"/>
                  </a:lnTo>
                  <a:lnTo>
                    <a:pt x="106" y="10"/>
                  </a:lnTo>
                  <a:lnTo>
                    <a:pt x="66" y="2"/>
                  </a:lnTo>
                  <a:lnTo>
                    <a:pt x="56" y="0"/>
                  </a:lnTo>
                  <a:lnTo>
                    <a:pt x="45" y="10"/>
                  </a:lnTo>
                  <a:lnTo>
                    <a:pt x="26" y="24"/>
                  </a:lnTo>
                  <a:lnTo>
                    <a:pt x="3" y="34"/>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7" name="EE"/>
            <p:cNvGrpSpPr>
              <a:grpSpLocks/>
            </p:cNvGrpSpPr>
            <p:nvPr/>
          </p:nvGrpSpPr>
          <p:grpSpPr bwMode="auto">
            <a:xfrm>
              <a:off x="6978582" y="2528348"/>
              <a:ext cx="541339" cy="327025"/>
              <a:chOff x="3930663" y="2840721"/>
              <a:chExt cx="247" cy="169"/>
            </a:xfrm>
            <a:solidFill>
              <a:schemeClr val="bg1">
                <a:lumMod val="95000"/>
              </a:schemeClr>
            </a:solidFill>
            <a:effectLst/>
          </p:grpSpPr>
          <p:sp>
            <p:nvSpPr>
              <p:cNvPr id="61" name="Freeform 533" descr="80%"/>
              <p:cNvSpPr>
                <a:spLocks noChangeAspect="1"/>
              </p:cNvSpPr>
              <p:nvPr/>
            </p:nvSpPr>
            <p:spPr bwMode="auto">
              <a:xfrm>
                <a:off x="3930673" y="2840778"/>
                <a:ext cx="38" cy="31"/>
              </a:xfrm>
              <a:custGeom>
                <a:avLst/>
                <a:gdLst>
                  <a:gd name="T0" fmla="*/ 33 w 56"/>
                  <a:gd name="T1" fmla="*/ 0 h 52"/>
                  <a:gd name="T2" fmla="*/ 7 w 56"/>
                  <a:gd name="T3" fmla="*/ 18 h 52"/>
                  <a:gd name="T4" fmla="*/ 0 w 56"/>
                  <a:gd name="T5" fmla="*/ 28 h 52"/>
                  <a:gd name="T6" fmla="*/ 16 w 56"/>
                  <a:gd name="T7" fmla="*/ 34 h 52"/>
                  <a:gd name="T8" fmla="*/ 30 w 56"/>
                  <a:gd name="T9" fmla="*/ 52 h 52"/>
                  <a:gd name="T10" fmla="*/ 42 w 56"/>
                  <a:gd name="T11" fmla="*/ 40 h 52"/>
                  <a:gd name="T12" fmla="*/ 56 w 56"/>
                  <a:gd name="T13" fmla="*/ 28 h 52"/>
                  <a:gd name="T14" fmla="*/ 44 w 56"/>
                  <a:gd name="T15" fmla="*/ 15 h 52"/>
                  <a:gd name="T16" fmla="*/ 33 w 56"/>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33" y="0"/>
                    </a:moveTo>
                    <a:lnTo>
                      <a:pt x="7" y="18"/>
                    </a:lnTo>
                    <a:lnTo>
                      <a:pt x="0" y="28"/>
                    </a:lnTo>
                    <a:lnTo>
                      <a:pt x="16" y="34"/>
                    </a:lnTo>
                    <a:lnTo>
                      <a:pt x="30" y="52"/>
                    </a:lnTo>
                    <a:lnTo>
                      <a:pt x="42" y="40"/>
                    </a:lnTo>
                    <a:lnTo>
                      <a:pt x="56" y="28"/>
                    </a:lnTo>
                    <a:lnTo>
                      <a:pt x="44" y="15"/>
                    </a:lnTo>
                    <a:lnTo>
                      <a:pt x="3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2" name="Freeform 534" descr="80%"/>
              <p:cNvSpPr>
                <a:spLocks noChangeAspect="1"/>
              </p:cNvSpPr>
              <p:nvPr/>
            </p:nvSpPr>
            <p:spPr bwMode="auto">
              <a:xfrm>
                <a:off x="3930663" y="2840819"/>
                <a:ext cx="55" cy="59"/>
              </a:xfrm>
              <a:custGeom>
                <a:avLst/>
                <a:gdLst>
                  <a:gd name="T0" fmla="*/ 69 w 83"/>
                  <a:gd name="T1" fmla="*/ 0 h 95"/>
                  <a:gd name="T2" fmla="*/ 41 w 83"/>
                  <a:gd name="T3" fmla="*/ 6 h 95"/>
                  <a:gd name="T4" fmla="*/ 31 w 83"/>
                  <a:gd name="T5" fmla="*/ 0 h 95"/>
                  <a:gd name="T6" fmla="*/ 14 w 83"/>
                  <a:gd name="T7" fmla="*/ 24 h 95"/>
                  <a:gd name="T8" fmla="*/ 8 w 83"/>
                  <a:gd name="T9" fmla="*/ 18 h 95"/>
                  <a:gd name="T10" fmla="*/ 0 w 83"/>
                  <a:gd name="T11" fmla="*/ 34 h 95"/>
                  <a:gd name="T12" fmla="*/ 9 w 83"/>
                  <a:gd name="T13" fmla="*/ 43 h 95"/>
                  <a:gd name="T14" fmla="*/ 9 w 83"/>
                  <a:gd name="T15" fmla="*/ 82 h 95"/>
                  <a:gd name="T16" fmla="*/ 17 w 83"/>
                  <a:gd name="T17" fmla="*/ 95 h 95"/>
                  <a:gd name="T18" fmla="*/ 59 w 83"/>
                  <a:gd name="T19" fmla="*/ 43 h 95"/>
                  <a:gd name="T20" fmla="*/ 75 w 83"/>
                  <a:gd name="T21" fmla="*/ 43 h 95"/>
                  <a:gd name="T22" fmla="*/ 83 w 83"/>
                  <a:gd name="T23" fmla="*/ 28 h 95"/>
                  <a:gd name="T24" fmla="*/ 80 w 83"/>
                  <a:gd name="T25" fmla="*/ 21 h 95"/>
                  <a:gd name="T26" fmla="*/ 69 w 83"/>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95">
                    <a:moveTo>
                      <a:pt x="69" y="0"/>
                    </a:moveTo>
                    <a:lnTo>
                      <a:pt x="41" y="6"/>
                    </a:lnTo>
                    <a:lnTo>
                      <a:pt x="31" y="0"/>
                    </a:lnTo>
                    <a:lnTo>
                      <a:pt x="14" y="24"/>
                    </a:lnTo>
                    <a:lnTo>
                      <a:pt x="8" y="18"/>
                    </a:lnTo>
                    <a:lnTo>
                      <a:pt x="0" y="34"/>
                    </a:lnTo>
                    <a:lnTo>
                      <a:pt x="9" y="43"/>
                    </a:lnTo>
                    <a:lnTo>
                      <a:pt x="9" y="82"/>
                    </a:lnTo>
                    <a:lnTo>
                      <a:pt x="17" y="95"/>
                    </a:lnTo>
                    <a:lnTo>
                      <a:pt x="59" y="43"/>
                    </a:lnTo>
                    <a:lnTo>
                      <a:pt x="75" y="43"/>
                    </a:lnTo>
                    <a:lnTo>
                      <a:pt x="83" y="28"/>
                    </a:lnTo>
                    <a:lnTo>
                      <a:pt x="80" y="21"/>
                    </a:lnTo>
                    <a:lnTo>
                      <a:pt x="6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3" name="Freeform 535" descr="80%"/>
              <p:cNvSpPr>
                <a:spLocks noChangeAspect="1"/>
              </p:cNvSpPr>
              <p:nvPr/>
            </p:nvSpPr>
            <p:spPr bwMode="auto">
              <a:xfrm>
                <a:off x="3930728" y="2840721"/>
                <a:ext cx="182" cy="169"/>
              </a:xfrm>
              <a:custGeom>
                <a:avLst/>
                <a:gdLst>
                  <a:gd name="T0" fmla="*/ 262 w 271"/>
                  <a:gd name="T1" fmla="*/ 256 h 272"/>
                  <a:gd name="T2" fmla="*/ 260 w 271"/>
                  <a:gd name="T3" fmla="*/ 241 h 272"/>
                  <a:gd name="T4" fmla="*/ 269 w 271"/>
                  <a:gd name="T5" fmla="*/ 226 h 272"/>
                  <a:gd name="T6" fmla="*/ 269 w 271"/>
                  <a:gd name="T7" fmla="*/ 206 h 272"/>
                  <a:gd name="T8" fmla="*/ 250 w 271"/>
                  <a:gd name="T9" fmla="*/ 191 h 272"/>
                  <a:gd name="T10" fmla="*/ 243 w 271"/>
                  <a:gd name="T11" fmla="*/ 182 h 272"/>
                  <a:gd name="T12" fmla="*/ 238 w 271"/>
                  <a:gd name="T13" fmla="*/ 155 h 272"/>
                  <a:gd name="T14" fmla="*/ 227 w 271"/>
                  <a:gd name="T15" fmla="*/ 132 h 272"/>
                  <a:gd name="T16" fmla="*/ 214 w 271"/>
                  <a:gd name="T17" fmla="*/ 114 h 272"/>
                  <a:gd name="T18" fmla="*/ 214 w 271"/>
                  <a:gd name="T19" fmla="*/ 98 h 272"/>
                  <a:gd name="T20" fmla="*/ 222 w 271"/>
                  <a:gd name="T21" fmla="*/ 87 h 272"/>
                  <a:gd name="T22" fmla="*/ 252 w 271"/>
                  <a:gd name="T23" fmla="*/ 90 h 272"/>
                  <a:gd name="T24" fmla="*/ 264 w 271"/>
                  <a:gd name="T25" fmla="*/ 74 h 272"/>
                  <a:gd name="T26" fmla="*/ 271 w 271"/>
                  <a:gd name="T27" fmla="*/ 34 h 272"/>
                  <a:gd name="T28" fmla="*/ 269 w 271"/>
                  <a:gd name="T29" fmla="*/ 21 h 272"/>
                  <a:gd name="T30" fmla="*/ 255 w 271"/>
                  <a:gd name="T31" fmla="*/ 19 h 272"/>
                  <a:gd name="T32" fmla="*/ 230 w 271"/>
                  <a:gd name="T33" fmla="*/ 21 h 272"/>
                  <a:gd name="T34" fmla="*/ 194 w 271"/>
                  <a:gd name="T35" fmla="*/ 21 h 272"/>
                  <a:gd name="T36" fmla="*/ 167 w 271"/>
                  <a:gd name="T37" fmla="*/ 9 h 272"/>
                  <a:gd name="T38" fmla="*/ 148 w 271"/>
                  <a:gd name="T39" fmla="*/ 3 h 272"/>
                  <a:gd name="T40" fmla="*/ 132 w 271"/>
                  <a:gd name="T41" fmla="*/ 0 h 272"/>
                  <a:gd name="T42" fmla="*/ 116 w 271"/>
                  <a:gd name="T43" fmla="*/ 24 h 272"/>
                  <a:gd name="T44" fmla="*/ 97 w 271"/>
                  <a:gd name="T45" fmla="*/ 40 h 272"/>
                  <a:gd name="T46" fmla="*/ 69 w 271"/>
                  <a:gd name="T47" fmla="*/ 37 h 272"/>
                  <a:gd name="T48" fmla="*/ 52 w 271"/>
                  <a:gd name="T49" fmla="*/ 50 h 272"/>
                  <a:gd name="T50" fmla="*/ 26 w 271"/>
                  <a:gd name="T51" fmla="*/ 80 h 272"/>
                  <a:gd name="T52" fmla="*/ 5 w 271"/>
                  <a:gd name="T53" fmla="*/ 98 h 272"/>
                  <a:gd name="T54" fmla="*/ 0 w 271"/>
                  <a:gd name="T55" fmla="*/ 111 h 272"/>
                  <a:gd name="T56" fmla="*/ 12 w 271"/>
                  <a:gd name="T57" fmla="*/ 135 h 272"/>
                  <a:gd name="T58" fmla="*/ 24 w 271"/>
                  <a:gd name="T59" fmla="*/ 167 h 272"/>
                  <a:gd name="T60" fmla="*/ 38 w 271"/>
                  <a:gd name="T61" fmla="*/ 185 h 272"/>
                  <a:gd name="T62" fmla="*/ 52 w 271"/>
                  <a:gd name="T63" fmla="*/ 179 h 272"/>
                  <a:gd name="T64" fmla="*/ 76 w 271"/>
                  <a:gd name="T65" fmla="*/ 169 h 272"/>
                  <a:gd name="T66" fmla="*/ 74 w 271"/>
                  <a:gd name="T67" fmla="*/ 195 h 272"/>
                  <a:gd name="T68" fmla="*/ 66 w 271"/>
                  <a:gd name="T69" fmla="*/ 226 h 272"/>
                  <a:gd name="T70" fmla="*/ 69 w 271"/>
                  <a:gd name="T71" fmla="*/ 232 h 272"/>
                  <a:gd name="T72" fmla="*/ 80 w 271"/>
                  <a:gd name="T73" fmla="*/ 232 h 272"/>
                  <a:gd name="T74" fmla="*/ 97 w 271"/>
                  <a:gd name="T75" fmla="*/ 226 h 272"/>
                  <a:gd name="T76" fmla="*/ 132 w 271"/>
                  <a:gd name="T77" fmla="*/ 231 h 272"/>
                  <a:gd name="T78" fmla="*/ 142 w 271"/>
                  <a:gd name="T79" fmla="*/ 245 h 272"/>
                  <a:gd name="T80" fmla="*/ 162 w 271"/>
                  <a:gd name="T81" fmla="*/ 253 h 272"/>
                  <a:gd name="T82" fmla="*/ 179 w 271"/>
                  <a:gd name="T83" fmla="*/ 272 h 272"/>
                  <a:gd name="T84" fmla="*/ 190 w 271"/>
                  <a:gd name="T85" fmla="*/ 269 h 272"/>
                  <a:gd name="T86" fmla="*/ 212 w 271"/>
                  <a:gd name="T87" fmla="*/ 256 h 272"/>
                  <a:gd name="T88" fmla="*/ 233 w 271"/>
                  <a:gd name="T89" fmla="*/ 253 h 272"/>
                  <a:gd name="T90" fmla="*/ 262 w 271"/>
                  <a:gd name="T91" fmla="*/ 25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 h="272">
                    <a:moveTo>
                      <a:pt x="262" y="256"/>
                    </a:moveTo>
                    <a:lnTo>
                      <a:pt x="260" y="241"/>
                    </a:lnTo>
                    <a:lnTo>
                      <a:pt x="269" y="226"/>
                    </a:lnTo>
                    <a:lnTo>
                      <a:pt x="269" y="206"/>
                    </a:lnTo>
                    <a:lnTo>
                      <a:pt x="250" y="191"/>
                    </a:lnTo>
                    <a:lnTo>
                      <a:pt x="243" y="182"/>
                    </a:lnTo>
                    <a:lnTo>
                      <a:pt x="238" y="155"/>
                    </a:lnTo>
                    <a:lnTo>
                      <a:pt x="227" y="132"/>
                    </a:lnTo>
                    <a:lnTo>
                      <a:pt x="214" y="114"/>
                    </a:lnTo>
                    <a:lnTo>
                      <a:pt x="214" y="98"/>
                    </a:lnTo>
                    <a:lnTo>
                      <a:pt x="222" y="87"/>
                    </a:lnTo>
                    <a:lnTo>
                      <a:pt x="252" y="90"/>
                    </a:lnTo>
                    <a:lnTo>
                      <a:pt x="264" y="74"/>
                    </a:lnTo>
                    <a:lnTo>
                      <a:pt x="271" y="34"/>
                    </a:lnTo>
                    <a:lnTo>
                      <a:pt x="269" y="21"/>
                    </a:lnTo>
                    <a:lnTo>
                      <a:pt x="255" y="19"/>
                    </a:lnTo>
                    <a:lnTo>
                      <a:pt x="230" y="21"/>
                    </a:lnTo>
                    <a:lnTo>
                      <a:pt x="194" y="21"/>
                    </a:lnTo>
                    <a:lnTo>
                      <a:pt x="167" y="9"/>
                    </a:lnTo>
                    <a:lnTo>
                      <a:pt x="148" y="3"/>
                    </a:lnTo>
                    <a:lnTo>
                      <a:pt x="132" y="0"/>
                    </a:lnTo>
                    <a:lnTo>
                      <a:pt x="116" y="24"/>
                    </a:lnTo>
                    <a:lnTo>
                      <a:pt x="97" y="40"/>
                    </a:lnTo>
                    <a:lnTo>
                      <a:pt x="69" y="37"/>
                    </a:lnTo>
                    <a:lnTo>
                      <a:pt x="52" y="50"/>
                    </a:lnTo>
                    <a:lnTo>
                      <a:pt x="26" y="80"/>
                    </a:lnTo>
                    <a:lnTo>
                      <a:pt x="5" y="98"/>
                    </a:lnTo>
                    <a:lnTo>
                      <a:pt x="0" y="111"/>
                    </a:lnTo>
                    <a:lnTo>
                      <a:pt x="12" y="135"/>
                    </a:lnTo>
                    <a:lnTo>
                      <a:pt x="24" y="167"/>
                    </a:lnTo>
                    <a:lnTo>
                      <a:pt x="38" y="185"/>
                    </a:lnTo>
                    <a:lnTo>
                      <a:pt x="52" y="179"/>
                    </a:lnTo>
                    <a:lnTo>
                      <a:pt x="76" y="169"/>
                    </a:lnTo>
                    <a:lnTo>
                      <a:pt x="74" y="195"/>
                    </a:lnTo>
                    <a:lnTo>
                      <a:pt x="66" y="226"/>
                    </a:lnTo>
                    <a:lnTo>
                      <a:pt x="69" y="232"/>
                    </a:lnTo>
                    <a:lnTo>
                      <a:pt x="80" y="232"/>
                    </a:lnTo>
                    <a:lnTo>
                      <a:pt x="97" y="226"/>
                    </a:lnTo>
                    <a:lnTo>
                      <a:pt x="132" y="231"/>
                    </a:lnTo>
                    <a:lnTo>
                      <a:pt x="142" y="245"/>
                    </a:lnTo>
                    <a:lnTo>
                      <a:pt x="162" y="253"/>
                    </a:lnTo>
                    <a:lnTo>
                      <a:pt x="179" y="272"/>
                    </a:lnTo>
                    <a:lnTo>
                      <a:pt x="190" y="269"/>
                    </a:lnTo>
                    <a:lnTo>
                      <a:pt x="212" y="256"/>
                    </a:lnTo>
                    <a:lnTo>
                      <a:pt x="233" y="253"/>
                    </a:lnTo>
                    <a:lnTo>
                      <a:pt x="262" y="25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8" name="LV"/>
            <p:cNvSpPr>
              <a:spLocks noChangeAspect="1"/>
            </p:cNvSpPr>
            <p:nvPr/>
          </p:nvSpPr>
          <p:spPr bwMode="auto">
            <a:xfrm>
              <a:off x="6916738" y="2794000"/>
              <a:ext cx="695325" cy="327025"/>
            </a:xfrm>
            <a:custGeom>
              <a:avLst/>
              <a:gdLst>
                <a:gd name="T0" fmla="*/ 115 w 468"/>
                <a:gd name="T1" fmla="*/ 93 h 275"/>
                <a:gd name="T2" fmla="*/ 105 w 468"/>
                <a:gd name="T3" fmla="*/ 56 h 275"/>
                <a:gd name="T4" fmla="*/ 74 w 468"/>
                <a:gd name="T5" fmla="*/ 37 h 275"/>
                <a:gd name="T6" fmla="*/ 41 w 468"/>
                <a:gd name="T7" fmla="*/ 66 h 275"/>
                <a:gd name="T8" fmla="*/ 21 w 468"/>
                <a:gd name="T9" fmla="*/ 127 h 275"/>
                <a:gd name="T10" fmla="*/ 16 w 468"/>
                <a:gd name="T11" fmla="*/ 148 h 275"/>
                <a:gd name="T12" fmla="*/ 0 w 468"/>
                <a:gd name="T13" fmla="*/ 170 h 275"/>
                <a:gd name="T14" fmla="*/ 5 w 468"/>
                <a:gd name="T15" fmla="*/ 212 h 275"/>
                <a:gd name="T16" fmla="*/ 19 w 468"/>
                <a:gd name="T17" fmla="*/ 241 h 275"/>
                <a:gd name="T18" fmla="*/ 60 w 468"/>
                <a:gd name="T19" fmla="*/ 217 h 275"/>
                <a:gd name="T20" fmla="*/ 88 w 468"/>
                <a:gd name="T21" fmla="*/ 212 h 275"/>
                <a:gd name="T22" fmla="*/ 124 w 468"/>
                <a:gd name="T23" fmla="*/ 222 h 275"/>
                <a:gd name="T24" fmla="*/ 159 w 468"/>
                <a:gd name="T25" fmla="*/ 212 h 275"/>
                <a:gd name="T26" fmla="*/ 182 w 468"/>
                <a:gd name="T27" fmla="*/ 219 h 275"/>
                <a:gd name="T28" fmla="*/ 212 w 468"/>
                <a:gd name="T29" fmla="*/ 212 h 275"/>
                <a:gd name="T30" fmla="*/ 248 w 468"/>
                <a:gd name="T31" fmla="*/ 209 h 275"/>
                <a:gd name="T32" fmla="*/ 283 w 468"/>
                <a:gd name="T33" fmla="*/ 235 h 275"/>
                <a:gd name="T34" fmla="*/ 330 w 468"/>
                <a:gd name="T35" fmla="*/ 258 h 275"/>
                <a:gd name="T36" fmla="*/ 358 w 468"/>
                <a:gd name="T37" fmla="*/ 275 h 275"/>
                <a:gd name="T38" fmla="*/ 400 w 468"/>
                <a:gd name="T39" fmla="*/ 262 h 275"/>
                <a:gd name="T40" fmla="*/ 421 w 468"/>
                <a:gd name="T41" fmla="*/ 238 h 275"/>
                <a:gd name="T42" fmla="*/ 461 w 468"/>
                <a:gd name="T43" fmla="*/ 191 h 275"/>
                <a:gd name="T44" fmla="*/ 463 w 468"/>
                <a:gd name="T45" fmla="*/ 130 h 275"/>
                <a:gd name="T46" fmla="*/ 430 w 468"/>
                <a:gd name="T47" fmla="*/ 98 h 275"/>
                <a:gd name="T48" fmla="*/ 412 w 468"/>
                <a:gd name="T49" fmla="*/ 47 h 275"/>
                <a:gd name="T50" fmla="*/ 382 w 468"/>
                <a:gd name="T51" fmla="*/ 27 h 275"/>
                <a:gd name="T52" fmla="*/ 328 w 468"/>
                <a:gd name="T53" fmla="*/ 43 h 275"/>
                <a:gd name="T54" fmla="*/ 297 w 468"/>
                <a:gd name="T55" fmla="*/ 27 h 275"/>
                <a:gd name="T56" fmla="*/ 269 w 468"/>
                <a:gd name="T57" fmla="*/ 6 h 275"/>
                <a:gd name="T58" fmla="*/ 241 w 468"/>
                <a:gd name="T59" fmla="*/ 0 h 275"/>
                <a:gd name="T60" fmla="*/ 211 w 468"/>
                <a:gd name="T61" fmla="*/ 6 h 275"/>
                <a:gd name="T62" fmla="*/ 196 w 468"/>
                <a:gd name="T63" fmla="*/ 27 h 275"/>
                <a:gd name="T64" fmla="*/ 201 w 468"/>
                <a:gd name="T65" fmla="*/ 87 h 275"/>
                <a:gd name="T66" fmla="*/ 182 w 468"/>
                <a:gd name="T67" fmla="*/ 121 h 275"/>
                <a:gd name="T68" fmla="*/ 162 w 468"/>
                <a:gd name="T69" fmla="*/ 1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275">
                  <a:moveTo>
                    <a:pt x="138" y="108"/>
                  </a:moveTo>
                  <a:lnTo>
                    <a:pt x="115" y="93"/>
                  </a:lnTo>
                  <a:lnTo>
                    <a:pt x="110" y="74"/>
                  </a:lnTo>
                  <a:lnTo>
                    <a:pt x="105" y="56"/>
                  </a:lnTo>
                  <a:lnTo>
                    <a:pt x="93" y="37"/>
                  </a:lnTo>
                  <a:lnTo>
                    <a:pt x="74" y="37"/>
                  </a:lnTo>
                  <a:lnTo>
                    <a:pt x="60" y="46"/>
                  </a:lnTo>
                  <a:lnTo>
                    <a:pt x="41" y="66"/>
                  </a:lnTo>
                  <a:lnTo>
                    <a:pt x="19" y="114"/>
                  </a:lnTo>
                  <a:lnTo>
                    <a:pt x="21" y="127"/>
                  </a:lnTo>
                  <a:lnTo>
                    <a:pt x="21" y="140"/>
                  </a:lnTo>
                  <a:lnTo>
                    <a:pt x="16" y="148"/>
                  </a:lnTo>
                  <a:lnTo>
                    <a:pt x="7" y="158"/>
                  </a:lnTo>
                  <a:lnTo>
                    <a:pt x="0" y="170"/>
                  </a:lnTo>
                  <a:lnTo>
                    <a:pt x="5" y="182"/>
                  </a:lnTo>
                  <a:lnTo>
                    <a:pt x="5" y="212"/>
                  </a:lnTo>
                  <a:lnTo>
                    <a:pt x="8" y="235"/>
                  </a:lnTo>
                  <a:lnTo>
                    <a:pt x="19" y="241"/>
                  </a:lnTo>
                  <a:lnTo>
                    <a:pt x="38" y="232"/>
                  </a:lnTo>
                  <a:lnTo>
                    <a:pt x="60" y="217"/>
                  </a:lnTo>
                  <a:lnTo>
                    <a:pt x="70" y="207"/>
                  </a:lnTo>
                  <a:lnTo>
                    <a:pt x="88" y="212"/>
                  </a:lnTo>
                  <a:lnTo>
                    <a:pt x="107" y="217"/>
                  </a:lnTo>
                  <a:lnTo>
                    <a:pt x="124" y="222"/>
                  </a:lnTo>
                  <a:lnTo>
                    <a:pt x="135" y="228"/>
                  </a:lnTo>
                  <a:lnTo>
                    <a:pt x="159" y="212"/>
                  </a:lnTo>
                  <a:lnTo>
                    <a:pt x="170" y="212"/>
                  </a:lnTo>
                  <a:lnTo>
                    <a:pt x="182" y="219"/>
                  </a:lnTo>
                  <a:lnTo>
                    <a:pt x="198" y="225"/>
                  </a:lnTo>
                  <a:lnTo>
                    <a:pt x="212" y="212"/>
                  </a:lnTo>
                  <a:lnTo>
                    <a:pt x="234" y="207"/>
                  </a:lnTo>
                  <a:lnTo>
                    <a:pt x="248" y="209"/>
                  </a:lnTo>
                  <a:lnTo>
                    <a:pt x="259" y="232"/>
                  </a:lnTo>
                  <a:lnTo>
                    <a:pt x="283" y="235"/>
                  </a:lnTo>
                  <a:lnTo>
                    <a:pt x="311" y="232"/>
                  </a:lnTo>
                  <a:lnTo>
                    <a:pt x="330" y="258"/>
                  </a:lnTo>
                  <a:lnTo>
                    <a:pt x="344" y="272"/>
                  </a:lnTo>
                  <a:lnTo>
                    <a:pt x="358" y="275"/>
                  </a:lnTo>
                  <a:lnTo>
                    <a:pt x="379" y="265"/>
                  </a:lnTo>
                  <a:lnTo>
                    <a:pt x="400" y="262"/>
                  </a:lnTo>
                  <a:lnTo>
                    <a:pt x="414" y="251"/>
                  </a:lnTo>
                  <a:lnTo>
                    <a:pt x="421" y="238"/>
                  </a:lnTo>
                  <a:lnTo>
                    <a:pt x="447" y="207"/>
                  </a:lnTo>
                  <a:lnTo>
                    <a:pt x="461" y="191"/>
                  </a:lnTo>
                  <a:lnTo>
                    <a:pt x="468" y="167"/>
                  </a:lnTo>
                  <a:lnTo>
                    <a:pt x="463" y="130"/>
                  </a:lnTo>
                  <a:lnTo>
                    <a:pt x="452" y="121"/>
                  </a:lnTo>
                  <a:lnTo>
                    <a:pt x="430" y="98"/>
                  </a:lnTo>
                  <a:lnTo>
                    <a:pt x="421" y="74"/>
                  </a:lnTo>
                  <a:lnTo>
                    <a:pt x="412" y="47"/>
                  </a:lnTo>
                  <a:lnTo>
                    <a:pt x="393" y="29"/>
                  </a:lnTo>
                  <a:lnTo>
                    <a:pt x="382" y="27"/>
                  </a:lnTo>
                  <a:lnTo>
                    <a:pt x="344" y="29"/>
                  </a:lnTo>
                  <a:lnTo>
                    <a:pt x="328" y="43"/>
                  </a:lnTo>
                  <a:lnTo>
                    <a:pt x="316" y="47"/>
                  </a:lnTo>
                  <a:lnTo>
                    <a:pt x="297" y="27"/>
                  </a:lnTo>
                  <a:lnTo>
                    <a:pt x="281" y="19"/>
                  </a:lnTo>
                  <a:lnTo>
                    <a:pt x="269" y="6"/>
                  </a:lnTo>
                  <a:lnTo>
                    <a:pt x="262" y="3"/>
                  </a:lnTo>
                  <a:lnTo>
                    <a:pt x="241" y="0"/>
                  </a:lnTo>
                  <a:lnTo>
                    <a:pt x="225" y="6"/>
                  </a:lnTo>
                  <a:lnTo>
                    <a:pt x="211" y="6"/>
                  </a:lnTo>
                  <a:lnTo>
                    <a:pt x="203" y="13"/>
                  </a:lnTo>
                  <a:lnTo>
                    <a:pt x="196" y="27"/>
                  </a:lnTo>
                  <a:lnTo>
                    <a:pt x="196" y="56"/>
                  </a:lnTo>
                  <a:lnTo>
                    <a:pt x="201" y="87"/>
                  </a:lnTo>
                  <a:lnTo>
                    <a:pt x="201" y="101"/>
                  </a:lnTo>
                  <a:lnTo>
                    <a:pt x="182" y="121"/>
                  </a:lnTo>
                  <a:lnTo>
                    <a:pt x="170" y="133"/>
                  </a:lnTo>
                  <a:lnTo>
                    <a:pt x="162" y="120"/>
                  </a:lnTo>
                  <a:lnTo>
                    <a:pt x="138" y="108"/>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9" name="SK"/>
            <p:cNvSpPr>
              <a:spLocks noChangeAspect="1"/>
            </p:cNvSpPr>
            <p:nvPr/>
          </p:nvSpPr>
          <p:spPr bwMode="auto">
            <a:xfrm>
              <a:off x="6489700" y="4046538"/>
              <a:ext cx="658813" cy="266700"/>
            </a:xfrm>
            <a:custGeom>
              <a:avLst/>
              <a:gdLst>
                <a:gd name="T0" fmla="*/ 151 w 445"/>
                <a:gd name="T1" fmla="*/ 11 h 222"/>
                <a:gd name="T2" fmla="*/ 167 w 445"/>
                <a:gd name="T3" fmla="*/ 0 h 222"/>
                <a:gd name="T4" fmla="*/ 184 w 445"/>
                <a:gd name="T5" fmla="*/ 0 h 222"/>
                <a:gd name="T6" fmla="*/ 192 w 445"/>
                <a:gd name="T7" fmla="*/ 16 h 222"/>
                <a:gd name="T8" fmla="*/ 208 w 445"/>
                <a:gd name="T9" fmla="*/ 3 h 222"/>
                <a:gd name="T10" fmla="*/ 225 w 445"/>
                <a:gd name="T11" fmla="*/ 9 h 222"/>
                <a:gd name="T12" fmla="*/ 250 w 445"/>
                <a:gd name="T13" fmla="*/ 37 h 222"/>
                <a:gd name="T14" fmla="*/ 278 w 445"/>
                <a:gd name="T15" fmla="*/ 50 h 222"/>
                <a:gd name="T16" fmla="*/ 288 w 445"/>
                <a:gd name="T17" fmla="*/ 53 h 222"/>
                <a:gd name="T18" fmla="*/ 302 w 445"/>
                <a:gd name="T19" fmla="*/ 40 h 222"/>
                <a:gd name="T20" fmla="*/ 316 w 445"/>
                <a:gd name="T21" fmla="*/ 34 h 222"/>
                <a:gd name="T22" fmla="*/ 354 w 445"/>
                <a:gd name="T23" fmla="*/ 46 h 222"/>
                <a:gd name="T24" fmla="*/ 405 w 445"/>
                <a:gd name="T25" fmla="*/ 58 h 222"/>
                <a:gd name="T26" fmla="*/ 445 w 445"/>
                <a:gd name="T27" fmla="*/ 71 h 222"/>
                <a:gd name="T28" fmla="*/ 431 w 445"/>
                <a:gd name="T29" fmla="*/ 90 h 222"/>
                <a:gd name="T30" fmla="*/ 405 w 445"/>
                <a:gd name="T31" fmla="*/ 120 h 222"/>
                <a:gd name="T32" fmla="*/ 398 w 445"/>
                <a:gd name="T33" fmla="*/ 129 h 222"/>
                <a:gd name="T34" fmla="*/ 401 w 445"/>
                <a:gd name="T35" fmla="*/ 151 h 222"/>
                <a:gd name="T36" fmla="*/ 382 w 445"/>
                <a:gd name="T37" fmla="*/ 151 h 222"/>
                <a:gd name="T38" fmla="*/ 363 w 445"/>
                <a:gd name="T39" fmla="*/ 135 h 222"/>
                <a:gd name="T40" fmla="*/ 344 w 445"/>
                <a:gd name="T41" fmla="*/ 129 h 222"/>
                <a:gd name="T42" fmla="*/ 295 w 445"/>
                <a:gd name="T43" fmla="*/ 142 h 222"/>
                <a:gd name="T44" fmla="*/ 282 w 445"/>
                <a:gd name="T45" fmla="*/ 155 h 222"/>
                <a:gd name="T46" fmla="*/ 268 w 445"/>
                <a:gd name="T47" fmla="*/ 175 h 222"/>
                <a:gd name="T48" fmla="*/ 241 w 445"/>
                <a:gd name="T49" fmla="*/ 194 h 222"/>
                <a:gd name="T50" fmla="*/ 226 w 445"/>
                <a:gd name="T51" fmla="*/ 194 h 222"/>
                <a:gd name="T52" fmla="*/ 210 w 445"/>
                <a:gd name="T53" fmla="*/ 178 h 222"/>
                <a:gd name="T54" fmla="*/ 196 w 445"/>
                <a:gd name="T55" fmla="*/ 178 h 222"/>
                <a:gd name="T56" fmla="*/ 145 w 445"/>
                <a:gd name="T57" fmla="*/ 205 h 222"/>
                <a:gd name="T58" fmla="*/ 121 w 445"/>
                <a:gd name="T59" fmla="*/ 219 h 222"/>
                <a:gd name="T60" fmla="*/ 103 w 445"/>
                <a:gd name="T61" fmla="*/ 222 h 222"/>
                <a:gd name="T62" fmla="*/ 63 w 445"/>
                <a:gd name="T63" fmla="*/ 219 h 222"/>
                <a:gd name="T64" fmla="*/ 46 w 445"/>
                <a:gd name="T65" fmla="*/ 219 h 222"/>
                <a:gd name="T66" fmla="*/ 34 w 445"/>
                <a:gd name="T67" fmla="*/ 198 h 222"/>
                <a:gd name="T68" fmla="*/ 27 w 445"/>
                <a:gd name="T69" fmla="*/ 191 h 222"/>
                <a:gd name="T70" fmla="*/ 13 w 445"/>
                <a:gd name="T71" fmla="*/ 182 h 222"/>
                <a:gd name="T72" fmla="*/ 6 w 445"/>
                <a:gd name="T73" fmla="*/ 172 h 222"/>
                <a:gd name="T74" fmla="*/ 0 w 445"/>
                <a:gd name="T75" fmla="*/ 151 h 222"/>
                <a:gd name="T76" fmla="*/ 0 w 445"/>
                <a:gd name="T77" fmla="*/ 127 h 222"/>
                <a:gd name="T78" fmla="*/ 43 w 445"/>
                <a:gd name="T79" fmla="*/ 107 h 222"/>
                <a:gd name="T80" fmla="*/ 91 w 445"/>
                <a:gd name="T81" fmla="*/ 107 h 222"/>
                <a:gd name="T82" fmla="*/ 120 w 445"/>
                <a:gd name="T83" fmla="*/ 77 h 222"/>
                <a:gd name="T84" fmla="*/ 124 w 445"/>
                <a:gd name="T85" fmla="*/ 26 h 222"/>
                <a:gd name="T86" fmla="*/ 151 w 445"/>
                <a:gd name="T87" fmla="*/ 1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222">
                  <a:moveTo>
                    <a:pt x="151" y="11"/>
                  </a:moveTo>
                  <a:lnTo>
                    <a:pt x="167" y="0"/>
                  </a:lnTo>
                  <a:lnTo>
                    <a:pt x="184" y="0"/>
                  </a:lnTo>
                  <a:lnTo>
                    <a:pt x="192" y="16"/>
                  </a:lnTo>
                  <a:lnTo>
                    <a:pt x="208" y="3"/>
                  </a:lnTo>
                  <a:lnTo>
                    <a:pt x="225" y="9"/>
                  </a:lnTo>
                  <a:lnTo>
                    <a:pt x="250" y="37"/>
                  </a:lnTo>
                  <a:lnTo>
                    <a:pt x="278" y="50"/>
                  </a:lnTo>
                  <a:lnTo>
                    <a:pt x="288" y="53"/>
                  </a:lnTo>
                  <a:lnTo>
                    <a:pt x="302" y="40"/>
                  </a:lnTo>
                  <a:lnTo>
                    <a:pt x="316" y="34"/>
                  </a:lnTo>
                  <a:lnTo>
                    <a:pt x="354" y="46"/>
                  </a:lnTo>
                  <a:lnTo>
                    <a:pt x="405" y="58"/>
                  </a:lnTo>
                  <a:lnTo>
                    <a:pt x="445" y="71"/>
                  </a:lnTo>
                  <a:lnTo>
                    <a:pt x="431" y="90"/>
                  </a:lnTo>
                  <a:lnTo>
                    <a:pt x="405" y="120"/>
                  </a:lnTo>
                  <a:lnTo>
                    <a:pt x="398" y="129"/>
                  </a:lnTo>
                  <a:lnTo>
                    <a:pt x="401" y="151"/>
                  </a:lnTo>
                  <a:lnTo>
                    <a:pt x="382" y="151"/>
                  </a:lnTo>
                  <a:lnTo>
                    <a:pt x="363" y="135"/>
                  </a:lnTo>
                  <a:lnTo>
                    <a:pt x="344" y="129"/>
                  </a:lnTo>
                  <a:lnTo>
                    <a:pt x="295" y="142"/>
                  </a:lnTo>
                  <a:lnTo>
                    <a:pt x="282" y="155"/>
                  </a:lnTo>
                  <a:lnTo>
                    <a:pt x="268" y="175"/>
                  </a:lnTo>
                  <a:lnTo>
                    <a:pt x="241" y="194"/>
                  </a:lnTo>
                  <a:lnTo>
                    <a:pt x="226" y="194"/>
                  </a:lnTo>
                  <a:lnTo>
                    <a:pt x="210" y="178"/>
                  </a:lnTo>
                  <a:lnTo>
                    <a:pt x="196" y="178"/>
                  </a:lnTo>
                  <a:lnTo>
                    <a:pt x="145" y="205"/>
                  </a:lnTo>
                  <a:lnTo>
                    <a:pt x="121" y="219"/>
                  </a:lnTo>
                  <a:lnTo>
                    <a:pt x="103" y="222"/>
                  </a:lnTo>
                  <a:lnTo>
                    <a:pt x="63" y="219"/>
                  </a:lnTo>
                  <a:lnTo>
                    <a:pt x="46" y="219"/>
                  </a:lnTo>
                  <a:lnTo>
                    <a:pt x="34" y="198"/>
                  </a:lnTo>
                  <a:lnTo>
                    <a:pt x="27" y="191"/>
                  </a:lnTo>
                  <a:lnTo>
                    <a:pt x="13" y="182"/>
                  </a:lnTo>
                  <a:lnTo>
                    <a:pt x="6" y="172"/>
                  </a:lnTo>
                  <a:lnTo>
                    <a:pt x="0" y="151"/>
                  </a:lnTo>
                  <a:lnTo>
                    <a:pt x="0" y="127"/>
                  </a:lnTo>
                  <a:lnTo>
                    <a:pt x="43" y="107"/>
                  </a:lnTo>
                  <a:lnTo>
                    <a:pt x="91" y="107"/>
                  </a:lnTo>
                  <a:lnTo>
                    <a:pt x="120" y="77"/>
                  </a:lnTo>
                  <a:lnTo>
                    <a:pt x="124" y="26"/>
                  </a:lnTo>
                  <a:lnTo>
                    <a:pt x="151" y="1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0" name="xb"/>
            <p:cNvSpPr>
              <a:spLocks noChangeAspect="1"/>
            </p:cNvSpPr>
            <p:nvPr/>
          </p:nvSpPr>
          <p:spPr bwMode="auto">
            <a:xfrm>
              <a:off x="7581900" y="4206875"/>
              <a:ext cx="442913" cy="439738"/>
            </a:xfrm>
            <a:custGeom>
              <a:avLst/>
              <a:gdLst>
                <a:gd name="T0" fmla="*/ 153 w 285"/>
                <a:gd name="T1" fmla="*/ 355 h 355"/>
                <a:gd name="T2" fmla="*/ 136 w 285"/>
                <a:gd name="T3" fmla="*/ 335 h 355"/>
                <a:gd name="T4" fmla="*/ 133 w 285"/>
                <a:gd name="T5" fmla="*/ 288 h 355"/>
                <a:gd name="T6" fmla="*/ 115 w 285"/>
                <a:gd name="T7" fmla="*/ 254 h 355"/>
                <a:gd name="T8" fmla="*/ 114 w 285"/>
                <a:gd name="T9" fmla="*/ 224 h 355"/>
                <a:gd name="T10" fmla="*/ 119 w 285"/>
                <a:gd name="T11" fmla="*/ 202 h 355"/>
                <a:gd name="T12" fmla="*/ 104 w 285"/>
                <a:gd name="T13" fmla="*/ 171 h 355"/>
                <a:gd name="T14" fmla="*/ 85 w 285"/>
                <a:gd name="T15" fmla="*/ 147 h 355"/>
                <a:gd name="T16" fmla="*/ 77 w 285"/>
                <a:gd name="T17" fmla="*/ 121 h 355"/>
                <a:gd name="T18" fmla="*/ 73 w 285"/>
                <a:gd name="T19" fmla="*/ 104 h 355"/>
                <a:gd name="T20" fmla="*/ 50 w 285"/>
                <a:gd name="T21" fmla="*/ 87 h 355"/>
                <a:gd name="T22" fmla="*/ 38 w 285"/>
                <a:gd name="T23" fmla="*/ 64 h 355"/>
                <a:gd name="T24" fmla="*/ 24 w 285"/>
                <a:gd name="T25" fmla="*/ 39 h 355"/>
                <a:gd name="T26" fmla="*/ 0 w 285"/>
                <a:gd name="T27" fmla="*/ 22 h 355"/>
                <a:gd name="T28" fmla="*/ 38 w 285"/>
                <a:gd name="T29" fmla="*/ 0 h 355"/>
                <a:gd name="T30" fmla="*/ 68 w 285"/>
                <a:gd name="T31" fmla="*/ 5 h 355"/>
                <a:gd name="T32" fmla="*/ 87 w 285"/>
                <a:gd name="T33" fmla="*/ 9 h 355"/>
                <a:gd name="T34" fmla="*/ 136 w 285"/>
                <a:gd name="T35" fmla="*/ 49 h 355"/>
                <a:gd name="T36" fmla="*/ 148 w 285"/>
                <a:gd name="T37" fmla="*/ 56 h 355"/>
                <a:gd name="T38" fmla="*/ 183 w 285"/>
                <a:gd name="T39" fmla="*/ 64 h 355"/>
                <a:gd name="T40" fmla="*/ 205 w 285"/>
                <a:gd name="T41" fmla="*/ 99 h 355"/>
                <a:gd name="T42" fmla="*/ 195 w 285"/>
                <a:gd name="T43" fmla="*/ 124 h 355"/>
                <a:gd name="T44" fmla="*/ 209 w 285"/>
                <a:gd name="T45" fmla="*/ 158 h 355"/>
                <a:gd name="T46" fmla="*/ 243 w 285"/>
                <a:gd name="T47" fmla="*/ 184 h 355"/>
                <a:gd name="T48" fmla="*/ 256 w 285"/>
                <a:gd name="T49" fmla="*/ 205 h 355"/>
                <a:gd name="T50" fmla="*/ 277 w 285"/>
                <a:gd name="T51" fmla="*/ 214 h 355"/>
                <a:gd name="T52" fmla="*/ 285 w 285"/>
                <a:gd name="T53" fmla="*/ 215 h 355"/>
                <a:gd name="T54" fmla="*/ 271 w 285"/>
                <a:gd name="T55" fmla="*/ 227 h 355"/>
                <a:gd name="T56" fmla="*/ 235 w 285"/>
                <a:gd name="T57" fmla="*/ 227 h 355"/>
                <a:gd name="T58" fmla="*/ 205 w 285"/>
                <a:gd name="T59" fmla="*/ 224 h 355"/>
                <a:gd name="T60" fmla="*/ 191 w 285"/>
                <a:gd name="T61" fmla="*/ 231 h 355"/>
                <a:gd name="T62" fmla="*/ 195 w 285"/>
                <a:gd name="T63" fmla="*/ 269 h 355"/>
                <a:gd name="T64" fmla="*/ 190 w 285"/>
                <a:gd name="T65" fmla="*/ 299 h 355"/>
                <a:gd name="T66" fmla="*/ 159 w 285"/>
                <a:gd name="T67" fmla="*/ 335 h 355"/>
                <a:gd name="T68" fmla="*/ 153 w 285"/>
                <a:gd name="T6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55">
                  <a:moveTo>
                    <a:pt x="153" y="355"/>
                  </a:moveTo>
                  <a:lnTo>
                    <a:pt x="136" y="335"/>
                  </a:lnTo>
                  <a:lnTo>
                    <a:pt x="133" y="288"/>
                  </a:lnTo>
                  <a:lnTo>
                    <a:pt x="115" y="254"/>
                  </a:lnTo>
                  <a:lnTo>
                    <a:pt x="114" y="224"/>
                  </a:lnTo>
                  <a:lnTo>
                    <a:pt x="119" y="202"/>
                  </a:lnTo>
                  <a:lnTo>
                    <a:pt x="104" y="171"/>
                  </a:lnTo>
                  <a:lnTo>
                    <a:pt x="85" y="147"/>
                  </a:lnTo>
                  <a:lnTo>
                    <a:pt x="77" y="121"/>
                  </a:lnTo>
                  <a:lnTo>
                    <a:pt x="73" y="104"/>
                  </a:lnTo>
                  <a:lnTo>
                    <a:pt x="50" y="87"/>
                  </a:lnTo>
                  <a:lnTo>
                    <a:pt x="38" y="64"/>
                  </a:lnTo>
                  <a:lnTo>
                    <a:pt x="24" y="39"/>
                  </a:lnTo>
                  <a:lnTo>
                    <a:pt x="0" y="22"/>
                  </a:lnTo>
                  <a:lnTo>
                    <a:pt x="38" y="0"/>
                  </a:lnTo>
                  <a:lnTo>
                    <a:pt x="68" y="5"/>
                  </a:lnTo>
                  <a:lnTo>
                    <a:pt x="87" y="9"/>
                  </a:lnTo>
                  <a:lnTo>
                    <a:pt x="136" y="49"/>
                  </a:lnTo>
                  <a:lnTo>
                    <a:pt x="148" y="56"/>
                  </a:lnTo>
                  <a:lnTo>
                    <a:pt x="183" y="64"/>
                  </a:lnTo>
                  <a:lnTo>
                    <a:pt x="205" y="99"/>
                  </a:lnTo>
                  <a:lnTo>
                    <a:pt x="195" y="124"/>
                  </a:lnTo>
                  <a:lnTo>
                    <a:pt x="209" y="158"/>
                  </a:lnTo>
                  <a:lnTo>
                    <a:pt x="243" y="184"/>
                  </a:lnTo>
                  <a:lnTo>
                    <a:pt x="256" y="205"/>
                  </a:lnTo>
                  <a:lnTo>
                    <a:pt x="277" y="214"/>
                  </a:lnTo>
                  <a:lnTo>
                    <a:pt x="285" y="215"/>
                  </a:lnTo>
                  <a:lnTo>
                    <a:pt x="271" y="227"/>
                  </a:lnTo>
                  <a:lnTo>
                    <a:pt x="235" y="227"/>
                  </a:lnTo>
                  <a:lnTo>
                    <a:pt x="205" y="224"/>
                  </a:lnTo>
                  <a:lnTo>
                    <a:pt x="191" y="231"/>
                  </a:lnTo>
                  <a:lnTo>
                    <a:pt x="195" y="269"/>
                  </a:lnTo>
                  <a:lnTo>
                    <a:pt x="190" y="299"/>
                  </a:lnTo>
                  <a:lnTo>
                    <a:pt x="159" y="335"/>
                  </a:lnTo>
                  <a:lnTo>
                    <a:pt x="153" y="355"/>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41" name="xx"/>
            <p:cNvGrpSpPr/>
            <p:nvPr/>
          </p:nvGrpSpPr>
          <p:grpSpPr>
            <a:xfrm>
              <a:off x="5729208" y="2794006"/>
              <a:ext cx="272411" cy="405364"/>
              <a:chOff x="2681289" y="3112181"/>
              <a:chExt cx="272411" cy="405364"/>
            </a:xfrm>
            <a:solidFill>
              <a:schemeClr val="bg1">
                <a:lumMod val="95000"/>
              </a:schemeClr>
            </a:solidFill>
            <a:effectLst/>
          </p:grpSpPr>
          <p:sp>
            <p:nvSpPr>
              <p:cNvPr id="59" name="Freeform 531"/>
              <p:cNvSpPr>
                <a:spLocks noChangeAspect="1"/>
              </p:cNvSpPr>
              <p:nvPr/>
            </p:nvSpPr>
            <p:spPr bwMode="auto">
              <a:xfrm>
                <a:off x="2681289" y="3211098"/>
                <a:ext cx="272411" cy="306447"/>
              </a:xfrm>
              <a:custGeom>
                <a:avLst/>
                <a:gdLst>
                  <a:gd name="T0" fmla="*/ 14 w 183"/>
                  <a:gd name="T1" fmla="*/ 216 h 253"/>
                  <a:gd name="T2" fmla="*/ 24 w 183"/>
                  <a:gd name="T3" fmla="*/ 234 h 253"/>
                  <a:gd name="T4" fmla="*/ 44 w 183"/>
                  <a:gd name="T5" fmla="*/ 234 h 253"/>
                  <a:gd name="T6" fmla="*/ 63 w 183"/>
                  <a:gd name="T7" fmla="*/ 240 h 253"/>
                  <a:gd name="T8" fmla="*/ 77 w 183"/>
                  <a:gd name="T9" fmla="*/ 253 h 253"/>
                  <a:gd name="T10" fmla="*/ 92 w 183"/>
                  <a:gd name="T11" fmla="*/ 253 h 253"/>
                  <a:gd name="T12" fmla="*/ 82 w 183"/>
                  <a:gd name="T13" fmla="*/ 237 h 253"/>
                  <a:gd name="T14" fmla="*/ 90 w 183"/>
                  <a:gd name="T15" fmla="*/ 216 h 253"/>
                  <a:gd name="T16" fmla="*/ 98 w 183"/>
                  <a:gd name="T17" fmla="*/ 192 h 253"/>
                  <a:gd name="T18" fmla="*/ 103 w 183"/>
                  <a:gd name="T19" fmla="*/ 166 h 253"/>
                  <a:gd name="T20" fmla="*/ 125 w 183"/>
                  <a:gd name="T21" fmla="*/ 150 h 253"/>
                  <a:gd name="T22" fmla="*/ 143 w 183"/>
                  <a:gd name="T23" fmla="*/ 139 h 253"/>
                  <a:gd name="T24" fmla="*/ 141 w 183"/>
                  <a:gd name="T25" fmla="*/ 123 h 253"/>
                  <a:gd name="T26" fmla="*/ 141 w 183"/>
                  <a:gd name="T27" fmla="*/ 98 h 253"/>
                  <a:gd name="T28" fmla="*/ 145 w 183"/>
                  <a:gd name="T29" fmla="*/ 86 h 253"/>
                  <a:gd name="T30" fmla="*/ 162 w 183"/>
                  <a:gd name="T31" fmla="*/ 83 h 253"/>
                  <a:gd name="T32" fmla="*/ 169 w 183"/>
                  <a:gd name="T33" fmla="*/ 89 h 253"/>
                  <a:gd name="T34" fmla="*/ 183 w 183"/>
                  <a:gd name="T35" fmla="*/ 71 h 253"/>
                  <a:gd name="T36" fmla="*/ 178 w 183"/>
                  <a:gd name="T37" fmla="*/ 55 h 253"/>
                  <a:gd name="T38" fmla="*/ 169 w 183"/>
                  <a:gd name="T39" fmla="*/ 52 h 253"/>
                  <a:gd name="T40" fmla="*/ 153 w 183"/>
                  <a:gd name="T41" fmla="*/ 52 h 253"/>
                  <a:gd name="T42" fmla="*/ 145 w 183"/>
                  <a:gd name="T43" fmla="*/ 52 h 253"/>
                  <a:gd name="T44" fmla="*/ 141 w 183"/>
                  <a:gd name="T45" fmla="*/ 28 h 253"/>
                  <a:gd name="T46" fmla="*/ 143 w 183"/>
                  <a:gd name="T47" fmla="*/ 5 h 253"/>
                  <a:gd name="T48" fmla="*/ 131 w 183"/>
                  <a:gd name="T49" fmla="*/ 0 h 253"/>
                  <a:gd name="T50" fmla="*/ 126 w 183"/>
                  <a:gd name="T51" fmla="*/ 8 h 253"/>
                  <a:gd name="T52" fmla="*/ 98 w 183"/>
                  <a:gd name="T53" fmla="*/ 2 h 253"/>
                  <a:gd name="T54" fmla="*/ 92 w 183"/>
                  <a:gd name="T55" fmla="*/ 9 h 253"/>
                  <a:gd name="T56" fmla="*/ 98 w 183"/>
                  <a:gd name="T57" fmla="*/ 31 h 253"/>
                  <a:gd name="T58" fmla="*/ 96 w 183"/>
                  <a:gd name="T59" fmla="*/ 52 h 253"/>
                  <a:gd name="T60" fmla="*/ 84 w 183"/>
                  <a:gd name="T61" fmla="*/ 37 h 253"/>
                  <a:gd name="T62" fmla="*/ 79 w 183"/>
                  <a:gd name="T63" fmla="*/ 24 h 253"/>
                  <a:gd name="T64" fmla="*/ 63 w 183"/>
                  <a:gd name="T65" fmla="*/ 27 h 253"/>
                  <a:gd name="T66" fmla="*/ 57 w 183"/>
                  <a:gd name="T67" fmla="*/ 39 h 253"/>
                  <a:gd name="T68" fmla="*/ 52 w 183"/>
                  <a:gd name="T69" fmla="*/ 45 h 253"/>
                  <a:gd name="T70" fmla="*/ 52 w 183"/>
                  <a:gd name="T71" fmla="*/ 64 h 253"/>
                  <a:gd name="T72" fmla="*/ 49 w 183"/>
                  <a:gd name="T73" fmla="*/ 61 h 253"/>
                  <a:gd name="T74" fmla="*/ 35 w 183"/>
                  <a:gd name="T75" fmla="*/ 37 h 253"/>
                  <a:gd name="T76" fmla="*/ 27 w 183"/>
                  <a:gd name="T77" fmla="*/ 28 h 253"/>
                  <a:gd name="T78" fmla="*/ 19 w 183"/>
                  <a:gd name="T79" fmla="*/ 34 h 253"/>
                  <a:gd name="T80" fmla="*/ 21 w 183"/>
                  <a:gd name="T81" fmla="*/ 46 h 253"/>
                  <a:gd name="T82" fmla="*/ 21 w 183"/>
                  <a:gd name="T83" fmla="*/ 55 h 253"/>
                  <a:gd name="T84" fmla="*/ 8 w 183"/>
                  <a:gd name="T85" fmla="*/ 61 h 253"/>
                  <a:gd name="T86" fmla="*/ 8 w 183"/>
                  <a:gd name="T87" fmla="*/ 79 h 253"/>
                  <a:gd name="T88" fmla="*/ 19 w 183"/>
                  <a:gd name="T89" fmla="*/ 98 h 253"/>
                  <a:gd name="T90" fmla="*/ 19 w 183"/>
                  <a:gd name="T91" fmla="*/ 110 h 253"/>
                  <a:gd name="T92" fmla="*/ 14 w 183"/>
                  <a:gd name="T93" fmla="*/ 123 h 253"/>
                  <a:gd name="T94" fmla="*/ 0 w 183"/>
                  <a:gd name="T95" fmla="*/ 136 h 253"/>
                  <a:gd name="T96" fmla="*/ 2 w 183"/>
                  <a:gd name="T97" fmla="*/ 150 h 253"/>
                  <a:gd name="T98" fmla="*/ 16 w 183"/>
                  <a:gd name="T99" fmla="*/ 163 h 253"/>
                  <a:gd name="T100" fmla="*/ 21 w 183"/>
                  <a:gd name="T101" fmla="*/ 176 h 253"/>
                  <a:gd name="T102" fmla="*/ 19 w 183"/>
                  <a:gd name="T103" fmla="*/ 200 h 253"/>
                  <a:gd name="T104" fmla="*/ 14 w 183"/>
                  <a:gd name="T105"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253">
                    <a:moveTo>
                      <a:pt x="14" y="216"/>
                    </a:moveTo>
                    <a:lnTo>
                      <a:pt x="24" y="234"/>
                    </a:lnTo>
                    <a:lnTo>
                      <a:pt x="44" y="234"/>
                    </a:lnTo>
                    <a:lnTo>
                      <a:pt x="63" y="240"/>
                    </a:lnTo>
                    <a:lnTo>
                      <a:pt x="77" y="253"/>
                    </a:lnTo>
                    <a:lnTo>
                      <a:pt x="92" y="253"/>
                    </a:lnTo>
                    <a:lnTo>
                      <a:pt x="82" y="237"/>
                    </a:lnTo>
                    <a:lnTo>
                      <a:pt x="90" y="216"/>
                    </a:lnTo>
                    <a:lnTo>
                      <a:pt x="98" y="192"/>
                    </a:lnTo>
                    <a:lnTo>
                      <a:pt x="103" y="166"/>
                    </a:lnTo>
                    <a:lnTo>
                      <a:pt x="125" y="150"/>
                    </a:lnTo>
                    <a:lnTo>
                      <a:pt x="143" y="139"/>
                    </a:lnTo>
                    <a:lnTo>
                      <a:pt x="141" y="123"/>
                    </a:lnTo>
                    <a:lnTo>
                      <a:pt x="141" y="98"/>
                    </a:lnTo>
                    <a:lnTo>
                      <a:pt x="145" y="86"/>
                    </a:lnTo>
                    <a:lnTo>
                      <a:pt x="162" y="83"/>
                    </a:lnTo>
                    <a:lnTo>
                      <a:pt x="169" y="89"/>
                    </a:lnTo>
                    <a:lnTo>
                      <a:pt x="183" y="71"/>
                    </a:lnTo>
                    <a:lnTo>
                      <a:pt x="178" y="55"/>
                    </a:lnTo>
                    <a:lnTo>
                      <a:pt x="169" y="52"/>
                    </a:lnTo>
                    <a:lnTo>
                      <a:pt x="153" y="52"/>
                    </a:lnTo>
                    <a:lnTo>
                      <a:pt x="145" y="52"/>
                    </a:lnTo>
                    <a:lnTo>
                      <a:pt x="141" y="28"/>
                    </a:lnTo>
                    <a:lnTo>
                      <a:pt x="143" y="5"/>
                    </a:lnTo>
                    <a:lnTo>
                      <a:pt x="131" y="0"/>
                    </a:lnTo>
                    <a:lnTo>
                      <a:pt x="126" y="8"/>
                    </a:lnTo>
                    <a:lnTo>
                      <a:pt x="98" y="2"/>
                    </a:lnTo>
                    <a:lnTo>
                      <a:pt x="92" y="9"/>
                    </a:lnTo>
                    <a:lnTo>
                      <a:pt x="98" y="31"/>
                    </a:lnTo>
                    <a:lnTo>
                      <a:pt x="96" y="52"/>
                    </a:lnTo>
                    <a:lnTo>
                      <a:pt x="84" y="37"/>
                    </a:lnTo>
                    <a:lnTo>
                      <a:pt x="79" y="24"/>
                    </a:lnTo>
                    <a:lnTo>
                      <a:pt x="63" y="27"/>
                    </a:lnTo>
                    <a:lnTo>
                      <a:pt x="57" y="39"/>
                    </a:lnTo>
                    <a:lnTo>
                      <a:pt x="52" y="45"/>
                    </a:lnTo>
                    <a:lnTo>
                      <a:pt x="52" y="64"/>
                    </a:lnTo>
                    <a:lnTo>
                      <a:pt x="49" y="61"/>
                    </a:lnTo>
                    <a:lnTo>
                      <a:pt x="35" y="37"/>
                    </a:lnTo>
                    <a:lnTo>
                      <a:pt x="27" y="28"/>
                    </a:lnTo>
                    <a:lnTo>
                      <a:pt x="19" y="34"/>
                    </a:lnTo>
                    <a:lnTo>
                      <a:pt x="21" y="46"/>
                    </a:lnTo>
                    <a:lnTo>
                      <a:pt x="21" y="55"/>
                    </a:lnTo>
                    <a:lnTo>
                      <a:pt x="8" y="61"/>
                    </a:lnTo>
                    <a:lnTo>
                      <a:pt x="8" y="79"/>
                    </a:lnTo>
                    <a:lnTo>
                      <a:pt x="19" y="98"/>
                    </a:lnTo>
                    <a:lnTo>
                      <a:pt x="19" y="110"/>
                    </a:lnTo>
                    <a:lnTo>
                      <a:pt x="14" y="123"/>
                    </a:lnTo>
                    <a:lnTo>
                      <a:pt x="0" y="136"/>
                    </a:lnTo>
                    <a:lnTo>
                      <a:pt x="2" y="150"/>
                    </a:lnTo>
                    <a:lnTo>
                      <a:pt x="16" y="163"/>
                    </a:lnTo>
                    <a:lnTo>
                      <a:pt x="21" y="176"/>
                    </a:lnTo>
                    <a:lnTo>
                      <a:pt x="19" y="200"/>
                    </a:lnTo>
                    <a:lnTo>
                      <a:pt x="14" y="2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0" name="Freeform 532"/>
              <p:cNvSpPr>
                <a:spLocks noChangeAspect="1"/>
              </p:cNvSpPr>
              <p:nvPr/>
            </p:nvSpPr>
            <p:spPr bwMode="auto">
              <a:xfrm>
                <a:off x="2705261" y="3112181"/>
                <a:ext cx="202674" cy="118312"/>
              </a:xfrm>
              <a:custGeom>
                <a:avLst/>
                <a:gdLst>
                  <a:gd name="T0" fmla="*/ 0 w 138"/>
                  <a:gd name="T1" fmla="*/ 94 h 97"/>
                  <a:gd name="T2" fmla="*/ 11 w 138"/>
                  <a:gd name="T3" fmla="*/ 97 h 97"/>
                  <a:gd name="T4" fmla="*/ 25 w 138"/>
                  <a:gd name="T5" fmla="*/ 86 h 97"/>
                  <a:gd name="T6" fmla="*/ 39 w 138"/>
                  <a:gd name="T7" fmla="*/ 67 h 97"/>
                  <a:gd name="T8" fmla="*/ 77 w 138"/>
                  <a:gd name="T9" fmla="*/ 67 h 97"/>
                  <a:gd name="T10" fmla="*/ 110 w 138"/>
                  <a:gd name="T11" fmla="*/ 60 h 97"/>
                  <a:gd name="T12" fmla="*/ 129 w 138"/>
                  <a:gd name="T13" fmla="*/ 43 h 97"/>
                  <a:gd name="T14" fmla="*/ 135 w 138"/>
                  <a:gd name="T15" fmla="*/ 22 h 97"/>
                  <a:gd name="T16" fmla="*/ 138 w 138"/>
                  <a:gd name="T17" fmla="*/ 0 h 97"/>
                  <a:gd name="T18" fmla="*/ 112 w 138"/>
                  <a:gd name="T19" fmla="*/ 13 h 97"/>
                  <a:gd name="T20" fmla="*/ 65 w 138"/>
                  <a:gd name="T21" fmla="*/ 37 h 97"/>
                  <a:gd name="T22" fmla="*/ 53 w 138"/>
                  <a:gd name="T23" fmla="*/ 40 h 97"/>
                  <a:gd name="T24" fmla="*/ 39 w 138"/>
                  <a:gd name="T25" fmla="*/ 52 h 97"/>
                  <a:gd name="T26" fmla="*/ 11 w 138"/>
                  <a:gd name="T27" fmla="*/ 57 h 97"/>
                  <a:gd name="T28" fmla="*/ 0 w 138"/>
                  <a:gd name="T29" fmla="*/ 64 h 97"/>
                  <a:gd name="T30" fmla="*/ 0 w 138"/>
                  <a:gd name="T3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97">
                    <a:moveTo>
                      <a:pt x="0" y="94"/>
                    </a:moveTo>
                    <a:lnTo>
                      <a:pt x="11" y="97"/>
                    </a:lnTo>
                    <a:lnTo>
                      <a:pt x="25" y="86"/>
                    </a:lnTo>
                    <a:lnTo>
                      <a:pt x="39" y="67"/>
                    </a:lnTo>
                    <a:lnTo>
                      <a:pt x="77" y="67"/>
                    </a:lnTo>
                    <a:lnTo>
                      <a:pt x="110" y="60"/>
                    </a:lnTo>
                    <a:lnTo>
                      <a:pt x="129" y="43"/>
                    </a:lnTo>
                    <a:lnTo>
                      <a:pt x="135" y="22"/>
                    </a:lnTo>
                    <a:lnTo>
                      <a:pt x="138" y="0"/>
                    </a:lnTo>
                    <a:lnTo>
                      <a:pt x="112" y="13"/>
                    </a:lnTo>
                    <a:lnTo>
                      <a:pt x="65" y="37"/>
                    </a:lnTo>
                    <a:lnTo>
                      <a:pt x="53" y="40"/>
                    </a:lnTo>
                    <a:lnTo>
                      <a:pt x="39" y="52"/>
                    </a:lnTo>
                    <a:lnTo>
                      <a:pt x="11" y="57"/>
                    </a:lnTo>
                    <a:lnTo>
                      <a:pt x="0" y="64"/>
                    </a:lnTo>
                    <a:lnTo>
                      <a:pt x="0" y="9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42" name="DD"/>
            <p:cNvGrpSpPr/>
            <p:nvPr/>
          </p:nvGrpSpPr>
          <p:grpSpPr>
            <a:xfrm>
              <a:off x="5882872" y="3020383"/>
              <a:ext cx="224686" cy="228283"/>
              <a:chOff x="2834953" y="3338558"/>
              <a:chExt cx="224686" cy="228283"/>
            </a:xfrm>
            <a:solidFill>
              <a:schemeClr val="bg1">
                <a:lumMod val="95000"/>
              </a:schemeClr>
            </a:solidFill>
            <a:effectLst/>
          </p:grpSpPr>
          <p:sp>
            <p:nvSpPr>
              <p:cNvPr id="56" name="Freeform 528"/>
              <p:cNvSpPr>
                <a:spLocks noChangeAspect="1"/>
              </p:cNvSpPr>
              <p:nvPr/>
            </p:nvSpPr>
            <p:spPr bwMode="auto">
              <a:xfrm>
                <a:off x="2834953" y="3388403"/>
                <a:ext cx="89351" cy="96977"/>
              </a:xfrm>
              <a:custGeom>
                <a:avLst/>
                <a:gdLst>
                  <a:gd name="T0" fmla="*/ 19 w 59"/>
                  <a:gd name="T1" fmla="*/ 0 h 80"/>
                  <a:gd name="T2" fmla="*/ 57 w 59"/>
                  <a:gd name="T3" fmla="*/ 27 h 80"/>
                  <a:gd name="T4" fmla="*/ 59 w 59"/>
                  <a:gd name="T5" fmla="*/ 40 h 80"/>
                  <a:gd name="T6" fmla="*/ 45 w 59"/>
                  <a:gd name="T7" fmla="*/ 55 h 80"/>
                  <a:gd name="T8" fmla="*/ 32 w 59"/>
                  <a:gd name="T9" fmla="*/ 67 h 80"/>
                  <a:gd name="T10" fmla="*/ 35 w 59"/>
                  <a:gd name="T11" fmla="*/ 80 h 80"/>
                  <a:gd name="T12" fmla="*/ 19 w 59"/>
                  <a:gd name="T13" fmla="*/ 77 h 80"/>
                  <a:gd name="T14" fmla="*/ 2 w 59"/>
                  <a:gd name="T15" fmla="*/ 55 h 80"/>
                  <a:gd name="T16" fmla="*/ 0 w 59"/>
                  <a:gd name="T17" fmla="*/ 40 h 80"/>
                  <a:gd name="T18" fmla="*/ 7 w 59"/>
                  <a:gd name="T19" fmla="*/ 23 h 80"/>
                  <a:gd name="T20" fmla="*/ 19 w 59"/>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19" y="0"/>
                    </a:moveTo>
                    <a:lnTo>
                      <a:pt x="57" y="27"/>
                    </a:lnTo>
                    <a:lnTo>
                      <a:pt x="59" y="40"/>
                    </a:lnTo>
                    <a:lnTo>
                      <a:pt x="45" y="55"/>
                    </a:lnTo>
                    <a:lnTo>
                      <a:pt x="32" y="67"/>
                    </a:lnTo>
                    <a:lnTo>
                      <a:pt x="35" y="80"/>
                    </a:lnTo>
                    <a:lnTo>
                      <a:pt x="19" y="77"/>
                    </a:lnTo>
                    <a:lnTo>
                      <a:pt x="2" y="55"/>
                    </a:lnTo>
                    <a:lnTo>
                      <a:pt x="0" y="40"/>
                    </a:lnTo>
                    <a:lnTo>
                      <a:pt x="7" y="23"/>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7" name="Freeform 529"/>
              <p:cNvSpPr>
                <a:spLocks noChangeAspect="1"/>
              </p:cNvSpPr>
              <p:nvPr/>
            </p:nvSpPr>
            <p:spPr bwMode="auto">
              <a:xfrm>
                <a:off x="2885728" y="3338558"/>
                <a:ext cx="173911" cy="198220"/>
              </a:xfrm>
              <a:custGeom>
                <a:avLst/>
                <a:gdLst>
                  <a:gd name="T0" fmla="*/ 83 w 88"/>
                  <a:gd name="T1" fmla="*/ 0 h 117"/>
                  <a:gd name="T2" fmla="*/ 88 w 88"/>
                  <a:gd name="T3" fmla="*/ 6 h 117"/>
                  <a:gd name="T4" fmla="*/ 83 w 88"/>
                  <a:gd name="T5" fmla="*/ 13 h 117"/>
                  <a:gd name="T6" fmla="*/ 88 w 88"/>
                  <a:gd name="T7" fmla="*/ 26 h 117"/>
                  <a:gd name="T8" fmla="*/ 81 w 88"/>
                  <a:gd name="T9" fmla="*/ 41 h 117"/>
                  <a:gd name="T10" fmla="*/ 69 w 88"/>
                  <a:gd name="T11" fmla="*/ 51 h 117"/>
                  <a:gd name="T12" fmla="*/ 74 w 88"/>
                  <a:gd name="T13" fmla="*/ 64 h 117"/>
                  <a:gd name="T14" fmla="*/ 69 w 88"/>
                  <a:gd name="T15" fmla="*/ 75 h 117"/>
                  <a:gd name="T16" fmla="*/ 74 w 88"/>
                  <a:gd name="T17" fmla="*/ 88 h 117"/>
                  <a:gd name="T18" fmla="*/ 57 w 88"/>
                  <a:gd name="T19" fmla="*/ 117 h 117"/>
                  <a:gd name="T20" fmla="*/ 20 w 88"/>
                  <a:gd name="T21" fmla="*/ 88 h 117"/>
                  <a:gd name="T22" fmla="*/ 0 w 88"/>
                  <a:gd name="T23" fmla="*/ 73 h 117"/>
                  <a:gd name="T24" fmla="*/ 12 w 88"/>
                  <a:gd name="T25" fmla="*/ 64 h 117"/>
                  <a:gd name="T26" fmla="*/ 12 w 88"/>
                  <a:gd name="T27" fmla="*/ 46 h 117"/>
                  <a:gd name="T28" fmla="*/ 34 w 88"/>
                  <a:gd name="T29" fmla="*/ 31 h 117"/>
                  <a:gd name="T30" fmla="*/ 46 w 88"/>
                  <a:gd name="T31" fmla="*/ 37 h 117"/>
                  <a:gd name="T32" fmla="*/ 57 w 88"/>
                  <a:gd name="T33" fmla="*/ 31 h 117"/>
                  <a:gd name="T34" fmla="*/ 76 w 88"/>
                  <a:gd name="T35" fmla="*/ 16 h 117"/>
                  <a:gd name="T36" fmla="*/ 83 w 88"/>
                  <a:gd name="T3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17">
                    <a:moveTo>
                      <a:pt x="83" y="0"/>
                    </a:moveTo>
                    <a:lnTo>
                      <a:pt x="88" y="6"/>
                    </a:lnTo>
                    <a:lnTo>
                      <a:pt x="83" y="13"/>
                    </a:lnTo>
                    <a:lnTo>
                      <a:pt x="88" y="26"/>
                    </a:lnTo>
                    <a:lnTo>
                      <a:pt x="81" y="41"/>
                    </a:lnTo>
                    <a:lnTo>
                      <a:pt x="69" y="51"/>
                    </a:lnTo>
                    <a:lnTo>
                      <a:pt x="74" y="64"/>
                    </a:lnTo>
                    <a:lnTo>
                      <a:pt x="69" y="75"/>
                    </a:lnTo>
                    <a:lnTo>
                      <a:pt x="74" y="88"/>
                    </a:lnTo>
                    <a:lnTo>
                      <a:pt x="57" y="117"/>
                    </a:lnTo>
                    <a:lnTo>
                      <a:pt x="20" y="88"/>
                    </a:lnTo>
                    <a:lnTo>
                      <a:pt x="0" y="73"/>
                    </a:lnTo>
                    <a:lnTo>
                      <a:pt x="12" y="64"/>
                    </a:lnTo>
                    <a:lnTo>
                      <a:pt x="12" y="46"/>
                    </a:lnTo>
                    <a:lnTo>
                      <a:pt x="34" y="31"/>
                    </a:lnTo>
                    <a:lnTo>
                      <a:pt x="46" y="37"/>
                    </a:lnTo>
                    <a:lnTo>
                      <a:pt x="57" y="31"/>
                    </a:lnTo>
                    <a:lnTo>
                      <a:pt x="76" y="16"/>
                    </a:lnTo>
                    <a:lnTo>
                      <a:pt x="8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8" name="Freeform 530"/>
              <p:cNvSpPr>
                <a:spLocks noChangeAspect="1"/>
              </p:cNvSpPr>
              <p:nvPr/>
            </p:nvSpPr>
            <p:spPr bwMode="auto">
              <a:xfrm>
                <a:off x="2924304" y="3506715"/>
                <a:ext cx="52303" cy="60126"/>
              </a:xfrm>
              <a:custGeom>
                <a:avLst/>
                <a:gdLst>
                  <a:gd name="T0" fmla="*/ 0 w 35"/>
                  <a:gd name="T1" fmla="*/ 0 h 50"/>
                  <a:gd name="T2" fmla="*/ 24 w 35"/>
                  <a:gd name="T3" fmla="*/ 9 h 50"/>
                  <a:gd name="T4" fmla="*/ 33 w 35"/>
                  <a:gd name="T5" fmla="*/ 21 h 50"/>
                  <a:gd name="T6" fmla="*/ 35 w 35"/>
                  <a:gd name="T7" fmla="*/ 40 h 50"/>
                  <a:gd name="T8" fmla="*/ 24 w 35"/>
                  <a:gd name="T9" fmla="*/ 50 h 50"/>
                  <a:gd name="T10" fmla="*/ 6 w 35"/>
                  <a:gd name="T11" fmla="*/ 41 h 50"/>
                  <a:gd name="T12" fmla="*/ 2 w 35"/>
                  <a:gd name="T13" fmla="*/ 28 h 50"/>
                  <a:gd name="T14" fmla="*/ 0 w 35"/>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0">
                    <a:moveTo>
                      <a:pt x="0" y="0"/>
                    </a:moveTo>
                    <a:lnTo>
                      <a:pt x="24" y="9"/>
                    </a:lnTo>
                    <a:lnTo>
                      <a:pt x="33" y="21"/>
                    </a:lnTo>
                    <a:lnTo>
                      <a:pt x="35" y="40"/>
                    </a:lnTo>
                    <a:lnTo>
                      <a:pt x="24" y="50"/>
                    </a:lnTo>
                    <a:lnTo>
                      <a:pt x="6" y="41"/>
                    </a:lnTo>
                    <a:lnTo>
                      <a:pt x="2" y="28"/>
                    </a:lnTo>
                    <a:lnTo>
                      <a:pt x="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43" name="IS"/>
            <p:cNvSpPr>
              <a:spLocks/>
            </p:cNvSpPr>
            <p:nvPr/>
          </p:nvSpPr>
          <p:spPr bwMode="auto">
            <a:xfrm>
              <a:off x="3940175" y="1368425"/>
              <a:ext cx="536575" cy="450850"/>
            </a:xfrm>
            <a:custGeom>
              <a:avLst/>
              <a:gdLst>
                <a:gd name="T0" fmla="*/ 101 w 590"/>
                <a:gd name="T1" fmla="*/ 320 h 424"/>
                <a:gd name="T2" fmla="*/ 135 w 590"/>
                <a:gd name="T3" fmla="*/ 384 h 424"/>
                <a:gd name="T4" fmla="*/ 202 w 590"/>
                <a:gd name="T5" fmla="*/ 424 h 424"/>
                <a:gd name="T6" fmla="*/ 253 w 590"/>
                <a:gd name="T7" fmla="*/ 424 h 424"/>
                <a:gd name="T8" fmla="*/ 287 w 590"/>
                <a:gd name="T9" fmla="*/ 416 h 424"/>
                <a:gd name="T10" fmla="*/ 346 w 590"/>
                <a:gd name="T11" fmla="*/ 424 h 424"/>
                <a:gd name="T12" fmla="*/ 430 w 590"/>
                <a:gd name="T13" fmla="*/ 392 h 424"/>
                <a:gd name="T14" fmla="*/ 463 w 590"/>
                <a:gd name="T15" fmla="*/ 400 h 424"/>
                <a:gd name="T16" fmla="*/ 506 w 590"/>
                <a:gd name="T17" fmla="*/ 376 h 424"/>
                <a:gd name="T18" fmla="*/ 556 w 590"/>
                <a:gd name="T19" fmla="*/ 352 h 424"/>
                <a:gd name="T20" fmla="*/ 590 w 590"/>
                <a:gd name="T21" fmla="*/ 272 h 424"/>
                <a:gd name="T22" fmla="*/ 565 w 590"/>
                <a:gd name="T23" fmla="*/ 256 h 424"/>
                <a:gd name="T24" fmla="*/ 556 w 590"/>
                <a:gd name="T25" fmla="*/ 224 h 424"/>
                <a:gd name="T26" fmla="*/ 565 w 590"/>
                <a:gd name="T27" fmla="*/ 192 h 424"/>
                <a:gd name="T28" fmla="*/ 573 w 590"/>
                <a:gd name="T29" fmla="*/ 160 h 424"/>
                <a:gd name="T30" fmla="*/ 531 w 590"/>
                <a:gd name="T31" fmla="*/ 160 h 424"/>
                <a:gd name="T32" fmla="*/ 506 w 590"/>
                <a:gd name="T33" fmla="*/ 120 h 424"/>
                <a:gd name="T34" fmla="*/ 480 w 590"/>
                <a:gd name="T35" fmla="*/ 144 h 424"/>
                <a:gd name="T36" fmla="*/ 472 w 590"/>
                <a:gd name="T37" fmla="*/ 160 h 424"/>
                <a:gd name="T38" fmla="*/ 447 w 590"/>
                <a:gd name="T39" fmla="*/ 152 h 424"/>
                <a:gd name="T40" fmla="*/ 413 w 590"/>
                <a:gd name="T41" fmla="*/ 160 h 424"/>
                <a:gd name="T42" fmla="*/ 405 w 590"/>
                <a:gd name="T43" fmla="*/ 128 h 424"/>
                <a:gd name="T44" fmla="*/ 379 w 590"/>
                <a:gd name="T45" fmla="*/ 128 h 424"/>
                <a:gd name="T46" fmla="*/ 371 w 590"/>
                <a:gd name="T47" fmla="*/ 152 h 424"/>
                <a:gd name="T48" fmla="*/ 354 w 590"/>
                <a:gd name="T49" fmla="*/ 112 h 424"/>
                <a:gd name="T50" fmla="*/ 312 w 590"/>
                <a:gd name="T51" fmla="*/ 120 h 424"/>
                <a:gd name="T52" fmla="*/ 295 w 590"/>
                <a:gd name="T53" fmla="*/ 144 h 424"/>
                <a:gd name="T54" fmla="*/ 278 w 590"/>
                <a:gd name="T55" fmla="*/ 144 h 424"/>
                <a:gd name="T56" fmla="*/ 270 w 590"/>
                <a:gd name="T57" fmla="*/ 88 h 424"/>
                <a:gd name="T58" fmla="*/ 253 w 590"/>
                <a:gd name="T59" fmla="*/ 96 h 424"/>
                <a:gd name="T60" fmla="*/ 244 w 590"/>
                <a:gd name="T61" fmla="*/ 152 h 424"/>
                <a:gd name="T62" fmla="*/ 228 w 590"/>
                <a:gd name="T63" fmla="*/ 152 h 424"/>
                <a:gd name="T64" fmla="*/ 219 w 590"/>
                <a:gd name="T65" fmla="*/ 128 h 424"/>
                <a:gd name="T66" fmla="*/ 177 w 590"/>
                <a:gd name="T67" fmla="*/ 160 h 424"/>
                <a:gd name="T68" fmla="*/ 185 w 590"/>
                <a:gd name="T69" fmla="*/ 112 h 424"/>
                <a:gd name="T70" fmla="*/ 211 w 590"/>
                <a:gd name="T71" fmla="*/ 88 h 424"/>
                <a:gd name="T72" fmla="*/ 185 w 590"/>
                <a:gd name="T73" fmla="*/ 16 h 424"/>
                <a:gd name="T74" fmla="*/ 143 w 590"/>
                <a:gd name="T75" fmla="*/ 0 h 424"/>
                <a:gd name="T76" fmla="*/ 152 w 590"/>
                <a:gd name="T77" fmla="*/ 64 h 424"/>
                <a:gd name="T78" fmla="*/ 118 w 590"/>
                <a:gd name="T79" fmla="*/ 16 h 424"/>
                <a:gd name="T80" fmla="*/ 93 w 590"/>
                <a:gd name="T81" fmla="*/ 32 h 424"/>
                <a:gd name="T82" fmla="*/ 76 w 590"/>
                <a:gd name="T83" fmla="*/ 48 h 424"/>
                <a:gd name="T84" fmla="*/ 93 w 590"/>
                <a:gd name="T85" fmla="*/ 64 h 424"/>
                <a:gd name="T86" fmla="*/ 59 w 590"/>
                <a:gd name="T87" fmla="*/ 48 h 424"/>
                <a:gd name="T88" fmla="*/ 51 w 590"/>
                <a:gd name="T89" fmla="*/ 64 h 424"/>
                <a:gd name="T90" fmla="*/ 25 w 590"/>
                <a:gd name="T91" fmla="*/ 64 h 424"/>
                <a:gd name="T92" fmla="*/ 42 w 590"/>
                <a:gd name="T93" fmla="*/ 88 h 424"/>
                <a:gd name="T94" fmla="*/ 101 w 590"/>
                <a:gd name="T95" fmla="*/ 96 h 424"/>
                <a:gd name="T96" fmla="*/ 143 w 590"/>
                <a:gd name="T97" fmla="*/ 128 h 424"/>
                <a:gd name="T98" fmla="*/ 110 w 590"/>
                <a:gd name="T99" fmla="*/ 144 h 424"/>
                <a:gd name="T100" fmla="*/ 126 w 590"/>
                <a:gd name="T101" fmla="*/ 160 h 424"/>
                <a:gd name="T102" fmla="*/ 143 w 590"/>
                <a:gd name="T103" fmla="*/ 176 h 424"/>
                <a:gd name="T104" fmla="*/ 126 w 590"/>
                <a:gd name="T105" fmla="*/ 184 h 424"/>
                <a:gd name="T106" fmla="*/ 8 w 590"/>
                <a:gd name="T107" fmla="*/ 144 h 424"/>
                <a:gd name="T108" fmla="*/ 0 w 590"/>
                <a:gd name="T109" fmla="*/ 168 h 424"/>
                <a:gd name="T110" fmla="*/ 93 w 590"/>
                <a:gd name="T111" fmla="*/ 192 h 424"/>
                <a:gd name="T112" fmla="*/ 84 w 590"/>
                <a:gd name="T113" fmla="*/ 216 h 424"/>
                <a:gd name="T114" fmla="*/ 84 w 590"/>
                <a:gd name="T115" fmla="*/ 256 h 424"/>
                <a:gd name="T116" fmla="*/ 67 w 590"/>
                <a:gd name="T117" fmla="*/ 280 h 424"/>
                <a:gd name="T118" fmla="*/ 34 w 590"/>
                <a:gd name="T119" fmla="*/ 280 h 424"/>
                <a:gd name="T120" fmla="*/ 17 w 590"/>
                <a:gd name="T121" fmla="*/ 296 h 424"/>
                <a:gd name="T122" fmla="*/ 101 w 590"/>
                <a:gd name="T123" fmla="*/ 3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4" name="ME"/>
            <p:cNvSpPr/>
            <p:nvPr/>
          </p:nvSpPr>
          <p:spPr>
            <a:xfrm>
              <a:off x="6616700" y="4986338"/>
              <a:ext cx="225425" cy="228600"/>
            </a:xfrm>
            <a:custGeom>
              <a:avLst/>
              <a:gdLst>
                <a:gd name="connsiteX0" fmla="*/ 7144 w 116681"/>
                <a:gd name="connsiteY0" fmla="*/ 138113 h 185738"/>
                <a:gd name="connsiteX1" fmla="*/ 92869 w 116681"/>
                <a:gd name="connsiteY1" fmla="*/ 185738 h 185738"/>
                <a:gd name="connsiteX2" fmla="*/ 116681 w 116681"/>
                <a:gd name="connsiteY2" fmla="*/ 111919 h 185738"/>
                <a:gd name="connsiteX3" fmla="*/ 97631 w 116681"/>
                <a:gd name="connsiteY3" fmla="*/ 0 h 185738"/>
                <a:gd name="connsiteX4" fmla="*/ 47625 w 116681"/>
                <a:gd name="connsiteY4" fmla="*/ 16669 h 185738"/>
                <a:gd name="connsiteX5" fmla="*/ 57150 w 116681"/>
                <a:gd name="connsiteY5" fmla="*/ 45244 h 185738"/>
                <a:gd name="connsiteX6" fmla="*/ 30956 w 116681"/>
                <a:gd name="connsiteY6" fmla="*/ 42863 h 185738"/>
                <a:gd name="connsiteX7" fmla="*/ 23813 w 116681"/>
                <a:gd name="connsiteY7" fmla="*/ 73819 h 185738"/>
                <a:gd name="connsiteX8" fmla="*/ 0 w 116681"/>
                <a:gd name="connsiteY8" fmla="*/ 85725 h 185738"/>
                <a:gd name="connsiteX9" fmla="*/ 7144 w 116681"/>
                <a:gd name="connsiteY9" fmla="*/ 138113 h 185738"/>
                <a:gd name="connsiteX0" fmla="*/ 7144 w 161952"/>
                <a:gd name="connsiteY0" fmla="*/ 121444 h 169069"/>
                <a:gd name="connsiteX1" fmla="*/ 92869 w 161952"/>
                <a:gd name="connsiteY1" fmla="*/ 169069 h 169069"/>
                <a:gd name="connsiteX2" fmla="*/ 116681 w 161952"/>
                <a:gd name="connsiteY2" fmla="*/ 95250 h 169069"/>
                <a:gd name="connsiteX3" fmla="*/ 161952 w 161952"/>
                <a:gd name="connsiteY3" fmla="*/ 54183 h 169069"/>
                <a:gd name="connsiteX4" fmla="*/ 47625 w 161952"/>
                <a:gd name="connsiteY4" fmla="*/ 0 h 169069"/>
                <a:gd name="connsiteX5" fmla="*/ 57150 w 161952"/>
                <a:gd name="connsiteY5" fmla="*/ 28575 h 169069"/>
                <a:gd name="connsiteX6" fmla="*/ 30956 w 161952"/>
                <a:gd name="connsiteY6" fmla="*/ 26194 h 169069"/>
                <a:gd name="connsiteX7" fmla="*/ 23813 w 161952"/>
                <a:gd name="connsiteY7" fmla="*/ 57150 h 169069"/>
                <a:gd name="connsiteX8" fmla="*/ 0 w 161952"/>
                <a:gd name="connsiteY8" fmla="*/ 69056 h 169069"/>
                <a:gd name="connsiteX9" fmla="*/ 7144 w 161952"/>
                <a:gd name="connsiteY9" fmla="*/ 121444 h 169069"/>
                <a:gd name="connsiteX0" fmla="*/ 7144 w 161952"/>
                <a:gd name="connsiteY0" fmla="*/ 134728 h 182353"/>
                <a:gd name="connsiteX1" fmla="*/ 92869 w 161952"/>
                <a:gd name="connsiteY1" fmla="*/ 182353 h 182353"/>
                <a:gd name="connsiteX2" fmla="*/ 116681 w 161952"/>
                <a:gd name="connsiteY2" fmla="*/ 108534 h 182353"/>
                <a:gd name="connsiteX3" fmla="*/ 161952 w 161952"/>
                <a:gd name="connsiteY3" fmla="*/ 67467 h 182353"/>
                <a:gd name="connsiteX4" fmla="*/ 104800 w 161952"/>
                <a:gd name="connsiteY4" fmla="*/ 0 h 182353"/>
                <a:gd name="connsiteX5" fmla="*/ 57150 w 161952"/>
                <a:gd name="connsiteY5" fmla="*/ 41859 h 182353"/>
                <a:gd name="connsiteX6" fmla="*/ 30956 w 161952"/>
                <a:gd name="connsiteY6" fmla="*/ 39478 h 182353"/>
                <a:gd name="connsiteX7" fmla="*/ 23813 w 161952"/>
                <a:gd name="connsiteY7" fmla="*/ 70434 h 182353"/>
                <a:gd name="connsiteX8" fmla="*/ 0 w 161952"/>
                <a:gd name="connsiteY8" fmla="*/ 82340 h 182353"/>
                <a:gd name="connsiteX9" fmla="*/ 7144 w 161952"/>
                <a:gd name="connsiteY9" fmla="*/ 134728 h 182353"/>
                <a:gd name="connsiteX0" fmla="*/ 7144 w 161952"/>
                <a:gd name="connsiteY0" fmla="*/ 146009 h 193634"/>
                <a:gd name="connsiteX1" fmla="*/ 92869 w 161952"/>
                <a:gd name="connsiteY1" fmla="*/ 193634 h 193634"/>
                <a:gd name="connsiteX2" fmla="*/ 116681 w 161952"/>
                <a:gd name="connsiteY2" fmla="*/ 119815 h 193634"/>
                <a:gd name="connsiteX3" fmla="*/ 161952 w 161952"/>
                <a:gd name="connsiteY3" fmla="*/ 78748 h 193634"/>
                <a:gd name="connsiteX4" fmla="*/ 104800 w 161952"/>
                <a:gd name="connsiteY4" fmla="*/ 11281 h 193634"/>
                <a:gd name="connsiteX5" fmla="*/ 78591 w 161952"/>
                <a:gd name="connsiteY5" fmla="*/ 0 h 193634"/>
                <a:gd name="connsiteX6" fmla="*/ 30956 w 161952"/>
                <a:gd name="connsiteY6" fmla="*/ 50759 h 193634"/>
                <a:gd name="connsiteX7" fmla="*/ 23813 w 161952"/>
                <a:gd name="connsiteY7" fmla="*/ 81715 h 193634"/>
                <a:gd name="connsiteX8" fmla="*/ 0 w 161952"/>
                <a:gd name="connsiteY8" fmla="*/ 93621 h 193634"/>
                <a:gd name="connsiteX9" fmla="*/ 7144 w 161952"/>
                <a:gd name="connsiteY9" fmla="*/ 146009 h 193634"/>
                <a:gd name="connsiteX0" fmla="*/ 7144 w 161952"/>
                <a:gd name="connsiteY0" fmla="*/ 152818 h 200443"/>
                <a:gd name="connsiteX1" fmla="*/ 92869 w 161952"/>
                <a:gd name="connsiteY1" fmla="*/ 200443 h 200443"/>
                <a:gd name="connsiteX2" fmla="*/ 116681 w 161952"/>
                <a:gd name="connsiteY2" fmla="*/ 126624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200443"/>
                <a:gd name="connsiteX1" fmla="*/ 92869 w 161952"/>
                <a:gd name="connsiteY1" fmla="*/ 200443 h 200443"/>
                <a:gd name="connsiteX2" fmla="*/ 134548 w 161952"/>
                <a:gd name="connsiteY2" fmla="*/ 139910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23813 w 161952"/>
                <a:gd name="connsiteY7" fmla="*/ 88524 h 173873"/>
                <a:gd name="connsiteX8" fmla="*/ 0 w 161952"/>
                <a:gd name="connsiteY8" fmla="*/ 100430 h 173873"/>
                <a:gd name="connsiteX9" fmla="*/ 7144 w 161952"/>
                <a:gd name="connsiteY9" fmla="*/ 152818 h 17387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7144 w 161952"/>
                <a:gd name="connsiteY9" fmla="*/ 152818 h 173873"/>
                <a:gd name="connsiteX0" fmla="*/ 42878 w 161952"/>
                <a:gd name="connsiteY0" fmla="*/ 112963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42878 w 161952"/>
                <a:gd name="connsiteY9" fmla="*/ 112963 h 173873"/>
                <a:gd name="connsiteX0" fmla="*/ 29785 w 148859"/>
                <a:gd name="connsiteY0" fmla="*/ 11296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29785 w 148859"/>
                <a:gd name="connsiteY9" fmla="*/ 112963 h 173873"/>
                <a:gd name="connsiteX0" fmla="*/ 44079 w 148859"/>
                <a:gd name="connsiteY0" fmla="*/ 13953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44079 w 148859"/>
                <a:gd name="connsiteY9" fmla="*/ 139533 h 173873"/>
                <a:gd name="connsiteX0" fmla="*/ 65519 w 148859"/>
                <a:gd name="connsiteY0" fmla="*/ 135104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65519 w 148859"/>
                <a:gd name="connsiteY9" fmla="*/ 135104 h 173873"/>
                <a:gd name="connsiteX0" fmla="*/ 60744 w 144084"/>
                <a:gd name="connsiteY0" fmla="*/ 135104 h 173873"/>
                <a:gd name="connsiteX1" fmla="*/ 85721 w 144084"/>
                <a:gd name="connsiteY1" fmla="*/ 173873 h 173873"/>
                <a:gd name="connsiteX2" fmla="*/ 116680 w 144084"/>
                <a:gd name="connsiteY2" fmla="*/ 139910 h 173873"/>
                <a:gd name="connsiteX3" fmla="*/ 144084 w 144084"/>
                <a:gd name="connsiteY3" fmla="*/ 85557 h 173873"/>
                <a:gd name="connsiteX4" fmla="*/ 86932 w 144084"/>
                <a:gd name="connsiteY4" fmla="*/ 18090 h 173873"/>
                <a:gd name="connsiteX5" fmla="*/ 60723 w 144084"/>
                <a:gd name="connsiteY5" fmla="*/ 6809 h 173873"/>
                <a:gd name="connsiteX6" fmla="*/ 34528 w 144084"/>
                <a:gd name="connsiteY6" fmla="*/ 0 h 173873"/>
                <a:gd name="connsiteX7" fmla="*/ 9519 w 144084"/>
                <a:gd name="connsiteY7" fmla="*/ 35385 h 173873"/>
                <a:gd name="connsiteX8" fmla="*/ 0 w 144084"/>
                <a:gd name="connsiteY8" fmla="*/ 91573 h 173873"/>
                <a:gd name="connsiteX9" fmla="*/ 60744 w 144084"/>
                <a:gd name="connsiteY9" fmla="*/ 135104 h 173873"/>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86932 w 144084"/>
                <a:gd name="connsiteY4" fmla="*/ 11281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97653 w 144084"/>
                <a:gd name="connsiteY4" fmla="*/ 33423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41674 w 144084"/>
                <a:gd name="connsiteY6" fmla="*/ 23304 h 179463"/>
                <a:gd name="connsiteX7" fmla="*/ 9519 w 144084"/>
                <a:gd name="connsiteY7" fmla="*/ 40975 h 179463"/>
                <a:gd name="connsiteX8" fmla="*/ 0 w 144084"/>
                <a:gd name="connsiteY8" fmla="*/ 97163 h 179463"/>
                <a:gd name="connsiteX9" fmla="*/ 60744 w 144084"/>
                <a:gd name="connsiteY9" fmla="*/ 140694 h 179463"/>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34170 w 144084"/>
                <a:gd name="connsiteY6" fmla="*/ 7805 h 179463"/>
                <a:gd name="connsiteX7" fmla="*/ 9519 w 144084"/>
                <a:gd name="connsiteY7" fmla="*/ 40975 h 179463"/>
                <a:gd name="connsiteX8" fmla="*/ 0 w 144084"/>
                <a:gd name="connsiteY8" fmla="*/ 97163 h 179463"/>
                <a:gd name="connsiteX9" fmla="*/ 60744 w 144084"/>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07659 w 154090"/>
                <a:gd name="connsiteY4" fmla="*/ 45822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85663"/>
                <a:gd name="connsiteX1" fmla="*/ 108234 w 154090"/>
                <a:gd name="connsiteY1" fmla="*/ 185663 h 185663"/>
                <a:gd name="connsiteX2" fmla="*/ 126686 w 154090"/>
                <a:gd name="connsiteY2" fmla="*/ 145500 h 185663"/>
                <a:gd name="connsiteX3" fmla="*/ 154090 w 154090"/>
                <a:gd name="connsiteY3" fmla="*/ 91147 h 185663"/>
                <a:gd name="connsiteX4" fmla="*/ 125169 w 154090"/>
                <a:gd name="connsiteY4" fmla="*/ 52021 h 185663"/>
                <a:gd name="connsiteX5" fmla="*/ 73231 w 154090"/>
                <a:gd name="connsiteY5" fmla="*/ 0 h 185663"/>
                <a:gd name="connsiteX6" fmla="*/ 44176 w 154090"/>
                <a:gd name="connsiteY6" fmla="*/ 7805 h 185663"/>
                <a:gd name="connsiteX7" fmla="*/ 19525 w 154090"/>
                <a:gd name="connsiteY7" fmla="*/ 40975 h 185663"/>
                <a:gd name="connsiteX8" fmla="*/ 0 w 154090"/>
                <a:gd name="connsiteY8" fmla="*/ 69265 h 185663"/>
                <a:gd name="connsiteX9" fmla="*/ 70750 w 154090"/>
                <a:gd name="connsiteY9" fmla="*/ 140694 h 185663"/>
                <a:gd name="connsiteX0" fmla="*/ 60744 w 144084"/>
                <a:gd name="connsiteY0" fmla="*/ 140694 h 185663"/>
                <a:gd name="connsiteX1" fmla="*/ 98228 w 144084"/>
                <a:gd name="connsiteY1" fmla="*/ 185663 h 185663"/>
                <a:gd name="connsiteX2" fmla="*/ 116680 w 144084"/>
                <a:gd name="connsiteY2" fmla="*/ 145500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112846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59092"/>
                <a:gd name="connsiteY0" fmla="*/ 140694 h 185663"/>
                <a:gd name="connsiteX1" fmla="*/ 98228 w 159092"/>
                <a:gd name="connsiteY1" fmla="*/ 185663 h 185663"/>
                <a:gd name="connsiteX2" fmla="*/ 109176 w 159092"/>
                <a:gd name="connsiteY2" fmla="*/ 126901 h 185663"/>
                <a:gd name="connsiteX3" fmla="*/ 159092 w 159092"/>
                <a:gd name="connsiteY3" fmla="*/ 100447 h 185663"/>
                <a:gd name="connsiteX4" fmla="*/ 115163 w 159092"/>
                <a:gd name="connsiteY4" fmla="*/ 52021 h 185663"/>
                <a:gd name="connsiteX5" fmla="*/ 63225 w 159092"/>
                <a:gd name="connsiteY5" fmla="*/ 0 h 185663"/>
                <a:gd name="connsiteX6" fmla="*/ 34170 w 159092"/>
                <a:gd name="connsiteY6" fmla="*/ 7805 h 185663"/>
                <a:gd name="connsiteX7" fmla="*/ 9519 w 159092"/>
                <a:gd name="connsiteY7" fmla="*/ 40975 h 185663"/>
                <a:gd name="connsiteX8" fmla="*/ 0 w 159092"/>
                <a:gd name="connsiteY8" fmla="*/ 90963 h 185663"/>
                <a:gd name="connsiteX9" fmla="*/ 60744 w 159092"/>
                <a:gd name="connsiteY9" fmla="*/ 140694 h 185663"/>
                <a:gd name="connsiteX0" fmla="*/ 60744 w 141582"/>
                <a:gd name="connsiteY0" fmla="*/ 140694 h 185663"/>
                <a:gd name="connsiteX1" fmla="*/ 98228 w 141582"/>
                <a:gd name="connsiteY1" fmla="*/ 185663 h 185663"/>
                <a:gd name="connsiteX2" fmla="*/ 109176 w 141582"/>
                <a:gd name="connsiteY2" fmla="*/ 126901 h 185663"/>
                <a:gd name="connsiteX3" fmla="*/ 141582 w 141582"/>
                <a:gd name="connsiteY3" fmla="*/ 109746 h 185663"/>
                <a:gd name="connsiteX4" fmla="*/ 115163 w 141582"/>
                <a:gd name="connsiteY4" fmla="*/ 52021 h 185663"/>
                <a:gd name="connsiteX5" fmla="*/ 63225 w 141582"/>
                <a:gd name="connsiteY5" fmla="*/ 0 h 185663"/>
                <a:gd name="connsiteX6" fmla="*/ 34170 w 141582"/>
                <a:gd name="connsiteY6" fmla="*/ 7805 h 185663"/>
                <a:gd name="connsiteX7" fmla="*/ 9519 w 141582"/>
                <a:gd name="connsiteY7" fmla="*/ 40975 h 185663"/>
                <a:gd name="connsiteX8" fmla="*/ 0 w 141582"/>
                <a:gd name="connsiteY8" fmla="*/ 90963 h 185663"/>
                <a:gd name="connsiteX9" fmla="*/ 60744 w 141582"/>
                <a:gd name="connsiteY9" fmla="*/ 140694 h 185663"/>
                <a:gd name="connsiteX0" fmla="*/ 66233 w 147071"/>
                <a:gd name="connsiteY0" fmla="*/ 140694 h 185663"/>
                <a:gd name="connsiteX1" fmla="*/ 103717 w 147071"/>
                <a:gd name="connsiteY1" fmla="*/ 185663 h 185663"/>
                <a:gd name="connsiteX2" fmla="*/ 114665 w 147071"/>
                <a:gd name="connsiteY2" fmla="*/ 126901 h 185663"/>
                <a:gd name="connsiteX3" fmla="*/ 147071 w 147071"/>
                <a:gd name="connsiteY3" fmla="*/ 109746 h 185663"/>
                <a:gd name="connsiteX4" fmla="*/ 120652 w 147071"/>
                <a:gd name="connsiteY4" fmla="*/ 52021 h 185663"/>
                <a:gd name="connsiteX5" fmla="*/ 68714 w 147071"/>
                <a:gd name="connsiteY5" fmla="*/ 0 h 185663"/>
                <a:gd name="connsiteX6" fmla="*/ 39659 w 147071"/>
                <a:gd name="connsiteY6" fmla="*/ 7805 h 185663"/>
                <a:gd name="connsiteX7" fmla="*/ 0 w 147071"/>
                <a:gd name="connsiteY7" fmla="*/ 59574 h 185663"/>
                <a:gd name="connsiteX8" fmla="*/ 5489 w 147071"/>
                <a:gd name="connsiteY8" fmla="*/ 90963 h 185663"/>
                <a:gd name="connsiteX9" fmla="*/ 66233 w 147071"/>
                <a:gd name="connsiteY9" fmla="*/ 140694 h 18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1" h="185663">
                  <a:moveTo>
                    <a:pt x="66233" y="140694"/>
                  </a:moveTo>
                  <a:lnTo>
                    <a:pt x="103717" y="185663"/>
                  </a:lnTo>
                  <a:lnTo>
                    <a:pt x="114665" y="126901"/>
                  </a:lnTo>
                  <a:lnTo>
                    <a:pt x="147071" y="109746"/>
                  </a:lnTo>
                  <a:cubicBezTo>
                    <a:pt x="137431" y="96704"/>
                    <a:pt x="130292" y="71263"/>
                    <a:pt x="120652" y="52021"/>
                  </a:cubicBezTo>
                  <a:cubicBezTo>
                    <a:pt x="95835" y="34681"/>
                    <a:pt x="86027" y="17340"/>
                    <a:pt x="68714" y="0"/>
                  </a:cubicBezTo>
                  <a:lnTo>
                    <a:pt x="39659" y="7805"/>
                  </a:lnTo>
                  <a:lnTo>
                    <a:pt x="0" y="59574"/>
                  </a:lnTo>
                  <a:lnTo>
                    <a:pt x="5489" y="90963"/>
                  </a:lnTo>
                  <a:lnTo>
                    <a:pt x="66233" y="140694"/>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sp>
          <p:nvSpPr>
            <p:cNvPr id="45" name="SP"/>
            <p:cNvSpPr>
              <a:spLocks/>
            </p:cNvSpPr>
            <p:nvPr/>
          </p:nvSpPr>
          <p:spPr bwMode="auto">
            <a:xfrm rot="515399">
              <a:off x="4479925" y="2357438"/>
              <a:ext cx="427038" cy="566737"/>
            </a:xfrm>
            <a:custGeom>
              <a:avLst/>
              <a:gdLst>
                <a:gd name="T0" fmla="*/ 2147483647 w 104"/>
                <a:gd name="T1" fmla="*/ 2147483647 h 159"/>
                <a:gd name="T2" fmla="*/ 2147483647 w 104"/>
                <a:gd name="T3" fmla="*/ 2147483647 h 159"/>
                <a:gd name="T4" fmla="*/ 2147483647 w 104"/>
                <a:gd name="T5" fmla="*/ 2147483647 h 159"/>
                <a:gd name="T6" fmla="*/ 2147483647 w 104"/>
                <a:gd name="T7" fmla="*/ 2147483647 h 159"/>
                <a:gd name="T8" fmla="*/ 2147483647 w 104"/>
                <a:gd name="T9" fmla="*/ 2147483647 h 159"/>
                <a:gd name="T10" fmla="*/ 2147483647 w 104"/>
                <a:gd name="T11" fmla="*/ 2147483647 h 159"/>
                <a:gd name="T12" fmla="*/ 2147483647 w 104"/>
                <a:gd name="T13" fmla="*/ 2147483647 h 159"/>
                <a:gd name="T14" fmla="*/ 2147483647 w 104"/>
                <a:gd name="T15" fmla="*/ 2147483647 h 159"/>
                <a:gd name="T16" fmla="*/ 2147483647 w 104"/>
                <a:gd name="T17" fmla="*/ 2147483647 h 159"/>
                <a:gd name="T18" fmla="*/ 2147483647 w 104"/>
                <a:gd name="T19" fmla="*/ 2147483647 h 159"/>
                <a:gd name="T20" fmla="*/ 2147483647 w 104"/>
                <a:gd name="T21" fmla="*/ 2147483647 h 159"/>
                <a:gd name="T22" fmla="*/ 2147483647 w 104"/>
                <a:gd name="T23" fmla="*/ 2147483647 h 159"/>
                <a:gd name="T24" fmla="*/ 2147483647 w 104"/>
                <a:gd name="T25" fmla="*/ 2147483647 h 159"/>
                <a:gd name="T26" fmla="*/ 2147483647 w 104"/>
                <a:gd name="T27" fmla="*/ 2147483647 h 159"/>
                <a:gd name="T28" fmla="*/ 2147483647 w 104"/>
                <a:gd name="T29" fmla="*/ 2147483647 h 159"/>
                <a:gd name="T30" fmla="*/ 2147483647 w 104"/>
                <a:gd name="T31" fmla="*/ 2147483647 h 159"/>
                <a:gd name="T32" fmla="*/ 2147483647 w 104"/>
                <a:gd name="T33" fmla="*/ 2147483647 h 159"/>
                <a:gd name="T34" fmla="*/ 0 w 104"/>
                <a:gd name="T35" fmla="*/ 2147483647 h 159"/>
                <a:gd name="T36" fmla="*/ 2147483647 w 104"/>
                <a:gd name="T37" fmla="*/ 2147483647 h 159"/>
                <a:gd name="T38" fmla="*/ 2147483647 w 104"/>
                <a:gd name="T39" fmla="*/ 2147483647 h 159"/>
                <a:gd name="T40" fmla="*/ 0 w 104"/>
                <a:gd name="T41" fmla="*/ 2147483647 h 159"/>
                <a:gd name="T42" fmla="*/ 2147483647 w 104"/>
                <a:gd name="T43" fmla="*/ 2147483647 h 159"/>
                <a:gd name="T44" fmla="*/ 2147483647 w 104"/>
                <a:gd name="T45" fmla="*/ 2147483647 h 159"/>
                <a:gd name="T46" fmla="*/ 2147483647 w 104"/>
                <a:gd name="T47" fmla="*/ 2147483647 h 159"/>
                <a:gd name="T48" fmla="*/ 2147483647 w 104"/>
                <a:gd name="T49" fmla="*/ 2147483647 h 159"/>
                <a:gd name="T50" fmla="*/ 2147483647 w 104"/>
                <a:gd name="T51" fmla="*/ 2147483647 h 159"/>
                <a:gd name="T52" fmla="*/ 2147483647 w 104"/>
                <a:gd name="T53" fmla="*/ 2147483647 h 159"/>
                <a:gd name="T54" fmla="*/ 2147483647 w 104"/>
                <a:gd name="T55" fmla="*/ 2147483647 h 159"/>
                <a:gd name="T56" fmla="*/ 2147483647 w 104"/>
                <a:gd name="T57" fmla="*/ 2147483647 h 159"/>
                <a:gd name="T58" fmla="*/ 2147483647 w 104"/>
                <a:gd name="T59" fmla="*/ 0 h 159"/>
                <a:gd name="T60" fmla="*/ 2147483647 w 104"/>
                <a:gd name="T61" fmla="*/ 0 h 159"/>
                <a:gd name="T62" fmla="*/ 2147483647 w 104"/>
                <a:gd name="T63" fmla="*/ 2147483647 h 159"/>
                <a:gd name="T64" fmla="*/ 2147483647 w 104"/>
                <a:gd name="T65" fmla="*/ 2147483647 h 159"/>
                <a:gd name="T66" fmla="*/ 2147483647 w 104"/>
                <a:gd name="T67" fmla="*/ 2147483647 h 159"/>
                <a:gd name="T68" fmla="*/ 2147483647 w 104"/>
                <a:gd name="T69" fmla="*/ 2147483647 h 159"/>
                <a:gd name="T70" fmla="*/ 2147483647 w 104"/>
                <a:gd name="T71" fmla="*/ 2147483647 h 159"/>
                <a:gd name="T72" fmla="*/ 2147483647 w 104"/>
                <a:gd name="T73" fmla="*/ 2147483647 h 159"/>
                <a:gd name="T74" fmla="*/ 2147483647 w 104"/>
                <a:gd name="T75" fmla="*/ 2147483647 h 159"/>
                <a:gd name="T76" fmla="*/ 2147483647 w 104"/>
                <a:gd name="T77" fmla="*/ 2147483647 h 159"/>
                <a:gd name="T78" fmla="*/ 2147483647 w 104"/>
                <a:gd name="T79" fmla="*/ 2147483647 h 159"/>
                <a:gd name="T80" fmla="*/ 2147483647 w 104"/>
                <a:gd name="T81" fmla="*/ 2147483647 h 159"/>
                <a:gd name="T82" fmla="*/ 2147483647 w 104"/>
                <a:gd name="T83" fmla="*/ 2147483647 h 159"/>
                <a:gd name="T84" fmla="*/ 2147483647 w 104"/>
                <a:gd name="T85" fmla="*/ 2147483647 h 159"/>
                <a:gd name="T86" fmla="*/ 2147483647 w 104"/>
                <a:gd name="T87" fmla="*/ 2147483647 h 159"/>
                <a:gd name="T88" fmla="*/ 2147483647 w 104"/>
                <a:gd name="T89" fmla="*/ 2147483647 h 159"/>
                <a:gd name="T90" fmla="*/ 2147483647 w 104"/>
                <a:gd name="T91" fmla="*/ 2147483647 h 159"/>
                <a:gd name="T92" fmla="*/ 2147483647 w 104"/>
                <a:gd name="T93" fmla="*/ 2147483647 h 15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59"/>
                <a:gd name="T143" fmla="*/ 104 w 104"/>
                <a:gd name="T144" fmla="*/ 159 h 159"/>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2212 w 10000"/>
                <a:gd name="connsiteY19" fmla="*/ 4277 h 10000"/>
                <a:gd name="connsiteX20" fmla="*/ 0 w 10000"/>
                <a:gd name="connsiteY20" fmla="*/ 4969 h 10000"/>
                <a:gd name="connsiteX21" fmla="*/ 865 w 10000"/>
                <a:gd name="connsiteY21" fmla="*/ 4214 h 10000"/>
                <a:gd name="connsiteX22" fmla="*/ 865 w 10000"/>
                <a:gd name="connsiteY22" fmla="*/ 3648 h 10000"/>
                <a:gd name="connsiteX23" fmla="*/ 1731 w 10000"/>
                <a:gd name="connsiteY23" fmla="*/ 3711 h 10000"/>
                <a:gd name="connsiteX24" fmla="*/ 1635 w 10000"/>
                <a:gd name="connsiteY24" fmla="*/ 2767 h 10000"/>
                <a:gd name="connsiteX25" fmla="*/ 962 w 10000"/>
                <a:gd name="connsiteY25" fmla="*/ 2579 h 10000"/>
                <a:gd name="connsiteX26" fmla="*/ 2019 w 10000"/>
                <a:gd name="connsiteY26" fmla="*/ 1761 h 10000"/>
                <a:gd name="connsiteX27" fmla="*/ 3269 w 10000"/>
                <a:gd name="connsiteY27" fmla="*/ 1824 h 10000"/>
                <a:gd name="connsiteX28" fmla="*/ 3269 w 10000"/>
                <a:gd name="connsiteY28" fmla="*/ 881 h 10000"/>
                <a:gd name="connsiteX29" fmla="*/ 3750 w 10000"/>
                <a:gd name="connsiteY29" fmla="*/ 0 h 10000"/>
                <a:gd name="connsiteX30" fmla="*/ 4327 w 10000"/>
                <a:gd name="connsiteY30" fmla="*/ 0 h 10000"/>
                <a:gd name="connsiteX31" fmla="*/ 4327 w 10000"/>
                <a:gd name="connsiteY31" fmla="*/ 440 h 10000"/>
                <a:gd name="connsiteX32" fmla="*/ 7692 w 10000"/>
                <a:gd name="connsiteY32" fmla="*/ 440 h 10000"/>
                <a:gd name="connsiteX33" fmla="*/ 4519 w 10000"/>
                <a:gd name="connsiteY33" fmla="*/ 2579 h 10000"/>
                <a:gd name="connsiteX34" fmla="*/ 5096 w 10000"/>
                <a:gd name="connsiteY34" fmla="*/ 2830 h 10000"/>
                <a:gd name="connsiteX35" fmla="*/ 10000 w 10000"/>
                <a:gd name="connsiteY35" fmla="*/ 2830 h 10000"/>
                <a:gd name="connsiteX36" fmla="*/ 7788 w 10000"/>
                <a:gd name="connsiteY36" fmla="*/ 5786 h 10000"/>
                <a:gd name="connsiteX37" fmla="*/ 5385 w 10000"/>
                <a:gd name="connsiteY37" fmla="*/ 5723 h 10000"/>
                <a:gd name="connsiteX38" fmla="*/ 5385 w 10000"/>
                <a:gd name="connsiteY38" fmla="*/ 6164 h 10000"/>
                <a:gd name="connsiteX39" fmla="*/ 6731 w 10000"/>
                <a:gd name="connsiteY39" fmla="*/ 6164 h 10000"/>
                <a:gd name="connsiteX40" fmla="*/ 7212 w 10000"/>
                <a:gd name="connsiteY40" fmla="*/ 6478 h 10000"/>
                <a:gd name="connsiteX41" fmla="*/ 4712 w 10000"/>
                <a:gd name="connsiteY41" fmla="*/ 6604 h 10000"/>
                <a:gd name="connsiteX42" fmla="*/ 4135 w 10000"/>
                <a:gd name="connsiteY42" fmla="*/ 6289 h 10000"/>
                <a:gd name="connsiteX43" fmla="*/ 4135 w 10000"/>
                <a:gd name="connsiteY43" fmla="*/ 6855 h 10000"/>
                <a:gd name="connsiteX44" fmla="*/ 4712 w 10000"/>
                <a:gd name="connsiteY44" fmla="*/ 7233 h 10000"/>
                <a:gd name="connsiteX45" fmla="*/ 7212 w 10000"/>
                <a:gd name="connsiteY45" fmla="*/ 7233 h 10000"/>
                <a:gd name="connsiteX46" fmla="*/ 7885 w 10000"/>
                <a:gd name="connsiteY46"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2212 w 10000"/>
                <a:gd name="connsiteY20" fmla="*/ 427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789 w 10000"/>
                <a:gd name="connsiteY20" fmla="*/ 505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9771"/>
                <a:gd name="connsiteY0" fmla="*/ 7610 h 10000"/>
                <a:gd name="connsiteX1" fmla="*/ 4712 w 9771"/>
                <a:gd name="connsiteY1" fmla="*/ 9686 h 10000"/>
                <a:gd name="connsiteX2" fmla="*/ 2500 w 9771"/>
                <a:gd name="connsiteY2" fmla="*/ 9686 h 10000"/>
                <a:gd name="connsiteX3" fmla="*/ 1923 w 9771"/>
                <a:gd name="connsiteY3" fmla="*/ 9434 h 10000"/>
                <a:gd name="connsiteX4" fmla="*/ 1635 w 9771"/>
                <a:gd name="connsiteY4" fmla="*/ 10000 h 10000"/>
                <a:gd name="connsiteX5" fmla="*/ 769 w 9771"/>
                <a:gd name="connsiteY5" fmla="*/ 9497 h 10000"/>
                <a:gd name="connsiteX6" fmla="*/ 769 w 9771"/>
                <a:gd name="connsiteY6" fmla="*/ 8931 h 10000"/>
                <a:gd name="connsiteX7" fmla="*/ 2212 w 9771"/>
                <a:gd name="connsiteY7" fmla="*/ 8050 h 10000"/>
                <a:gd name="connsiteX8" fmla="*/ 1635 w 9771"/>
                <a:gd name="connsiteY8" fmla="*/ 7547 h 10000"/>
                <a:gd name="connsiteX9" fmla="*/ 2212 w 9771"/>
                <a:gd name="connsiteY9" fmla="*/ 7107 h 10000"/>
                <a:gd name="connsiteX10" fmla="*/ 3173 w 9771"/>
                <a:gd name="connsiteY10" fmla="*/ 7170 h 10000"/>
                <a:gd name="connsiteX11" fmla="*/ 2981 w 9771"/>
                <a:gd name="connsiteY11" fmla="*/ 6667 h 10000"/>
                <a:gd name="connsiteX12" fmla="*/ 2212 w 9771"/>
                <a:gd name="connsiteY12" fmla="*/ 6667 h 10000"/>
                <a:gd name="connsiteX13" fmla="*/ 2212 w 9771"/>
                <a:gd name="connsiteY13" fmla="*/ 6289 h 10000"/>
                <a:gd name="connsiteX14" fmla="*/ 1538 w 9771"/>
                <a:gd name="connsiteY14" fmla="*/ 6226 h 10000"/>
                <a:gd name="connsiteX15" fmla="*/ 1154 w 9771"/>
                <a:gd name="connsiteY15" fmla="*/ 6604 h 10000"/>
                <a:gd name="connsiteX16" fmla="*/ 577 w 9771"/>
                <a:gd name="connsiteY16" fmla="*/ 6352 h 10000"/>
                <a:gd name="connsiteX17" fmla="*/ 0 w 9771"/>
                <a:gd name="connsiteY17" fmla="*/ 6352 h 10000"/>
                <a:gd name="connsiteX18" fmla="*/ 1462 w 9771"/>
                <a:gd name="connsiteY18" fmla="*/ 5188 h 10000"/>
                <a:gd name="connsiteX19" fmla="*/ 1090 w 9771"/>
                <a:gd name="connsiteY19" fmla="*/ 5121 h 10000"/>
                <a:gd name="connsiteX20" fmla="*/ 789 w 9771"/>
                <a:gd name="connsiteY20" fmla="*/ 5057 h 10000"/>
                <a:gd name="connsiteX21" fmla="*/ 0 w 9771"/>
                <a:gd name="connsiteY21" fmla="*/ 4969 h 10000"/>
                <a:gd name="connsiteX22" fmla="*/ 865 w 9771"/>
                <a:gd name="connsiteY22" fmla="*/ 4214 h 10000"/>
                <a:gd name="connsiteX23" fmla="*/ 865 w 9771"/>
                <a:gd name="connsiteY23" fmla="*/ 3648 h 10000"/>
                <a:gd name="connsiteX24" fmla="*/ 1731 w 9771"/>
                <a:gd name="connsiteY24" fmla="*/ 3711 h 10000"/>
                <a:gd name="connsiteX25" fmla="*/ 1635 w 9771"/>
                <a:gd name="connsiteY25" fmla="*/ 2767 h 10000"/>
                <a:gd name="connsiteX26" fmla="*/ 962 w 9771"/>
                <a:gd name="connsiteY26" fmla="*/ 2579 h 10000"/>
                <a:gd name="connsiteX27" fmla="*/ 2019 w 9771"/>
                <a:gd name="connsiteY27" fmla="*/ 1761 h 10000"/>
                <a:gd name="connsiteX28" fmla="*/ 3269 w 9771"/>
                <a:gd name="connsiteY28" fmla="*/ 1824 h 10000"/>
                <a:gd name="connsiteX29" fmla="*/ 3269 w 9771"/>
                <a:gd name="connsiteY29" fmla="*/ 881 h 10000"/>
                <a:gd name="connsiteX30" fmla="*/ 3750 w 9771"/>
                <a:gd name="connsiteY30" fmla="*/ 0 h 10000"/>
                <a:gd name="connsiteX31" fmla="*/ 4327 w 9771"/>
                <a:gd name="connsiteY31" fmla="*/ 0 h 10000"/>
                <a:gd name="connsiteX32" fmla="*/ 4327 w 9771"/>
                <a:gd name="connsiteY32" fmla="*/ 440 h 10000"/>
                <a:gd name="connsiteX33" fmla="*/ 7692 w 9771"/>
                <a:gd name="connsiteY33" fmla="*/ 440 h 10000"/>
                <a:gd name="connsiteX34" fmla="*/ 4519 w 9771"/>
                <a:gd name="connsiteY34" fmla="*/ 2579 h 10000"/>
                <a:gd name="connsiteX35" fmla="*/ 5096 w 9771"/>
                <a:gd name="connsiteY35" fmla="*/ 2830 h 10000"/>
                <a:gd name="connsiteX36" fmla="*/ 9771 w 9771"/>
                <a:gd name="connsiteY36" fmla="*/ 2951 h 10000"/>
                <a:gd name="connsiteX37" fmla="*/ 7788 w 9771"/>
                <a:gd name="connsiteY37" fmla="*/ 5786 h 10000"/>
                <a:gd name="connsiteX38" fmla="*/ 5385 w 9771"/>
                <a:gd name="connsiteY38" fmla="*/ 5723 h 10000"/>
                <a:gd name="connsiteX39" fmla="*/ 5385 w 9771"/>
                <a:gd name="connsiteY39" fmla="*/ 6164 h 10000"/>
                <a:gd name="connsiteX40" fmla="*/ 6731 w 9771"/>
                <a:gd name="connsiteY40" fmla="*/ 6164 h 10000"/>
                <a:gd name="connsiteX41" fmla="*/ 7212 w 9771"/>
                <a:gd name="connsiteY41" fmla="*/ 6478 h 10000"/>
                <a:gd name="connsiteX42" fmla="*/ 4712 w 9771"/>
                <a:gd name="connsiteY42" fmla="*/ 6604 h 10000"/>
                <a:gd name="connsiteX43" fmla="*/ 4135 w 9771"/>
                <a:gd name="connsiteY43" fmla="*/ 6289 h 10000"/>
                <a:gd name="connsiteX44" fmla="*/ 4135 w 9771"/>
                <a:gd name="connsiteY44" fmla="*/ 6855 h 10000"/>
                <a:gd name="connsiteX45" fmla="*/ 4712 w 9771"/>
                <a:gd name="connsiteY45" fmla="*/ 7233 h 10000"/>
                <a:gd name="connsiteX46" fmla="*/ 7212 w 9771"/>
                <a:gd name="connsiteY46" fmla="*/ 7233 h 10000"/>
                <a:gd name="connsiteX47" fmla="*/ 7885 w 9771"/>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5511 w 10000"/>
                <a:gd name="connsiteY39" fmla="*/ 616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5401 w 10000"/>
                <a:gd name="connsiteY45" fmla="*/ 7216 h 10000"/>
                <a:gd name="connsiteX46" fmla="*/ 7381 w 10000"/>
                <a:gd name="connsiteY46" fmla="*/ 7233 h 10000"/>
                <a:gd name="connsiteX47" fmla="*/ 8070 w 10000"/>
                <a:gd name="connsiteY47" fmla="*/ 7610 h 10000"/>
                <a:gd name="connsiteX0" fmla="*/ 8070 w 10000"/>
                <a:gd name="connsiteY0" fmla="*/ 7610 h 9917"/>
                <a:gd name="connsiteX1" fmla="*/ 4822 w 10000"/>
                <a:gd name="connsiteY1" fmla="*/ 9686 h 9917"/>
                <a:gd name="connsiteX2" fmla="*/ 2559 w 10000"/>
                <a:gd name="connsiteY2" fmla="*/ 9686 h 9917"/>
                <a:gd name="connsiteX3" fmla="*/ 1968 w 10000"/>
                <a:gd name="connsiteY3" fmla="*/ 9434 h 9917"/>
                <a:gd name="connsiteX4" fmla="*/ 1139 w 10000"/>
                <a:gd name="connsiteY4" fmla="*/ 9917 h 9917"/>
                <a:gd name="connsiteX5" fmla="*/ 787 w 10000"/>
                <a:gd name="connsiteY5" fmla="*/ 9497 h 9917"/>
                <a:gd name="connsiteX6" fmla="*/ 787 w 10000"/>
                <a:gd name="connsiteY6" fmla="*/ 8931 h 9917"/>
                <a:gd name="connsiteX7" fmla="*/ 2264 w 10000"/>
                <a:gd name="connsiteY7" fmla="*/ 8050 h 9917"/>
                <a:gd name="connsiteX8" fmla="*/ 1673 w 10000"/>
                <a:gd name="connsiteY8" fmla="*/ 7547 h 9917"/>
                <a:gd name="connsiteX9" fmla="*/ 2264 w 10000"/>
                <a:gd name="connsiteY9" fmla="*/ 7107 h 9917"/>
                <a:gd name="connsiteX10" fmla="*/ 3247 w 10000"/>
                <a:gd name="connsiteY10" fmla="*/ 7170 h 9917"/>
                <a:gd name="connsiteX11" fmla="*/ 3051 w 10000"/>
                <a:gd name="connsiteY11" fmla="*/ 6667 h 9917"/>
                <a:gd name="connsiteX12" fmla="*/ 2264 w 10000"/>
                <a:gd name="connsiteY12" fmla="*/ 6667 h 9917"/>
                <a:gd name="connsiteX13" fmla="*/ 2264 w 10000"/>
                <a:gd name="connsiteY13" fmla="*/ 6289 h 9917"/>
                <a:gd name="connsiteX14" fmla="*/ 1574 w 10000"/>
                <a:gd name="connsiteY14" fmla="*/ 6226 h 9917"/>
                <a:gd name="connsiteX15" fmla="*/ 1181 w 10000"/>
                <a:gd name="connsiteY15" fmla="*/ 6604 h 9917"/>
                <a:gd name="connsiteX16" fmla="*/ 591 w 10000"/>
                <a:gd name="connsiteY16" fmla="*/ 6352 h 9917"/>
                <a:gd name="connsiteX17" fmla="*/ 0 w 10000"/>
                <a:gd name="connsiteY17" fmla="*/ 6352 h 9917"/>
                <a:gd name="connsiteX18" fmla="*/ 1496 w 10000"/>
                <a:gd name="connsiteY18" fmla="*/ 5188 h 9917"/>
                <a:gd name="connsiteX19" fmla="*/ 1116 w 10000"/>
                <a:gd name="connsiteY19" fmla="*/ 5121 h 9917"/>
                <a:gd name="connsiteX20" fmla="*/ 807 w 10000"/>
                <a:gd name="connsiteY20" fmla="*/ 5057 h 9917"/>
                <a:gd name="connsiteX21" fmla="*/ 0 w 10000"/>
                <a:gd name="connsiteY21" fmla="*/ 4969 h 9917"/>
                <a:gd name="connsiteX22" fmla="*/ 885 w 10000"/>
                <a:gd name="connsiteY22" fmla="*/ 4214 h 9917"/>
                <a:gd name="connsiteX23" fmla="*/ 885 w 10000"/>
                <a:gd name="connsiteY23" fmla="*/ 3648 h 9917"/>
                <a:gd name="connsiteX24" fmla="*/ 1772 w 10000"/>
                <a:gd name="connsiteY24" fmla="*/ 3711 h 9917"/>
                <a:gd name="connsiteX25" fmla="*/ 1673 w 10000"/>
                <a:gd name="connsiteY25" fmla="*/ 2767 h 9917"/>
                <a:gd name="connsiteX26" fmla="*/ 985 w 10000"/>
                <a:gd name="connsiteY26" fmla="*/ 2579 h 9917"/>
                <a:gd name="connsiteX27" fmla="*/ 2066 w 10000"/>
                <a:gd name="connsiteY27" fmla="*/ 1761 h 9917"/>
                <a:gd name="connsiteX28" fmla="*/ 3346 w 10000"/>
                <a:gd name="connsiteY28" fmla="*/ 1824 h 9917"/>
                <a:gd name="connsiteX29" fmla="*/ 3346 w 10000"/>
                <a:gd name="connsiteY29" fmla="*/ 881 h 9917"/>
                <a:gd name="connsiteX30" fmla="*/ 3838 w 10000"/>
                <a:gd name="connsiteY30" fmla="*/ 0 h 9917"/>
                <a:gd name="connsiteX31" fmla="*/ 4428 w 10000"/>
                <a:gd name="connsiteY31" fmla="*/ 0 h 9917"/>
                <a:gd name="connsiteX32" fmla="*/ 4428 w 10000"/>
                <a:gd name="connsiteY32" fmla="*/ 440 h 9917"/>
                <a:gd name="connsiteX33" fmla="*/ 7872 w 10000"/>
                <a:gd name="connsiteY33" fmla="*/ 440 h 9917"/>
                <a:gd name="connsiteX34" fmla="*/ 4625 w 10000"/>
                <a:gd name="connsiteY34" fmla="*/ 2579 h 9917"/>
                <a:gd name="connsiteX35" fmla="*/ 5215 w 10000"/>
                <a:gd name="connsiteY35" fmla="*/ 2830 h 9917"/>
                <a:gd name="connsiteX36" fmla="*/ 10000 w 10000"/>
                <a:gd name="connsiteY36" fmla="*/ 2951 h 9917"/>
                <a:gd name="connsiteX37" fmla="*/ 7971 w 10000"/>
                <a:gd name="connsiteY37" fmla="*/ 5786 h 9917"/>
                <a:gd name="connsiteX38" fmla="*/ 7839 w 10000"/>
                <a:gd name="connsiteY38" fmla="*/ 6035 h 9917"/>
                <a:gd name="connsiteX39" fmla="*/ 7747 w 10000"/>
                <a:gd name="connsiteY39" fmla="*/ 6344 h 9917"/>
                <a:gd name="connsiteX40" fmla="*/ 6889 w 10000"/>
                <a:gd name="connsiteY40" fmla="*/ 6164 h 9917"/>
                <a:gd name="connsiteX41" fmla="*/ 7160 w 10000"/>
                <a:gd name="connsiteY41" fmla="*/ 6978 h 9917"/>
                <a:gd name="connsiteX42" fmla="*/ 6138 w 10000"/>
                <a:gd name="connsiteY42" fmla="*/ 7028 h 9917"/>
                <a:gd name="connsiteX43" fmla="*/ 5460 w 10000"/>
                <a:gd name="connsiteY43" fmla="*/ 6913 h 9917"/>
                <a:gd name="connsiteX44" fmla="*/ 5554 w 10000"/>
                <a:gd name="connsiteY44" fmla="*/ 6993 h 9917"/>
                <a:gd name="connsiteX45" fmla="*/ 5401 w 10000"/>
                <a:gd name="connsiteY45" fmla="*/ 7216 h 9917"/>
                <a:gd name="connsiteX46" fmla="*/ 7381 w 10000"/>
                <a:gd name="connsiteY46" fmla="*/ 7233 h 9917"/>
                <a:gd name="connsiteX47" fmla="*/ 8070 w 10000"/>
                <a:gd name="connsiteY47" fmla="*/ 7610 h 9917"/>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2264 w 10000"/>
                <a:gd name="connsiteY12" fmla="*/ 6723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7475 w 10000"/>
                <a:gd name="connsiteY40" fmla="*/ 6870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646 w 10155"/>
                <a:gd name="connsiteY20" fmla="*/ 5261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155" h="10000">
                  <a:moveTo>
                    <a:pt x="8070" y="7674"/>
                  </a:moveTo>
                  <a:lnTo>
                    <a:pt x="4822" y="9767"/>
                  </a:lnTo>
                  <a:lnTo>
                    <a:pt x="2559" y="9767"/>
                  </a:lnTo>
                  <a:lnTo>
                    <a:pt x="1968" y="9513"/>
                  </a:lnTo>
                  <a:lnTo>
                    <a:pt x="1139" y="10000"/>
                  </a:lnTo>
                  <a:lnTo>
                    <a:pt x="787" y="9576"/>
                  </a:lnTo>
                  <a:lnTo>
                    <a:pt x="787" y="9006"/>
                  </a:lnTo>
                  <a:lnTo>
                    <a:pt x="2264" y="8117"/>
                  </a:lnTo>
                  <a:lnTo>
                    <a:pt x="1673" y="7610"/>
                  </a:lnTo>
                  <a:lnTo>
                    <a:pt x="2264" y="7166"/>
                  </a:lnTo>
                  <a:lnTo>
                    <a:pt x="1729" y="7400"/>
                  </a:lnTo>
                  <a:cubicBezTo>
                    <a:pt x="1664" y="7231"/>
                    <a:pt x="1776" y="7617"/>
                    <a:pt x="1711" y="7448"/>
                  </a:cubicBezTo>
                  <a:lnTo>
                    <a:pt x="347" y="8423"/>
                  </a:lnTo>
                  <a:lnTo>
                    <a:pt x="69" y="8266"/>
                  </a:lnTo>
                  <a:cubicBezTo>
                    <a:pt x="146" y="7954"/>
                    <a:pt x="224" y="7643"/>
                    <a:pt x="301" y="7331"/>
                  </a:cubicBezTo>
                  <a:lnTo>
                    <a:pt x="802" y="6701"/>
                  </a:lnTo>
                  <a:cubicBezTo>
                    <a:pt x="732" y="6602"/>
                    <a:pt x="661" y="6504"/>
                    <a:pt x="591" y="6405"/>
                  </a:cubicBezTo>
                  <a:lnTo>
                    <a:pt x="0" y="6405"/>
                  </a:lnTo>
                  <a:lnTo>
                    <a:pt x="1496" y="5231"/>
                  </a:lnTo>
                  <a:cubicBezTo>
                    <a:pt x="1710" y="4979"/>
                    <a:pt x="902" y="5416"/>
                    <a:pt x="1116" y="5164"/>
                  </a:cubicBezTo>
                  <a:lnTo>
                    <a:pt x="646" y="5261"/>
                  </a:lnTo>
                  <a:lnTo>
                    <a:pt x="0" y="5011"/>
                  </a:lnTo>
                  <a:lnTo>
                    <a:pt x="885" y="4249"/>
                  </a:lnTo>
                  <a:lnTo>
                    <a:pt x="885" y="3679"/>
                  </a:lnTo>
                  <a:lnTo>
                    <a:pt x="1772" y="3742"/>
                  </a:lnTo>
                  <a:cubicBezTo>
                    <a:pt x="1739" y="3424"/>
                    <a:pt x="1706" y="3108"/>
                    <a:pt x="1673" y="2790"/>
                  </a:cubicBezTo>
                  <a:lnTo>
                    <a:pt x="985" y="2601"/>
                  </a:lnTo>
                  <a:lnTo>
                    <a:pt x="2066" y="1776"/>
                  </a:lnTo>
                  <a:lnTo>
                    <a:pt x="3346" y="1839"/>
                  </a:lnTo>
                  <a:lnTo>
                    <a:pt x="3346" y="888"/>
                  </a:lnTo>
                  <a:lnTo>
                    <a:pt x="3838" y="0"/>
                  </a:lnTo>
                  <a:lnTo>
                    <a:pt x="4428" y="0"/>
                  </a:lnTo>
                  <a:lnTo>
                    <a:pt x="4428" y="444"/>
                  </a:lnTo>
                  <a:lnTo>
                    <a:pt x="8659" y="500"/>
                  </a:lnTo>
                  <a:lnTo>
                    <a:pt x="5115" y="2786"/>
                  </a:lnTo>
                  <a:cubicBezTo>
                    <a:pt x="5148" y="2809"/>
                    <a:pt x="5182" y="2831"/>
                    <a:pt x="5215" y="2854"/>
                  </a:cubicBezTo>
                  <a:lnTo>
                    <a:pt x="10155" y="3102"/>
                  </a:lnTo>
                  <a:cubicBezTo>
                    <a:pt x="9174" y="5096"/>
                    <a:pt x="8647" y="4882"/>
                    <a:pt x="7971" y="5834"/>
                  </a:cubicBezTo>
                  <a:lnTo>
                    <a:pt x="7839" y="6086"/>
                  </a:lnTo>
                  <a:cubicBezTo>
                    <a:pt x="7808" y="6189"/>
                    <a:pt x="7778" y="6293"/>
                    <a:pt x="7747" y="6397"/>
                  </a:cubicBezTo>
                  <a:lnTo>
                    <a:pt x="7475" y="6870"/>
                  </a:lnTo>
                  <a:lnTo>
                    <a:pt x="7160" y="7036"/>
                  </a:lnTo>
                  <a:lnTo>
                    <a:pt x="6138" y="7087"/>
                  </a:lnTo>
                  <a:lnTo>
                    <a:pt x="5460" y="6971"/>
                  </a:lnTo>
                  <a:cubicBezTo>
                    <a:pt x="5491" y="6998"/>
                    <a:pt x="5523" y="7024"/>
                    <a:pt x="5554" y="7052"/>
                  </a:cubicBezTo>
                  <a:lnTo>
                    <a:pt x="5401" y="7276"/>
                  </a:lnTo>
                  <a:lnTo>
                    <a:pt x="7381" y="7294"/>
                  </a:lnTo>
                  <a:lnTo>
                    <a:pt x="8070" y="7674"/>
                  </a:lnTo>
                  <a:close/>
                </a:path>
              </a:pathLst>
            </a:custGeom>
            <a:solidFill>
              <a:srgbClr val="F2F2F2"/>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6" name="TT"/>
            <p:cNvSpPr>
              <a:spLocks/>
            </p:cNvSpPr>
            <p:nvPr/>
          </p:nvSpPr>
          <p:spPr bwMode="auto">
            <a:xfrm rot="460133">
              <a:off x="5499100" y="3176588"/>
              <a:ext cx="739775" cy="1141412"/>
            </a:xfrm>
            <a:custGeom>
              <a:avLst/>
              <a:gdLst>
                <a:gd name="T0" fmla="*/ 2147483647 w 213"/>
                <a:gd name="T1" fmla="*/ 2147483647 h 335"/>
                <a:gd name="T2" fmla="*/ 2147483647 w 213"/>
                <a:gd name="T3" fmla="*/ 2147483647 h 335"/>
                <a:gd name="T4" fmla="*/ 2147483647 w 213"/>
                <a:gd name="T5" fmla="*/ 2147483647 h 335"/>
                <a:gd name="T6" fmla="*/ 2147483647 w 213"/>
                <a:gd name="T7" fmla="*/ 2147483647 h 335"/>
                <a:gd name="T8" fmla="*/ 2147483647 w 213"/>
                <a:gd name="T9" fmla="*/ 2147483647 h 335"/>
                <a:gd name="T10" fmla="*/ 2147483647 w 213"/>
                <a:gd name="T11" fmla="*/ 2147483647 h 335"/>
                <a:gd name="T12" fmla="*/ 2147483647 w 213"/>
                <a:gd name="T13" fmla="*/ 2147483647 h 335"/>
                <a:gd name="T14" fmla="*/ 2147483647 w 213"/>
                <a:gd name="T15" fmla="*/ 2147483647 h 335"/>
                <a:gd name="T16" fmla="*/ 2147483647 w 213"/>
                <a:gd name="T17" fmla="*/ 2147483647 h 335"/>
                <a:gd name="T18" fmla="*/ 2147483647 w 213"/>
                <a:gd name="T19" fmla="*/ 2147483647 h 335"/>
                <a:gd name="T20" fmla="*/ 2147483647 w 213"/>
                <a:gd name="T21" fmla="*/ 2147483647 h 335"/>
                <a:gd name="T22" fmla="*/ 2147483647 w 213"/>
                <a:gd name="T23" fmla="*/ 2147483647 h 335"/>
                <a:gd name="T24" fmla="*/ 2147483647 w 213"/>
                <a:gd name="T25" fmla="*/ 2147483647 h 335"/>
                <a:gd name="T26" fmla="*/ 2147483647 w 213"/>
                <a:gd name="T27" fmla="*/ 2147483647 h 335"/>
                <a:gd name="T28" fmla="*/ 2147483647 w 213"/>
                <a:gd name="T29" fmla="*/ 2147483647 h 335"/>
                <a:gd name="T30" fmla="*/ 2147483647 w 213"/>
                <a:gd name="T31" fmla="*/ 2147483647 h 335"/>
                <a:gd name="T32" fmla="*/ 2147483647 w 213"/>
                <a:gd name="T33" fmla="*/ 2147483647 h 335"/>
                <a:gd name="T34" fmla="*/ 2147483647 w 213"/>
                <a:gd name="T35" fmla="*/ 2147483647 h 335"/>
                <a:gd name="T36" fmla="*/ 2147483647 w 213"/>
                <a:gd name="T37" fmla="*/ 2147483647 h 335"/>
                <a:gd name="T38" fmla="*/ 2147483647 w 213"/>
                <a:gd name="T39" fmla="*/ 2147483647 h 335"/>
                <a:gd name="T40" fmla="*/ 2147483647 w 213"/>
                <a:gd name="T41" fmla="*/ 2147483647 h 335"/>
                <a:gd name="T42" fmla="*/ 2147483647 w 213"/>
                <a:gd name="T43" fmla="*/ 2147483647 h 335"/>
                <a:gd name="T44" fmla="*/ 2147483647 w 213"/>
                <a:gd name="T45" fmla="*/ 2147483647 h 335"/>
                <a:gd name="T46" fmla="*/ 2147483647 w 213"/>
                <a:gd name="T47" fmla="*/ 2147483647 h 335"/>
                <a:gd name="T48" fmla="*/ 2147483647 w 213"/>
                <a:gd name="T49" fmla="*/ 2147483647 h 335"/>
                <a:gd name="T50" fmla="*/ 2147483647 w 213"/>
                <a:gd name="T51" fmla="*/ 2147483647 h 335"/>
                <a:gd name="T52" fmla="*/ 2147483647 w 213"/>
                <a:gd name="T53" fmla="*/ 2147483647 h 335"/>
                <a:gd name="T54" fmla="*/ 2147483647 w 213"/>
                <a:gd name="T55" fmla="*/ 2147483647 h 335"/>
                <a:gd name="T56" fmla="*/ 2147483647 w 213"/>
                <a:gd name="T57" fmla="*/ 2147483647 h 335"/>
                <a:gd name="T58" fmla="*/ 2147483647 w 213"/>
                <a:gd name="T59" fmla="*/ 2147483647 h 335"/>
                <a:gd name="T60" fmla="*/ 2147483647 w 213"/>
                <a:gd name="T61" fmla="*/ 2147483647 h 335"/>
                <a:gd name="T62" fmla="*/ 2147483647 w 213"/>
                <a:gd name="T63" fmla="*/ 2147483647 h 335"/>
                <a:gd name="T64" fmla="*/ 2147483647 w 213"/>
                <a:gd name="T65" fmla="*/ 2147483647 h 335"/>
                <a:gd name="T66" fmla="*/ 2147483647 w 213"/>
                <a:gd name="T67" fmla="*/ 2147483647 h 335"/>
                <a:gd name="T68" fmla="*/ 2147483647 w 213"/>
                <a:gd name="T69" fmla="*/ 2147483647 h 335"/>
                <a:gd name="T70" fmla="*/ 2147483647 w 213"/>
                <a:gd name="T71" fmla="*/ 2147483647 h 335"/>
                <a:gd name="T72" fmla="*/ 2147483647 w 213"/>
                <a:gd name="T73" fmla="*/ 2147483647 h 335"/>
                <a:gd name="T74" fmla="*/ 2147483647 w 213"/>
                <a:gd name="T75" fmla="*/ 2147483647 h 335"/>
                <a:gd name="T76" fmla="*/ 2147483647 w 213"/>
                <a:gd name="T77" fmla="*/ 2147483647 h 335"/>
                <a:gd name="T78" fmla="*/ 2147483647 w 213"/>
                <a:gd name="T79" fmla="*/ 2147483647 h 335"/>
                <a:gd name="T80" fmla="*/ 2147483647 w 213"/>
                <a:gd name="T81" fmla="*/ 2147483647 h 335"/>
                <a:gd name="T82" fmla="*/ 2147483647 w 213"/>
                <a:gd name="T83" fmla="*/ 2147483647 h 335"/>
                <a:gd name="T84" fmla="*/ 2147483647 w 213"/>
                <a:gd name="T85" fmla="*/ 2147483647 h 335"/>
                <a:gd name="T86" fmla="*/ 2147483647 w 213"/>
                <a:gd name="T87" fmla="*/ 2147483647 h 335"/>
                <a:gd name="T88" fmla="*/ 2147483647 w 213"/>
                <a:gd name="T89" fmla="*/ 2147483647 h 335"/>
                <a:gd name="T90" fmla="*/ 2147483647 w 213"/>
                <a:gd name="T91" fmla="*/ 2147483647 h 3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3"/>
                <a:gd name="T139" fmla="*/ 0 h 335"/>
                <a:gd name="T140" fmla="*/ 213 w 213"/>
                <a:gd name="T141" fmla="*/ 335 h 335"/>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474 w 10000"/>
                <a:gd name="connsiteY54" fmla="*/ 59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876 w 10000"/>
                <a:gd name="connsiteY54" fmla="*/ 10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876 w 10000"/>
                <a:gd name="connsiteY54" fmla="*/ 419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181 w 10000"/>
                <a:gd name="connsiteY40" fmla="*/ 2083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112 w 10056"/>
                <a:gd name="connsiteY0" fmla="*/ 10730 h 10760"/>
                <a:gd name="connsiteX1" fmla="*/ 6206 w 10056"/>
                <a:gd name="connsiteY1" fmla="*/ 9894 h 10760"/>
                <a:gd name="connsiteX2" fmla="*/ 6488 w 10056"/>
                <a:gd name="connsiteY2" fmla="*/ 9088 h 10760"/>
                <a:gd name="connsiteX3" fmla="*/ 5690 w 10056"/>
                <a:gd name="connsiteY3" fmla="*/ 8909 h 10760"/>
                <a:gd name="connsiteX4" fmla="*/ 5455 w 10056"/>
                <a:gd name="connsiteY4" fmla="*/ 8730 h 10760"/>
                <a:gd name="connsiteX5" fmla="*/ 5079 w 10056"/>
                <a:gd name="connsiteY5" fmla="*/ 8820 h 10760"/>
                <a:gd name="connsiteX6" fmla="*/ 4751 w 10056"/>
                <a:gd name="connsiteY6" fmla="*/ 8253 h 10760"/>
                <a:gd name="connsiteX7" fmla="*/ 4187 w 10056"/>
                <a:gd name="connsiteY7" fmla="*/ 7894 h 10760"/>
                <a:gd name="connsiteX8" fmla="*/ 3765 w 10056"/>
                <a:gd name="connsiteY8" fmla="*/ 7924 h 10760"/>
                <a:gd name="connsiteX9" fmla="*/ 3859 w 10056"/>
                <a:gd name="connsiteY9" fmla="*/ 8103 h 10760"/>
                <a:gd name="connsiteX10" fmla="*/ 3389 w 10056"/>
                <a:gd name="connsiteY10" fmla="*/ 8133 h 10760"/>
                <a:gd name="connsiteX11" fmla="*/ 3342 w 10056"/>
                <a:gd name="connsiteY11" fmla="*/ 7447 h 10760"/>
                <a:gd name="connsiteX12" fmla="*/ 2591 w 10056"/>
                <a:gd name="connsiteY12" fmla="*/ 7417 h 10760"/>
                <a:gd name="connsiteX13" fmla="*/ 2685 w 10056"/>
                <a:gd name="connsiteY13" fmla="*/ 7118 h 10760"/>
                <a:gd name="connsiteX14" fmla="*/ 2356 w 10056"/>
                <a:gd name="connsiteY14" fmla="*/ 7029 h 10760"/>
                <a:gd name="connsiteX15" fmla="*/ 2169 w 10056"/>
                <a:gd name="connsiteY15" fmla="*/ 6521 h 10760"/>
                <a:gd name="connsiteX16" fmla="*/ 2497 w 10056"/>
                <a:gd name="connsiteY16" fmla="*/ 6372 h 10760"/>
                <a:gd name="connsiteX17" fmla="*/ 2967 w 10056"/>
                <a:gd name="connsiteY17" fmla="*/ 5984 h 10760"/>
                <a:gd name="connsiteX18" fmla="*/ 2685 w 10056"/>
                <a:gd name="connsiteY18" fmla="*/ 5775 h 10760"/>
                <a:gd name="connsiteX19" fmla="*/ 3248 w 10056"/>
                <a:gd name="connsiteY19" fmla="*/ 5447 h 10760"/>
                <a:gd name="connsiteX20" fmla="*/ 2685 w 10056"/>
                <a:gd name="connsiteY20" fmla="*/ 5447 h 10760"/>
                <a:gd name="connsiteX21" fmla="*/ 2685 w 10056"/>
                <a:gd name="connsiteY21" fmla="*/ 5088 h 10760"/>
                <a:gd name="connsiteX22" fmla="*/ 2873 w 10056"/>
                <a:gd name="connsiteY22" fmla="*/ 4521 h 10760"/>
                <a:gd name="connsiteX23" fmla="*/ 2638 w 10056"/>
                <a:gd name="connsiteY23" fmla="*/ 4044 h 10760"/>
                <a:gd name="connsiteX24" fmla="*/ 3344 w 10056"/>
                <a:gd name="connsiteY24" fmla="*/ 3532 h 10760"/>
                <a:gd name="connsiteX25" fmla="*/ 2946 w 10056"/>
                <a:gd name="connsiteY25" fmla="*/ 3342 h 10760"/>
                <a:gd name="connsiteX26" fmla="*/ 2676 w 10056"/>
                <a:gd name="connsiteY26" fmla="*/ 3260 h 10760"/>
                <a:gd name="connsiteX27" fmla="*/ 1981 w 10056"/>
                <a:gd name="connsiteY27" fmla="*/ 3357 h 10760"/>
                <a:gd name="connsiteX28" fmla="*/ 1743 w 10056"/>
                <a:gd name="connsiteY28" fmla="*/ 3336 h 10760"/>
                <a:gd name="connsiteX29" fmla="*/ 1371 w 10056"/>
                <a:gd name="connsiteY29" fmla="*/ 3118 h 10760"/>
                <a:gd name="connsiteX30" fmla="*/ 995 w 10056"/>
                <a:gd name="connsiteY30" fmla="*/ 2939 h 10760"/>
                <a:gd name="connsiteX31" fmla="*/ 225 w 10056"/>
                <a:gd name="connsiteY31" fmla="*/ 2950 h 10760"/>
                <a:gd name="connsiteX32" fmla="*/ 7 w 10056"/>
                <a:gd name="connsiteY32" fmla="*/ 2306 h 10760"/>
                <a:gd name="connsiteX33" fmla="*/ 244 w 10056"/>
                <a:gd name="connsiteY33" fmla="*/ 2820 h 10760"/>
                <a:gd name="connsiteX34" fmla="*/ 56 w 10056"/>
                <a:gd name="connsiteY34" fmla="*/ 2790 h 10760"/>
                <a:gd name="connsiteX35" fmla="*/ 414 w 10056"/>
                <a:gd name="connsiteY35" fmla="*/ 1986 h 10760"/>
                <a:gd name="connsiteX36" fmla="*/ 1063 w 10056"/>
                <a:gd name="connsiteY36" fmla="*/ 1999 h 10760"/>
                <a:gd name="connsiteX37" fmla="*/ 1840 w 10056"/>
                <a:gd name="connsiteY37" fmla="*/ 2461 h 10760"/>
                <a:gd name="connsiteX38" fmla="*/ 764 w 10056"/>
                <a:gd name="connsiteY38" fmla="*/ 2015 h 10760"/>
                <a:gd name="connsiteX39" fmla="*/ 1075 w 10056"/>
                <a:gd name="connsiteY39" fmla="*/ 2021 h 10760"/>
                <a:gd name="connsiteX40" fmla="*/ 1237 w 10056"/>
                <a:gd name="connsiteY40" fmla="*/ 2083 h 10760"/>
                <a:gd name="connsiteX41" fmla="*/ 2122 w 10056"/>
                <a:gd name="connsiteY41" fmla="*/ 2820 h 10760"/>
                <a:gd name="connsiteX42" fmla="*/ 1910 w 10056"/>
                <a:gd name="connsiteY42" fmla="*/ 2178 h 10760"/>
                <a:gd name="connsiteX43" fmla="*/ 2236 w 10056"/>
                <a:gd name="connsiteY43" fmla="*/ 1886 h 10760"/>
                <a:gd name="connsiteX44" fmla="*/ 2361 w 10056"/>
                <a:gd name="connsiteY44" fmla="*/ 1793 h 10760"/>
                <a:gd name="connsiteX45" fmla="*/ 3061 w 10056"/>
                <a:gd name="connsiteY45" fmla="*/ 1805 h 10760"/>
                <a:gd name="connsiteX46" fmla="*/ 2779 w 10056"/>
                <a:gd name="connsiteY46" fmla="*/ 1835 h 10760"/>
                <a:gd name="connsiteX47" fmla="*/ 2591 w 10056"/>
                <a:gd name="connsiteY47" fmla="*/ 1596 h 10760"/>
                <a:gd name="connsiteX48" fmla="*/ 2574 w 10056"/>
                <a:gd name="connsiteY48" fmla="*/ 1359 h 10760"/>
                <a:gd name="connsiteX49" fmla="*/ 2622 w 10056"/>
                <a:gd name="connsiteY49" fmla="*/ 1009 h 10760"/>
                <a:gd name="connsiteX50" fmla="*/ 2356 w 10056"/>
                <a:gd name="connsiteY50" fmla="*/ 1059 h 10760"/>
                <a:gd name="connsiteX51" fmla="*/ 2310 w 10056"/>
                <a:gd name="connsiteY51" fmla="*/ 879 h 10760"/>
                <a:gd name="connsiteX52" fmla="*/ 2425 w 10056"/>
                <a:gd name="connsiteY52" fmla="*/ 580 h 10760"/>
                <a:gd name="connsiteX53" fmla="*/ 2323 w 10056"/>
                <a:gd name="connsiteY53" fmla="*/ 0 h 10760"/>
                <a:gd name="connsiteX54" fmla="*/ 3621 w 10056"/>
                <a:gd name="connsiteY54" fmla="*/ 195 h 10760"/>
                <a:gd name="connsiteX55" fmla="*/ 4657 w 10056"/>
                <a:gd name="connsiteY55" fmla="*/ 1088 h 10760"/>
                <a:gd name="connsiteX56" fmla="*/ 4917 w 10056"/>
                <a:gd name="connsiteY56" fmla="*/ 1091 h 10760"/>
                <a:gd name="connsiteX57" fmla="*/ 4983 w 10056"/>
                <a:gd name="connsiteY57" fmla="*/ 1196 h 10760"/>
                <a:gd name="connsiteX58" fmla="*/ 5199 w 10056"/>
                <a:gd name="connsiteY58" fmla="*/ 1300 h 10760"/>
                <a:gd name="connsiteX59" fmla="*/ 5640 w 10056"/>
                <a:gd name="connsiteY59" fmla="*/ 1256 h 10760"/>
                <a:gd name="connsiteX60" fmla="*/ 5690 w 10056"/>
                <a:gd name="connsiteY60" fmla="*/ 1745 h 10760"/>
                <a:gd name="connsiteX61" fmla="*/ 5971 w 10056"/>
                <a:gd name="connsiteY61" fmla="*/ 1596 h 10760"/>
                <a:gd name="connsiteX62" fmla="*/ 6159 w 10056"/>
                <a:gd name="connsiteY62" fmla="*/ 1924 h 10760"/>
                <a:gd name="connsiteX63" fmla="*/ 5737 w 10056"/>
                <a:gd name="connsiteY63" fmla="*/ 2163 h 10760"/>
                <a:gd name="connsiteX64" fmla="*/ 6065 w 10056"/>
                <a:gd name="connsiteY64" fmla="*/ 2282 h 10760"/>
                <a:gd name="connsiteX65" fmla="*/ 5971 w 10056"/>
                <a:gd name="connsiteY65" fmla="*/ 2700 h 10760"/>
                <a:gd name="connsiteX66" fmla="*/ 6866 w 10056"/>
                <a:gd name="connsiteY66" fmla="*/ 3130 h 10760"/>
                <a:gd name="connsiteX67" fmla="*/ 5479 w 10056"/>
                <a:gd name="connsiteY67" fmla="*/ 3332 h 10760"/>
                <a:gd name="connsiteX68" fmla="*/ 5732 w 10056"/>
                <a:gd name="connsiteY68" fmla="*/ 3764 h 10760"/>
                <a:gd name="connsiteX69" fmla="*/ 6159 w 10056"/>
                <a:gd name="connsiteY69" fmla="*/ 3715 h 10760"/>
                <a:gd name="connsiteX70" fmla="*/ 5690 w 10056"/>
                <a:gd name="connsiteY70" fmla="*/ 3805 h 10760"/>
                <a:gd name="connsiteX71" fmla="*/ 6022 w 10056"/>
                <a:gd name="connsiteY71" fmla="*/ 3949 h 10760"/>
                <a:gd name="connsiteX72" fmla="*/ 5923 w 10056"/>
                <a:gd name="connsiteY72" fmla="*/ 4185 h 10760"/>
                <a:gd name="connsiteX73" fmla="*/ 6206 w 10056"/>
                <a:gd name="connsiteY73" fmla="*/ 4909 h 10760"/>
                <a:gd name="connsiteX74" fmla="*/ 5596 w 10056"/>
                <a:gd name="connsiteY74" fmla="*/ 4939 h 10760"/>
                <a:gd name="connsiteX75" fmla="*/ 5596 w 10056"/>
                <a:gd name="connsiteY75" fmla="*/ 5357 h 10760"/>
                <a:gd name="connsiteX76" fmla="*/ 4657 w 10056"/>
                <a:gd name="connsiteY76" fmla="*/ 5775 h 10760"/>
                <a:gd name="connsiteX77" fmla="*/ 4939 w 10056"/>
                <a:gd name="connsiteY77" fmla="*/ 6163 h 10760"/>
                <a:gd name="connsiteX78" fmla="*/ 4704 w 10056"/>
                <a:gd name="connsiteY78" fmla="*/ 6521 h 10760"/>
                <a:gd name="connsiteX79" fmla="*/ 5502 w 10056"/>
                <a:gd name="connsiteY79" fmla="*/ 7208 h 10760"/>
                <a:gd name="connsiteX80" fmla="*/ 6629 w 10056"/>
                <a:gd name="connsiteY80" fmla="*/ 7208 h 10760"/>
                <a:gd name="connsiteX81" fmla="*/ 7286 w 10056"/>
                <a:gd name="connsiteY81" fmla="*/ 7088 h 10760"/>
                <a:gd name="connsiteX82" fmla="*/ 7849 w 10056"/>
                <a:gd name="connsiteY82" fmla="*/ 7238 h 10760"/>
                <a:gd name="connsiteX83" fmla="*/ 8319 w 10056"/>
                <a:gd name="connsiteY83" fmla="*/ 7626 h 10760"/>
                <a:gd name="connsiteX84" fmla="*/ 8694 w 10056"/>
                <a:gd name="connsiteY84" fmla="*/ 8372 h 10760"/>
                <a:gd name="connsiteX85" fmla="*/ 9070 w 10056"/>
                <a:gd name="connsiteY85" fmla="*/ 8342 h 10760"/>
                <a:gd name="connsiteX86" fmla="*/ 10056 w 10056"/>
                <a:gd name="connsiteY86" fmla="*/ 9088 h 10760"/>
                <a:gd name="connsiteX87" fmla="*/ 8882 w 10056"/>
                <a:gd name="connsiteY87" fmla="*/ 9894 h 10760"/>
                <a:gd name="connsiteX88" fmla="*/ 9352 w 10056"/>
                <a:gd name="connsiteY88" fmla="*/ 10491 h 10760"/>
                <a:gd name="connsiteX89" fmla="*/ 9164 w 10056"/>
                <a:gd name="connsiteY89" fmla="*/ 10730 h 10760"/>
                <a:gd name="connsiteX90" fmla="*/ 8882 w 10056"/>
                <a:gd name="connsiteY90" fmla="*/ 10491 h 10760"/>
                <a:gd name="connsiteX91" fmla="*/ 7004 w 10056"/>
                <a:gd name="connsiteY91" fmla="*/ 10461 h 10760"/>
                <a:gd name="connsiteX92" fmla="*/ 6676 w 10056"/>
                <a:gd name="connsiteY92" fmla="*/ 10760 h 10760"/>
                <a:gd name="connsiteX93" fmla="*/ 6112 w 10056"/>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2231 w 10165"/>
                <a:gd name="connsiteY41" fmla="*/ 2820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0165" h="10760">
                  <a:moveTo>
                    <a:pt x="6221" y="10730"/>
                  </a:moveTo>
                  <a:cubicBezTo>
                    <a:pt x="6252" y="10451"/>
                    <a:pt x="6284" y="10173"/>
                    <a:pt x="6315" y="9894"/>
                  </a:cubicBezTo>
                  <a:lnTo>
                    <a:pt x="6597" y="9088"/>
                  </a:lnTo>
                  <a:lnTo>
                    <a:pt x="5799" y="8909"/>
                  </a:lnTo>
                  <a:lnTo>
                    <a:pt x="5564" y="8730"/>
                  </a:lnTo>
                  <a:lnTo>
                    <a:pt x="5188" y="8820"/>
                  </a:lnTo>
                  <a:lnTo>
                    <a:pt x="4860" y="8253"/>
                  </a:lnTo>
                  <a:lnTo>
                    <a:pt x="4296" y="7894"/>
                  </a:lnTo>
                  <a:lnTo>
                    <a:pt x="3874" y="7924"/>
                  </a:lnTo>
                  <a:cubicBezTo>
                    <a:pt x="3905" y="7984"/>
                    <a:pt x="3937" y="8043"/>
                    <a:pt x="3968" y="8103"/>
                  </a:cubicBezTo>
                  <a:lnTo>
                    <a:pt x="3498" y="8133"/>
                  </a:lnTo>
                  <a:cubicBezTo>
                    <a:pt x="3482" y="7904"/>
                    <a:pt x="3467" y="7676"/>
                    <a:pt x="3451" y="7447"/>
                  </a:cubicBezTo>
                  <a:lnTo>
                    <a:pt x="2700" y="7417"/>
                  </a:lnTo>
                  <a:cubicBezTo>
                    <a:pt x="2731" y="7317"/>
                    <a:pt x="2763" y="7218"/>
                    <a:pt x="2794" y="7118"/>
                  </a:cubicBezTo>
                  <a:lnTo>
                    <a:pt x="2465" y="7029"/>
                  </a:lnTo>
                  <a:lnTo>
                    <a:pt x="2278" y="6521"/>
                  </a:lnTo>
                  <a:lnTo>
                    <a:pt x="2606" y="6372"/>
                  </a:lnTo>
                  <a:lnTo>
                    <a:pt x="3076" y="5984"/>
                  </a:lnTo>
                  <a:lnTo>
                    <a:pt x="2794" y="5775"/>
                  </a:lnTo>
                  <a:lnTo>
                    <a:pt x="3357" y="5447"/>
                  </a:lnTo>
                  <a:lnTo>
                    <a:pt x="2794" y="5447"/>
                  </a:lnTo>
                  <a:lnTo>
                    <a:pt x="2794" y="5088"/>
                  </a:lnTo>
                  <a:cubicBezTo>
                    <a:pt x="2857" y="4899"/>
                    <a:pt x="2919" y="4710"/>
                    <a:pt x="2982" y="4521"/>
                  </a:cubicBezTo>
                  <a:lnTo>
                    <a:pt x="2747" y="4044"/>
                  </a:lnTo>
                  <a:lnTo>
                    <a:pt x="3453" y="3532"/>
                  </a:lnTo>
                  <a:lnTo>
                    <a:pt x="3055" y="3342"/>
                  </a:lnTo>
                  <a:lnTo>
                    <a:pt x="2785" y="3260"/>
                  </a:lnTo>
                  <a:lnTo>
                    <a:pt x="2078" y="3486"/>
                  </a:lnTo>
                  <a:cubicBezTo>
                    <a:pt x="2047" y="3406"/>
                    <a:pt x="1883" y="3416"/>
                    <a:pt x="1852" y="3336"/>
                  </a:cubicBezTo>
                  <a:lnTo>
                    <a:pt x="1480" y="3118"/>
                  </a:lnTo>
                  <a:lnTo>
                    <a:pt x="793" y="3070"/>
                  </a:lnTo>
                  <a:lnTo>
                    <a:pt x="334" y="2950"/>
                  </a:lnTo>
                  <a:cubicBezTo>
                    <a:pt x="397" y="2851"/>
                    <a:pt x="-57" y="2415"/>
                    <a:pt x="6" y="2316"/>
                  </a:cubicBezTo>
                  <a:cubicBezTo>
                    <a:pt x="24" y="2493"/>
                    <a:pt x="335" y="2643"/>
                    <a:pt x="353" y="2820"/>
                  </a:cubicBezTo>
                  <a:lnTo>
                    <a:pt x="165" y="2790"/>
                  </a:lnTo>
                  <a:lnTo>
                    <a:pt x="523" y="1986"/>
                  </a:lnTo>
                  <a:lnTo>
                    <a:pt x="1172" y="1999"/>
                  </a:lnTo>
                  <a:cubicBezTo>
                    <a:pt x="1541" y="2143"/>
                    <a:pt x="1690" y="2307"/>
                    <a:pt x="1949" y="2461"/>
                  </a:cubicBezTo>
                  <a:lnTo>
                    <a:pt x="873" y="2015"/>
                  </a:lnTo>
                  <a:cubicBezTo>
                    <a:pt x="857" y="2045"/>
                    <a:pt x="1200" y="1991"/>
                    <a:pt x="1184" y="2021"/>
                  </a:cubicBezTo>
                  <a:lnTo>
                    <a:pt x="1346" y="2083"/>
                  </a:lnTo>
                  <a:cubicBezTo>
                    <a:pt x="1504" y="2205"/>
                    <a:pt x="1508" y="2111"/>
                    <a:pt x="1821" y="2449"/>
                  </a:cubicBezTo>
                  <a:cubicBezTo>
                    <a:pt x="1750" y="2235"/>
                    <a:pt x="2090" y="2392"/>
                    <a:pt x="2019" y="2178"/>
                  </a:cubicBezTo>
                  <a:lnTo>
                    <a:pt x="2345" y="1886"/>
                  </a:lnTo>
                  <a:lnTo>
                    <a:pt x="2470" y="1793"/>
                  </a:lnTo>
                  <a:lnTo>
                    <a:pt x="3170" y="1805"/>
                  </a:lnTo>
                  <a:lnTo>
                    <a:pt x="2888" y="1835"/>
                  </a:lnTo>
                  <a:lnTo>
                    <a:pt x="2700" y="1596"/>
                  </a:lnTo>
                  <a:cubicBezTo>
                    <a:pt x="2694" y="1517"/>
                    <a:pt x="2689" y="1438"/>
                    <a:pt x="2683" y="1359"/>
                  </a:cubicBezTo>
                  <a:cubicBezTo>
                    <a:pt x="2736" y="1239"/>
                    <a:pt x="2678" y="1129"/>
                    <a:pt x="2731" y="1009"/>
                  </a:cubicBezTo>
                  <a:lnTo>
                    <a:pt x="2465" y="1059"/>
                  </a:lnTo>
                  <a:cubicBezTo>
                    <a:pt x="2450" y="999"/>
                    <a:pt x="2434" y="939"/>
                    <a:pt x="2419" y="879"/>
                  </a:cubicBezTo>
                  <a:cubicBezTo>
                    <a:pt x="2457" y="779"/>
                    <a:pt x="2496" y="680"/>
                    <a:pt x="2534" y="580"/>
                  </a:cubicBezTo>
                  <a:lnTo>
                    <a:pt x="2432" y="0"/>
                  </a:lnTo>
                  <a:lnTo>
                    <a:pt x="3730" y="195"/>
                  </a:lnTo>
                  <a:lnTo>
                    <a:pt x="4766" y="1088"/>
                  </a:lnTo>
                  <a:cubicBezTo>
                    <a:pt x="4797" y="1188"/>
                    <a:pt x="4995" y="991"/>
                    <a:pt x="5026" y="1091"/>
                  </a:cubicBezTo>
                  <a:lnTo>
                    <a:pt x="5092" y="1196"/>
                  </a:lnTo>
                  <a:cubicBezTo>
                    <a:pt x="5186" y="1176"/>
                    <a:pt x="5214" y="1320"/>
                    <a:pt x="5308" y="1300"/>
                  </a:cubicBezTo>
                  <a:lnTo>
                    <a:pt x="5749" y="1256"/>
                  </a:lnTo>
                  <a:cubicBezTo>
                    <a:pt x="5773" y="1393"/>
                    <a:pt x="5775" y="1608"/>
                    <a:pt x="5799" y="1745"/>
                  </a:cubicBezTo>
                  <a:lnTo>
                    <a:pt x="6080" y="1596"/>
                  </a:lnTo>
                  <a:cubicBezTo>
                    <a:pt x="6143" y="1705"/>
                    <a:pt x="6205" y="1815"/>
                    <a:pt x="6268" y="1924"/>
                  </a:cubicBezTo>
                  <a:lnTo>
                    <a:pt x="5846" y="2163"/>
                  </a:lnTo>
                  <a:lnTo>
                    <a:pt x="6174" y="2282"/>
                  </a:lnTo>
                  <a:cubicBezTo>
                    <a:pt x="6143" y="2421"/>
                    <a:pt x="6111" y="2561"/>
                    <a:pt x="6080" y="2700"/>
                  </a:cubicBezTo>
                  <a:lnTo>
                    <a:pt x="6975" y="3130"/>
                  </a:lnTo>
                  <a:lnTo>
                    <a:pt x="5588" y="3332"/>
                  </a:lnTo>
                  <a:lnTo>
                    <a:pt x="5841" y="3764"/>
                  </a:lnTo>
                  <a:lnTo>
                    <a:pt x="6268" y="3715"/>
                  </a:lnTo>
                  <a:lnTo>
                    <a:pt x="5799" y="3805"/>
                  </a:lnTo>
                  <a:cubicBezTo>
                    <a:pt x="5830" y="3894"/>
                    <a:pt x="6100" y="3860"/>
                    <a:pt x="6131" y="3949"/>
                  </a:cubicBezTo>
                  <a:cubicBezTo>
                    <a:pt x="6098" y="4028"/>
                    <a:pt x="6065" y="4106"/>
                    <a:pt x="6032" y="4185"/>
                  </a:cubicBezTo>
                  <a:cubicBezTo>
                    <a:pt x="6063" y="4424"/>
                    <a:pt x="6284" y="4670"/>
                    <a:pt x="6315" y="4909"/>
                  </a:cubicBezTo>
                  <a:lnTo>
                    <a:pt x="5705" y="4939"/>
                  </a:lnTo>
                  <a:lnTo>
                    <a:pt x="5705" y="5357"/>
                  </a:lnTo>
                  <a:lnTo>
                    <a:pt x="4766" y="5775"/>
                  </a:lnTo>
                  <a:lnTo>
                    <a:pt x="5048" y="6163"/>
                  </a:lnTo>
                  <a:lnTo>
                    <a:pt x="4813" y="6521"/>
                  </a:lnTo>
                  <a:lnTo>
                    <a:pt x="5611" y="7208"/>
                  </a:lnTo>
                  <a:lnTo>
                    <a:pt x="6738" y="7208"/>
                  </a:lnTo>
                  <a:lnTo>
                    <a:pt x="7395" y="7088"/>
                  </a:lnTo>
                  <a:lnTo>
                    <a:pt x="7958" y="7238"/>
                  </a:lnTo>
                  <a:lnTo>
                    <a:pt x="8428" y="7626"/>
                  </a:lnTo>
                  <a:lnTo>
                    <a:pt x="8803" y="8372"/>
                  </a:lnTo>
                  <a:lnTo>
                    <a:pt x="9179" y="8342"/>
                  </a:lnTo>
                  <a:lnTo>
                    <a:pt x="10165" y="9088"/>
                  </a:lnTo>
                  <a:lnTo>
                    <a:pt x="8991" y="9894"/>
                  </a:lnTo>
                  <a:lnTo>
                    <a:pt x="9461" y="10491"/>
                  </a:lnTo>
                  <a:lnTo>
                    <a:pt x="9273" y="10730"/>
                  </a:lnTo>
                  <a:lnTo>
                    <a:pt x="8991" y="10491"/>
                  </a:lnTo>
                  <a:lnTo>
                    <a:pt x="7113" y="10461"/>
                  </a:lnTo>
                  <a:lnTo>
                    <a:pt x="6785" y="10760"/>
                  </a:lnTo>
                  <a:lnTo>
                    <a:pt x="6221" y="1073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7" name="He"/>
            <p:cNvSpPr>
              <a:spLocks/>
            </p:cNvSpPr>
            <p:nvPr/>
          </p:nvSpPr>
          <p:spPr bwMode="auto">
            <a:xfrm rot="460133">
              <a:off x="5854700" y="3278188"/>
              <a:ext cx="508000" cy="701675"/>
            </a:xfrm>
            <a:custGeom>
              <a:avLst/>
              <a:gdLst>
                <a:gd name="T0" fmla="*/ 2147483647 w 139"/>
                <a:gd name="T1" fmla="*/ 2147483647 h 201"/>
                <a:gd name="T2" fmla="*/ 2147483647 w 139"/>
                <a:gd name="T3" fmla="*/ 2147483647 h 201"/>
                <a:gd name="T4" fmla="*/ 2147483647 w 139"/>
                <a:gd name="T5" fmla="*/ 2147483647 h 201"/>
                <a:gd name="T6" fmla="*/ 2147483647 w 139"/>
                <a:gd name="T7" fmla="*/ 2147483647 h 201"/>
                <a:gd name="T8" fmla="*/ 0 w 139"/>
                <a:gd name="T9" fmla="*/ 2147483647 h 201"/>
                <a:gd name="T10" fmla="*/ 2147483647 w 139"/>
                <a:gd name="T11" fmla="*/ 2147483647 h 201"/>
                <a:gd name="T12" fmla="*/ 0 w 139"/>
                <a:gd name="T13" fmla="*/ 2147483647 h 201"/>
                <a:gd name="T14" fmla="*/ 2147483647 w 139"/>
                <a:gd name="T15" fmla="*/ 2147483647 h 201"/>
                <a:gd name="T16" fmla="*/ 2147483647 w 139"/>
                <a:gd name="T17" fmla="*/ 2147483647 h 201"/>
                <a:gd name="T18" fmla="*/ 2147483647 w 139"/>
                <a:gd name="T19" fmla="*/ 2147483647 h 201"/>
                <a:gd name="T20" fmla="*/ 2147483647 w 139"/>
                <a:gd name="T21" fmla="*/ 2147483647 h 201"/>
                <a:gd name="T22" fmla="*/ 2147483647 w 139"/>
                <a:gd name="T23" fmla="*/ 2147483647 h 201"/>
                <a:gd name="T24" fmla="*/ 2147483647 w 139"/>
                <a:gd name="T25" fmla="*/ 2147483647 h 201"/>
                <a:gd name="T26" fmla="*/ 2147483647 w 139"/>
                <a:gd name="T27" fmla="*/ 2147483647 h 201"/>
                <a:gd name="T28" fmla="*/ 2147483647 w 139"/>
                <a:gd name="T29" fmla="*/ 2147483647 h 201"/>
                <a:gd name="T30" fmla="*/ 2147483647 w 139"/>
                <a:gd name="T31" fmla="*/ 2147483647 h 201"/>
                <a:gd name="T32" fmla="*/ 2147483647 w 139"/>
                <a:gd name="T33" fmla="*/ 2147483647 h 201"/>
                <a:gd name="T34" fmla="*/ 2147483647 w 139"/>
                <a:gd name="T35" fmla="*/ 2147483647 h 201"/>
                <a:gd name="T36" fmla="*/ 2147483647 w 139"/>
                <a:gd name="T37" fmla="*/ 2147483647 h 201"/>
                <a:gd name="T38" fmla="*/ 2147483647 w 139"/>
                <a:gd name="T39" fmla="*/ 2147483647 h 201"/>
                <a:gd name="T40" fmla="*/ 2147483647 w 139"/>
                <a:gd name="T41" fmla="*/ 2147483647 h 201"/>
                <a:gd name="T42" fmla="*/ 2147483647 w 139"/>
                <a:gd name="T43" fmla="*/ 2147483647 h 201"/>
                <a:gd name="T44" fmla="*/ 2147483647 w 139"/>
                <a:gd name="T45" fmla="*/ 2147483647 h 201"/>
                <a:gd name="T46" fmla="*/ 2147483647 w 139"/>
                <a:gd name="T47" fmla="*/ 2147483647 h 201"/>
                <a:gd name="T48" fmla="*/ 2147483647 w 139"/>
                <a:gd name="T49" fmla="*/ 2147483647 h 201"/>
                <a:gd name="T50" fmla="*/ 2147483647 w 139"/>
                <a:gd name="T51" fmla="*/ 2147483647 h 201"/>
                <a:gd name="T52" fmla="*/ 2147483647 w 139"/>
                <a:gd name="T53" fmla="*/ 2147483647 h 201"/>
                <a:gd name="T54" fmla="*/ 2147483647 w 139"/>
                <a:gd name="T55" fmla="*/ 2147483647 h 201"/>
                <a:gd name="T56" fmla="*/ 2147483647 w 139"/>
                <a:gd name="T57" fmla="*/ 2147483647 h 201"/>
                <a:gd name="T58" fmla="*/ 2147483647 w 139"/>
                <a:gd name="T59" fmla="*/ 0 h 201"/>
                <a:gd name="T60" fmla="*/ 2147483647 w 139"/>
                <a:gd name="T61" fmla="*/ 2147483647 h 201"/>
                <a:gd name="T62" fmla="*/ 2147483647 w 139"/>
                <a:gd name="T63" fmla="*/ 2147483647 h 201"/>
                <a:gd name="T64" fmla="*/ 2147483647 w 139"/>
                <a:gd name="T65" fmla="*/ 2147483647 h 201"/>
                <a:gd name="T66" fmla="*/ 2147483647 w 139"/>
                <a:gd name="T67" fmla="*/ 2147483647 h 201"/>
                <a:gd name="T68" fmla="*/ 2147483647 w 139"/>
                <a:gd name="T69" fmla="*/ 2147483647 h 201"/>
                <a:gd name="T70" fmla="*/ 2147483647 w 139"/>
                <a:gd name="T71" fmla="*/ 2147483647 h 201"/>
                <a:gd name="T72" fmla="*/ 2147483647 w 139"/>
                <a:gd name="T73" fmla="*/ 2147483647 h 201"/>
                <a:gd name="T74" fmla="*/ 2147483647 w 139"/>
                <a:gd name="T75" fmla="*/ 2147483647 h 201"/>
                <a:gd name="T76" fmla="*/ 2147483647 w 139"/>
                <a:gd name="T77" fmla="*/ 2147483647 h 201"/>
                <a:gd name="T78" fmla="*/ 2147483647 w 139"/>
                <a:gd name="T79" fmla="*/ 2147483647 h 201"/>
                <a:gd name="T80" fmla="*/ 2147483647 w 139"/>
                <a:gd name="T81" fmla="*/ 2147483647 h 201"/>
                <a:gd name="T82" fmla="*/ 2147483647 w 139"/>
                <a:gd name="T83" fmla="*/ 2147483647 h 201"/>
                <a:gd name="T84" fmla="*/ 2147483647 w 139"/>
                <a:gd name="T85" fmla="*/ 2147483647 h 201"/>
                <a:gd name="T86" fmla="*/ 2147483647 w 139"/>
                <a:gd name="T87" fmla="*/ 2147483647 h 201"/>
                <a:gd name="T88" fmla="*/ 2147483647 w 139"/>
                <a:gd name="T89" fmla="*/ 2147483647 h 201"/>
                <a:gd name="T90" fmla="*/ 2147483647 w 139"/>
                <a:gd name="T91" fmla="*/ 2147483647 h 201"/>
                <a:gd name="T92" fmla="*/ 2147483647 w 139"/>
                <a:gd name="T93" fmla="*/ 2147483647 h 201"/>
                <a:gd name="T94" fmla="*/ 2147483647 w 139"/>
                <a:gd name="T95" fmla="*/ 2147483647 h 2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9"/>
                <a:gd name="T145" fmla="*/ 0 h 201"/>
                <a:gd name="T146" fmla="*/ 139 w 139"/>
                <a:gd name="T147" fmla="*/ 201 h 201"/>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957 w 10000"/>
                <a:gd name="connsiteY23" fmla="*/ 1294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201 w 10000"/>
                <a:gd name="connsiteY22" fmla="*/ 1467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1921 w 10000"/>
                <a:gd name="connsiteY9" fmla="*/ 5874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163 w 10000"/>
                <a:gd name="connsiteY7" fmla="*/ 6932 h 10000"/>
                <a:gd name="connsiteX8" fmla="*/ 1439 w 10000"/>
                <a:gd name="connsiteY8" fmla="*/ 6866 h 10000"/>
                <a:gd name="connsiteX9" fmla="*/ 1367 w 10000"/>
                <a:gd name="connsiteY9" fmla="*/ 6169 h 10000"/>
                <a:gd name="connsiteX10" fmla="*/ 1921 w 10000"/>
                <a:gd name="connsiteY10" fmla="*/ 5874 h 10000"/>
                <a:gd name="connsiteX11" fmla="*/ 1816 w 10000"/>
                <a:gd name="connsiteY11" fmla="*/ 4909 h 10000"/>
                <a:gd name="connsiteX12" fmla="*/ 1727 w 10000"/>
                <a:gd name="connsiteY12" fmla="*/ 4726 h 10000"/>
                <a:gd name="connsiteX13" fmla="*/ 1583 w 10000"/>
                <a:gd name="connsiteY13" fmla="*/ 4279 h 10000"/>
                <a:gd name="connsiteX14" fmla="*/ 2374 w 10000"/>
                <a:gd name="connsiteY14" fmla="*/ 4080 h 10000"/>
                <a:gd name="connsiteX15" fmla="*/ 2854 w 10000"/>
                <a:gd name="connsiteY15" fmla="*/ 3932 h 10000"/>
                <a:gd name="connsiteX16" fmla="*/ 3251 w 10000"/>
                <a:gd name="connsiteY16" fmla="*/ 4051 h 10000"/>
                <a:gd name="connsiteX17" fmla="*/ 1002 w 10000"/>
                <a:gd name="connsiteY17" fmla="*/ 2972 h 10000"/>
                <a:gd name="connsiteX18" fmla="*/ 2014 w 10000"/>
                <a:gd name="connsiteY18" fmla="*/ 2388 h 10000"/>
                <a:gd name="connsiteX19" fmla="*/ 1599 w 10000"/>
                <a:gd name="connsiteY19" fmla="*/ 2202 h 10000"/>
                <a:gd name="connsiteX20" fmla="*/ 2086 w 10000"/>
                <a:gd name="connsiteY20" fmla="*/ 1741 h 10000"/>
                <a:gd name="connsiteX21" fmla="*/ 2446 w 10000"/>
                <a:gd name="connsiteY21" fmla="*/ 1542 h 10000"/>
                <a:gd name="connsiteX22" fmla="*/ 2734 w 10000"/>
                <a:gd name="connsiteY22" fmla="*/ 1542 h 10000"/>
                <a:gd name="connsiteX23" fmla="*/ 2878 w 10000"/>
                <a:gd name="connsiteY23" fmla="*/ 1741 h 10000"/>
                <a:gd name="connsiteX24" fmla="*/ 3201 w 10000"/>
                <a:gd name="connsiteY24" fmla="*/ 1467 h 10000"/>
                <a:gd name="connsiteX25" fmla="*/ 3618 w 10000"/>
                <a:gd name="connsiteY25" fmla="*/ 1038 h 10000"/>
                <a:gd name="connsiteX26" fmla="*/ 4427 w 10000"/>
                <a:gd name="connsiteY26" fmla="*/ 656 h 10000"/>
                <a:gd name="connsiteX27" fmla="*/ 5540 w 10000"/>
                <a:gd name="connsiteY27" fmla="*/ 547 h 10000"/>
                <a:gd name="connsiteX28" fmla="*/ 6475 w 10000"/>
                <a:gd name="connsiteY28" fmla="*/ 597 h 10000"/>
                <a:gd name="connsiteX29" fmla="*/ 6763 w 10000"/>
                <a:gd name="connsiteY29" fmla="*/ 746 h 10000"/>
                <a:gd name="connsiteX30" fmla="*/ 6978 w 10000"/>
                <a:gd name="connsiteY30" fmla="*/ 348 h 10000"/>
                <a:gd name="connsiteX31" fmla="*/ 7410 w 10000"/>
                <a:gd name="connsiteY31" fmla="*/ 0 h 10000"/>
                <a:gd name="connsiteX32" fmla="*/ 7554 w 10000"/>
                <a:gd name="connsiteY32" fmla="*/ 249 h 10000"/>
                <a:gd name="connsiteX33" fmla="*/ 7986 w 10000"/>
                <a:gd name="connsiteY33" fmla="*/ 299 h 10000"/>
                <a:gd name="connsiteX34" fmla="*/ 8129 w 10000"/>
                <a:gd name="connsiteY34" fmla="*/ 746 h 10000"/>
                <a:gd name="connsiteX35" fmla="*/ 7626 w 10000"/>
                <a:gd name="connsiteY35" fmla="*/ 896 h 10000"/>
                <a:gd name="connsiteX36" fmla="*/ 7338 w 10000"/>
                <a:gd name="connsiteY36" fmla="*/ 1194 h 10000"/>
                <a:gd name="connsiteX37" fmla="*/ 7482 w 10000"/>
                <a:gd name="connsiteY37" fmla="*/ 1393 h 10000"/>
                <a:gd name="connsiteX38" fmla="*/ 8273 w 10000"/>
                <a:gd name="connsiteY38" fmla="*/ 1194 h 10000"/>
                <a:gd name="connsiteX39" fmla="*/ 9209 w 10000"/>
                <a:gd name="connsiteY39" fmla="*/ 1791 h 10000"/>
                <a:gd name="connsiteX40" fmla="*/ 9209 w 10000"/>
                <a:gd name="connsiteY40" fmla="*/ 2139 h 10000"/>
                <a:gd name="connsiteX41" fmla="*/ 9353 w 10000"/>
                <a:gd name="connsiteY41" fmla="*/ 3980 h 10000"/>
                <a:gd name="connsiteX42" fmla="*/ 8921 w 10000"/>
                <a:gd name="connsiteY42" fmla="*/ 4229 h 10000"/>
                <a:gd name="connsiteX43" fmla="*/ 9856 w 10000"/>
                <a:gd name="connsiteY43" fmla="*/ 4975 h 10000"/>
                <a:gd name="connsiteX44" fmla="*/ 9496 w 10000"/>
                <a:gd name="connsiteY44" fmla="*/ 5423 h 10000"/>
                <a:gd name="connsiteX45" fmla="*/ 10000 w 10000"/>
                <a:gd name="connsiteY45" fmla="*/ 8557 h 10000"/>
                <a:gd name="connsiteX46" fmla="*/ 8705 w 10000"/>
                <a:gd name="connsiteY46" fmla="*/ 8259 h 10000"/>
                <a:gd name="connsiteX47" fmla="*/ 7770 w 10000"/>
                <a:gd name="connsiteY47" fmla="*/ 8955 h 10000"/>
                <a:gd name="connsiteX48" fmla="*/ 5252 w 10000"/>
                <a:gd name="connsiteY48" fmla="*/ 9552 h 10000"/>
                <a:gd name="connsiteX49" fmla="*/ 4748 w 10000"/>
                <a:gd name="connsiteY49" fmla="*/ 10000 h 10000"/>
                <a:gd name="connsiteX0" fmla="*/ 4748 w 10000"/>
                <a:gd name="connsiteY0" fmla="*/ 10000 h 10426"/>
                <a:gd name="connsiteX1" fmla="*/ 4029 w 10000"/>
                <a:gd name="connsiteY1" fmla="*/ 9801 h 10426"/>
                <a:gd name="connsiteX2" fmla="*/ 3094 w 10000"/>
                <a:gd name="connsiteY2" fmla="*/ 9950 h 10426"/>
                <a:gd name="connsiteX3" fmla="*/ 1144 w 10000"/>
                <a:gd name="connsiteY3" fmla="*/ 10426 h 10426"/>
                <a:gd name="connsiteX4" fmla="*/ 0 w 10000"/>
                <a:gd name="connsiteY4" fmla="*/ 8856 h 10426"/>
                <a:gd name="connsiteX5" fmla="*/ 432 w 10000"/>
                <a:gd name="connsiteY5" fmla="*/ 8209 h 10426"/>
                <a:gd name="connsiteX6" fmla="*/ 0 w 10000"/>
                <a:gd name="connsiteY6" fmla="*/ 7512 h 10426"/>
                <a:gd name="connsiteX7" fmla="*/ 1163 w 10000"/>
                <a:gd name="connsiteY7" fmla="*/ 6932 h 10426"/>
                <a:gd name="connsiteX8" fmla="*/ 1439 w 10000"/>
                <a:gd name="connsiteY8" fmla="*/ 6866 h 10426"/>
                <a:gd name="connsiteX9" fmla="*/ 1367 w 10000"/>
                <a:gd name="connsiteY9" fmla="*/ 6169 h 10426"/>
                <a:gd name="connsiteX10" fmla="*/ 1921 w 10000"/>
                <a:gd name="connsiteY10" fmla="*/ 5874 h 10426"/>
                <a:gd name="connsiteX11" fmla="*/ 1816 w 10000"/>
                <a:gd name="connsiteY11" fmla="*/ 4909 h 10426"/>
                <a:gd name="connsiteX12" fmla="*/ 1727 w 10000"/>
                <a:gd name="connsiteY12" fmla="*/ 4726 h 10426"/>
                <a:gd name="connsiteX13" fmla="*/ 1583 w 10000"/>
                <a:gd name="connsiteY13" fmla="*/ 4279 h 10426"/>
                <a:gd name="connsiteX14" fmla="*/ 2374 w 10000"/>
                <a:gd name="connsiteY14" fmla="*/ 4080 h 10426"/>
                <a:gd name="connsiteX15" fmla="*/ 2854 w 10000"/>
                <a:gd name="connsiteY15" fmla="*/ 3932 h 10426"/>
                <a:gd name="connsiteX16" fmla="*/ 3251 w 10000"/>
                <a:gd name="connsiteY16" fmla="*/ 4051 h 10426"/>
                <a:gd name="connsiteX17" fmla="*/ 1002 w 10000"/>
                <a:gd name="connsiteY17" fmla="*/ 2972 h 10426"/>
                <a:gd name="connsiteX18" fmla="*/ 2014 w 10000"/>
                <a:gd name="connsiteY18" fmla="*/ 2388 h 10426"/>
                <a:gd name="connsiteX19" fmla="*/ 1599 w 10000"/>
                <a:gd name="connsiteY19" fmla="*/ 2202 h 10426"/>
                <a:gd name="connsiteX20" fmla="*/ 2086 w 10000"/>
                <a:gd name="connsiteY20" fmla="*/ 1741 h 10426"/>
                <a:gd name="connsiteX21" fmla="*/ 2446 w 10000"/>
                <a:gd name="connsiteY21" fmla="*/ 1542 h 10426"/>
                <a:gd name="connsiteX22" fmla="*/ 2734 w 10000"/>
                <a:gd name="connsiteY22" fmla="*/ 1542 h 10426"/>
                <a:gd name="connsiteX23" fmla="*/ 2878 w 10000"/>
                <a:gd name="connsiteY23" fmla="*/ 1741 h 10426"/>
                <a:gd name="connsiteX24" fmla="*/ 3201 w 10000"/>
                <a:gd name="connsiteY24" fmla="*/ 1467 h 10426"/>
                <a:gd name="connsiteX25" fmla="*/ 3618 w 10000"/>
                <a:gd name="connsiteY25" fmla="*/ 1038 h 10426"/>
                <a:gd name="connsiteX26" fmla="*/ 4427 w 10000"/>
                <a:gd name="connsiteY26" fmla="*/ 656 h 10426"/>
                <a:gd name="connsiteX27" fmla="*/ 5540 w 10000"/>
                <a:gd name="connsiteY27" fmla="*/ 547 h 10426"/>
                <a:gd name="connsiteX28" fmla="*/ 6475 w 10000"/>
                <a:gd name="connsiteY28" fmla="*/ 597 h 10426"/>
                <a:gd name="connsiteX29" fmla="*/ 6763 w 10000"/>
                <a:gd name="connsiteY29" fmla="*/ 746 h 10426"/>
                <a:gd name="connsiteX30" fmla="*/ 6978 w 10000"/>
                <a:gd name="connsiteY30" fmla="*/ 348 h 10426"/>
                <a:gd name="connsiteX31" fmla="*/ 7410 w 10000"/>
                <a:gd name="connsiteY31" fmla="*/ 0 h 10426"/>
                <a:gd name="connsiteX32" fmla="*/ 7554 w 10000"/>
                <a:gd name="connsiteY32" fmla="*/ 249 h 10426"/>
                <a:gd name="connsiteX33" fmla="*/ 7986 w 10000"/>
                <a:gd name="connsiteY33" fmla="*/ 299 h 10426"/>
                <a:gd name="connsiteX34" fmla="*/ 8129 w 10000"/>
                <a:gd name="connsiteY34" fmla="*/ 746 h 10426"/>
                <a:gd name="connsiteX35" fmla="*/ 7626 w 10000"/>
                <a:gd name="connsiteY35" fmla="*/ 896 h 10426"/>
                <a:gd name="connsiteX36" fmla="*/ 7338 w 10000"/>
                <a:gd name="connsiteY36" fmla="*/ 1194 h 10426"/>
                <a:gd name="connsiteX37" fmla="*/ 7482 w 10000"/>
                <a:gd name="connsiteY37" fmla="*/ 1393 h 10426"/>
                <a:gd name="connsiteX38" fmla="*/ 8273 w 10000"/>
                <a:gd name="connsiteY38" fmla="*/ 1194 h 10426"/>
                <a:gd name="connsiteX39" fmla="*/ 9209 w 10000"/>
                <a:gd name="connsiteY39" fmla="*/ 1791 h 10426"/>
                <a:gd name="connsiteX40" fmla="*/ 9209 w 10000"/>
                <a:gd name="connsiteY40" fmla="*/ 2139 h 10426"/>
                <a:gd name="connsiteX41" fmla="*/ 9353 w 10000"/>
                <a:gd name="connsiteY41" fmla="*/ 3980 h 10426"/>
                <a:gd name="connsiteX42" fmla="*/ 8921 w 10000"/>
                <a:gd name="connsiteY42" fmla="*/ 4229 h 10426"/>
                <a:gd name="connsiteX43" fmla="*/ 9856 w 10000"/>
                <a:gd name="connsiteY43" fmla="*/ 4975 h 10426"/>
                <a:gd name="connsiteX44" fmla="*/ 9496 w 10000"/>
                <a:gd name="connsiteY44" fmla="*/ 5423 h 10426"/>
                <a:gd name="connsiteX45" fmla="*/ 10000 w 10000"/>
                <a:gd name="connsiteY45" fmla="*/ 8557 h 10426"/>
                <a:gd name="connsiteX46" fmla="*/ 8705 w 10000"/>
                <a:gd name="connsiteY46" fmla="*/ 8259 h 10426"/>
                <a:gd name="connsiteX47" fmla="*/ 7770 w 10000"/>
                <a:gd name="connsiteY47" fmla="*/ 8955 h 10426"/>
                <a:gd name="connsiteX48" fmla="*/ 5252 w 10000"/>
                <a:gd name="connsiteY48" fmla="*/ 9552 h 10426"/>
                <a:gd name="connsiteX49" fmla="*/ 4748 w 10000"/>
                <a:gd name="connsiteY49" fmla="*/ 10000 h 10426"/>
                <a:gd name="connsiteX0" fmla="*/ 4748 w 10000"/>
                <a:gd name="connsiteY0" fmla="*/ 10000 h 10672"/>
                <a:gd name="connsiteX1" fmla="*/ 4029 w 10000"/>
                <a:gd name="connsiteY1" fmla="*/ 9801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6006 w 10000"/>
                <a:gd name="connsiteY48" fmla="*/ 9850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9409 w 10000"/>
                <a:gd name="connsiteY46" fmla="*/ 8603 h 10672"/>
                <a:gd name="connsiteX47" fmla="*/ 7770 w 10000"/>
                <a:gd name="connsiteY47" fmla="*/ 8955 h 10672"/>
                <a:gd name="connsiteX48" fmla="*/ 6006 w 10000"/>
                <a:gd name="connsiteY48" fmla="*/ 9850 h 10672"/>
                <a:gd name="connsiteX49" fmla="*/ 4748 w 10000"/>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856 w 10416"/>
                <a:gd name="connsiteY43" fmla="*/ 4975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740 w 10416"/>
                <a:gd name="connsiteY43" fmla="*/ 5891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8921 w 10815"/>
                <a:gd name="connsiteY42" fmla="*/ 422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9446 w 10815"/>
                <a:gd name="connsiteY42" fmla="*/ 454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15" h="10672">
                  <a:moveTo>
                    <a:pt x="4748" y="10000"/>
                  </a:moveTo>
                  <a:lnTo>
                    <a:pt x="4627" y="10196"/>
                  </a:lnTo>
                  <a:lnTo>
                    <a:pt x="3289" y="10672"/>
                  </a:lnTo>
                  <a:lnTo>
                    <a:pt x="1144" y="10426"/>
                  </a:lnTo>
                  <a:lnTo>
                    <a:pt x="0" y="8856"/>
                  </a:lnTo>
                  <a:lnTo>
                    <a:pt x="432" y="8209"/>
                  </a:lnTo>
                  <a:lnTo>
                    <a:pt x="0" y="7512"/>
                  </a:lnTo>
                  <a:cubicBezTo>
                    <a:pt x="450" y="7340"/>
                    <a:pt x="713" y="7104"/>
                    <a:pt x="1163" y="6932"/>
                  </a:cubicBezTo>
                  <a:lnTo>
                    <a:pt x="1439" y="6866"/>
                  </a:lnTo>
                  <a:cubicBezTo>
                    <a:pt x="1415" y="6634"/>
                    <a:pt x="1391" y="6401"/>
                    <a:pt x="1367" y="6169"/>
                  </a:cubicBezTo>
                  <a:lnTo>
                    <a:pt x="1921" y="5874"/>
                  </a:lnTo>
                  <a:lnTo>
                    <a:pt x="1816" y="4909"/>
                  </a:lnTo>
                  <a:cubicBezTo>
                    <a:pt x="1786" y="4848"/>
                    <a:pt x="1757" y="4787"/>
                    <a:pt x="1727" y="4726"/>
                  </a:cubicBezTo>
                  <a:lnTo>
                    <a:pt x="1583" y="4279"/>
                  </a:lnTo>
                  <a:lnTo>
                    <a:pt x="2374" y="4080"/>
                  </a:lnTo>
                  <a:lnTo>
                    <a:pt x="2854" y="3932"/>
                  </a:lnTo>
                  <a:lnTo>
                    <a:pt x="3251" y="4051"/>
                  </a:lnTo>
                  <a:lnTo>
                    <a:pt x="1002" y="2972"/>
                  </a:lnTo>
                  <a:lnTo>
                    <a:pt x="2014" y="2388"/>
                  </a:lnTo>
                  <a:cubicBezTo>
                    <a:pt x="2132" y="2258"/>
                    <a:pt x="1587" y="2310"/>
                    <a:pt x="1599" y="2202"/>
                  </a:cubicBezTo>
                  <a:cubicBezTo>
                    <a:pt x="1611" y="2094"/>
                    <a:pt x="2013" y="1852"/>
                    <a:pt x="2086" y="1741"/>
                  </a:cubicBezTo>
                  <a:lnTo>
                    <a:pt x="2446" y="1542"/>
                  </a:lnTo>
                  <a:lnTo>
                    <a:pt x="2734" y="1542"/>
                  </a:lnTo>
                  <a:lnTo>
                    <a:pt x="2878" y="1741"/>
                  </a:lnTo>
                  <a:lnTo>
                    <a:pt x="3201" y="1467"/>
                  </a:lnTo>
                  <a:cubicBezTo>
                    <a:pt x="3232" y="1266"/>
                    <a:pt x="3587" y="1239"/>
                    <a:pt x="3618" y="1038"/>
                  </a:cubicBezTo>
                  <a:lnTo>
                    <a:pt x="4427" y="656"/>
                  </a:lnTo>
                  <a:lnTo>
                    <a:pt x="5540" y="547"/>
                  </a:lnTo>
                  <a:lnTo>
                    <a:pt x="6475" y="597"/>
                  </a:lnTo>
                  <a:lnTo>
                    <a:pt x="6763" y="746"/>
                  </a:lnTo>
                  <a:lnTo>
                    <a:pt x="6978" y="348"/>
                  </a:lnTo>
                  <a:lnTo>
                    <a:pt x="7410" y="0"/>
                  </a:lnTo>
                  <a:lnTo>
                    <a:pt x="7554" y="249"/>
                  </a:lnTo>
                  <a:lnTo>
                    <a:pt x="7986" y="299"/>
                  </a:lnTo>
                  <a:cubicBezTo>
                    <a:pt x="8034" y="448"/>
                    <a:pt x="8081" y="597"/>
                    <a:pt x="8129" y="746"/>
                  </a:cubicBezTo>
                  <a:lnTo>
                    <a:pt x="7626" y="896"/>
                  </a:lnTo>
                  <a:lnTo>
                    <a:pt x="7338" y="1194"/>
                  </a:lnTo>
                  <a:lnTo>
                    <a:pt x="7482" y="1393"/>
                  </a:lnTo>
                  <a:lnTo>
                    <a:pt x="8273" y="1194"/>
                  </a:lnTo>
                  <a:lnTo>
                    <a:pt x="9209" y="1791"/>
                  </a:lnTo>
                  <a:lnTo>
                    <a:pt x="9209" y="2139"/>
                  </a:lnTo>
                  <a:lnTo>
                    <a:pt x="9353" y="3980"/>
                  </a:lnTo>
                  <a:cubicBezTo>
                    <a:pt x="9384" y="4170"/>
                    <a:pt x="9415" y="4359"/>
                    <a:pt x="9446" y="4549"/>
                  </a:cubicBezTo>
                  <a:lnTo>
                    <a:pt x="9740" y="5891"/>
                  </a:lnTo>
                  <a:lnTo>
                    <a:pt x="10815" y="7477"/>
                  </a:lnTo>
                  <a:lnTo>
                    <a:pt x="10000" y="8557"/>
                  </a:lnTo>
                  <a:lnTo>
                    <a:pt x="9409" y="8603"/>
                  </a:lnTo>
                  <a:lnTo>
                    <a:pt x="7770" y="8955"/>
                  </a:lnTo>
                  <a:lnTo>
                    <a:pt x="6006" y="9850"/>
                  </a:lnTo>
                  <a:lnTo>
                    <a:pt x="4748" y="1000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8" name="EN"/>
            <p:cNvSpPr>
              <a:spLocks/>
            </p:cNvSpPr>
            <p:nvPr/>
          </p:nvSpPr>
          <p:spPr bwMode="auto">
            <a:xfrm rot="1238930">
              <a:off x="5492750" y="3975100"/>
              <a:ext cx="374650" cy="336550"/>
            </a:xfrm>
            <a:custGeom>
              <a:avLst/>
              <a:gdLst>
                <a:gd name="T0" fmla="*/ 2147483647 w 101"/>
                <a:gd name="T1" fmla="*/ 2147483647 h 92"/>
                <a:gd name="T2" fmla="*/ 2147483647 w 101"/>
                <a:gd name="T3" fmla="*/ 2147483647 h 92"/>
                <a:gd name="T4" fmla="*/ 2147483647 w 101"/>
                <a:gd name="T5" fmla="*/ 2147483647 h 92"/>
                <a:gd name="T6" fmla="*/ 2147483647 w 101"/>
                <a:gd name="T7" fmla="*/ 2147483647 h 92"/>
                <a:gd name="T8" fmla="*/ 2147483647 w 101"/>
                <a:gd name="T9" fmla="*/ 2147483647 h 92"/>
                <a:gd name="T10" fmla="*/ 2147483647 w 101"/>
                <a:gd name="T11" fmla="*/ 2147483647 h 92"/>
                <a:gd name="T12" fmla="*/ 2147483647 w 101"/>
                <a:gd name="T13" fmla="*/ 2147483647 h 92"/>
                <a:gd name="T14" fmla="*/ 2147483647 w 101"/>
                <a:gd name="T15" fmla="*/ 2147483647 h 92"/>
                <a:gd name="T16" fmla="*/ 2147483647 w 101"/>
                <a:gd name="T17" fmla="*/ 0 h 92"/>
                <a:gd name="T18" fmla="*/ 2147483647 w 101"/>
                <a:gd name="T19" fmla="*/ 2147483647 h 92"/>
                <a:gd name="T20" fmla="*/ 2147483647 w 101"/>
                <a:gd name="T21" fmla="*/ 2147483647 h 92"/>
                <a:gd name="T22" fmla="*/ 2147483647 w 101"/>
                <a:gd name="T23" fmla="*/ 2147483647 h 92"/>
                <a:gd name="T24" fmla="*/ 2147483647 w 101"/>
                <a:gd name="T25" fmla="*/ 2147483647 h 92"/>
                <a:gd name="T26" fmla="*/ 2147483647 w 101"/>
                <a:gd name="T27" fmla="*/ 2147483647 h 92"/>
                <a:gd name="T28" fmla="*/ 2147483647 w 101"/>
                <a:gd name="T29" fmla="*/ 2147483647 h 92"/>
                <a:gd name="T30" fmla="*/ 2147483647 w 101"/>
                <a:gd name="T31" fmla="*/ 2147483647 h 92"/>
                <a:gd name="T32" fmla="*/ 2147483647 w 101"/>
                <a:gd name="T33" fmla="*/ 2147483647 h 92"/>
                <a:gd name="T34" fmla="*/ 2147483647 w 101"/>
                <a:gd name="T35" fmla="*/ 2147483647 h 92"/>
                <a:gd name="T36" fmla="*/ 2147483647 w 101"/>
                <a:gd name="T37" fmla="*/ 2147483647 h 92"/>
                <a:gd name="T38" fmla="*/ 2147483647 w 101"/>
                <a:gd name="T39" fmla="*/ 2147483647 h 92"/>
                <a:gd name="T40" fmla="*/ 2147483647 w 101"/>
                <a:gd name="T41" fmla="*/ 2147483647 h 92"/>
                <a:gd name="T42" fmla="*/ 2147483647 w 101"/>
                <a:gd name="T43" fmla="*/ 2147483647 h 92"/>
                <a:gd name="T44" fmla="*/ 2147483647 w 101"/>
                <a:gd name="T45" fmla="*/ 2147483647 h 92"/>
                <a:gd name="T46" fmla="*/ 2147483647 w 101"/>
                <a:gd name="T47" fmla="*/ 2147483647 h 92"/>
                <a:gd name="T48" fmla="*/ 2147483647 w 101"/>
                <a:gd name="T49" fmla="*/ 2147483647 h 92"/>
                <a:gd name="T50" fmla="*/ 2147483647 w 101"/>
                <a:gd name="T51" fmla="*/ 2147483647 h 92"/>
                <a:gd name="T52" fmla="*/ 2147483647 w 101"/>
                <a:gd name="T53" fmla="*/ 2147483647 h 92"/>
                <a:gd name="T54" fmla="*/ 0 w 101"/>
                <a:gd name="T55" fmla="*/ 2147483647 h 92"/>
                <a:gd name="T56" fmla="*/ 2147483647 w 101"/>
                <a:gd name="T57" fmla="*/ 2147483647 h 92"/>
                <a:gd name="T58" fmla="*/ 2147483647 w 101"/>
                <a:gd name="T59" fmla="*/ 2147483647 h 92"/>
                <a:gd name="T60" fmla="*/ 2147483647 w 101"/>
                <a:gd name="T61" fmla="*/ 2147483647 h 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1"/>
                <a:gd name="T94" fmla="*/ 0 h 92"/>
                <a:gd name="T95" fmla="*/ 101 w 101"/>
                <a:gd name="T96" fmla="*/ 92 h 92"/>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168 w 10000"/>
                <a:gd name="connsiteY24" fmla="*/ 9130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480 w 10000"/>
                <a:gd name="connsiteY24" fmla="*/ 9544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485 w 10000"/>
                <a:gd name="connsiteY26" fmla="*/ 9239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9110 w 10000"/>
                <a:gd name="connsiteY10" fmla="*/ 2835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9406 w 10821"/>
                <a:gd name="connsiteY11" fmla="*/ 3152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9412 w 10821"/>
                <a:gd name="connsiteY15" fmla="*/ 7101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21" h="10560">
                  <a:moveTo>
                    <a:pt x="2772" y="3370"/>
                  </a:moveTo>
                  <a:lnTo>
                    <a:pt x="3564" y="2065"/>
                  </a:lnTo>
                  <a:lnTo>
                    <a:pt x="2729" y="1156"/>
                  </a:lnTo>
                  <a:lnTo>
                    <a:pt x="3960" y="761"/>
                  </a:lnTo>
                  <a:lnTo>
                    <a:pt x="4675" y="978"/>
                  </a:lnTo>
                  <a:lnTo>
                    <a:pt x="4851" y="870"/>
                  </a:lnTo>
                  <a:lnTo>
                    <a:pt x="6040" y="870"/>
                  </a:lnTo>
                  <a:lnTo>
                    <a:pt x="5743" y="217"/>
                  </a:lnTo>
                  <a:lnTo>
                    <a:pt x="6634" y="0"/>
                  </a:lnTo>
                  <a:lnTo>
                    <a:pt x="8698" y="1116"/>
                  </a:lnTo>
                  <a:cubicBezTo>
                    <a:pt x="8835" y="1689"/>
                    <a:pt x="9521" y="1679"/>
                    <a:pt x="9658" y="2252"/>
                  </a:cubicBezTo>
                  <a:lnTo>
                    <a:pt x="10466" y="2360"/>
                  </a:lnTo>
                  <a:lnTo>
                    <a:pt x="10821" y="2678"/>
                  </a:lnTo>
                  <a:cubicBezTo>
                    <a:pt x="10788" y="2787"/>
                    <a:pt x="9934" y="4130"/>
                    <a:pt x="9901" y="4239"/>
                  </a:cubicBezTo>
                  <a:lnTo>
                    <a:pt x="9235" y="6174"/>
                  </a:lnTo>
                  <a:lnTo>
                    <a:pt x="9412" y="7101"/>
                  </a:lnTo>
                  <a:cubicBezTo>
                    <a:pt x="9466" y="7239"/>
                    <a:pt x="9519" y="7378"/>
                    <a:pt x="9573" y="7516"/>
                  </a:cubicBezTo>
                  <a:lnTo>
                    <a:pt x="8882" y="8337"/>
                  </a:lnTo>
                  <a:cubicBezTo>
                    <a:pt x="8849" y="9134"/>
                    <a:pt x="7954" y="8660"/>
                    <a:pt x="7921" y="9457"/>
                  </a:cubicBezTo>
                  <a:lnTo>
                    <a:pt x="7426" y="9565"/>
                  </a:lnTo>
                  <a:lnTo>
                    <a:pt x="7228" y="9239"/>
                  </a:lnTo>
                  <a:lnTo>
                    <a:pt x="6238" y="10000"/>
                  </a:lnTo>
                  <a:lnTo>
                    <a:pt x="5535" y="9801"/>
                  </a:lnTo>
                  <a:lnTo>
                    <a:pt x="3960" y="8696"/>
                  </a:lnTo>
                  <a:lnTo>
                    <a:pt x="3480" y="9544"/>
                  </a:lnTo>
                  <a:cubicBezTo>
                    <a:pt x="2936" y="9460"/>
                    <a:pt x="2833" y="10640"/>
                    <a:pt x="2289" y="10556"/>
                  </a:cubicBezTo>
                  <a:lnTo>
                    <a:pt x="1221" y="10158"/>
                  </a:lnTo>
                  <a:lnTo>
                    <a:pt x="792" y="10000"/>
                  </a:lnTo>
                  <a:lnTo>
                    <a:pt x="0" y="10000"/>
                  </a:lnTo>
                  <a:cubicBezTo>
                    <a:pt x="143" y="8479"/>
                    <a:pt x="285" y="6957"/>
                    <a:pt x="428" y="5436"/>
                  </a:cubicBezTo>
                  <a:lnTo>
                    <a:pt x="1083" y="3737"/>
                  </a:lnTo>
                  <a:lnTo>
                    <a:pt x="2772" y="337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nvGrpSpPr>
            <p:cNvPr id="49" name="Am"/>
            <p:cNvGrpSpPr>
              <a:grpSpLocks/>
            </p:cNvGrpSpPr>
            <p:nvPr/>
          </p:nvGrpSpPr>
          <p:grpSpPr bwMode="auto">
            <a:xfrm rot="712744">
              <a:off x="5339298" y="3478563"/>
              <a:ext cx="690458" cy="800203"/>
              <a:chOff x="2287936" y="3796326"/>
              <a:chExt cx="143" cy="227"/>
            </a:xfrm>
            <a:solidFill>
              <a:schemeClr val="bg1">
                <a:lumMod val="95000"/>
              </a:schemeClr>
            </a:solidFill>
            <a:effectLst/>
          </p:grpSpPr>
          <p:sp>
            <p:nvSpPr>
              <p:cNvPr id="54" name="2aD"/>
              <p:cNvSpPr>
                <a:spLocks/>
              </p:cNvSpPr>
              <p:nvPr/>
            </p:nvSpPr>
            <p:spPr bwMode="auto">
              <a:xfrm>
                <a:off x="2287936" y="3796326"/>
                <a:ext cx="88" cy="168"/>
              </a:xfrm>
              <a:custGeom>
                <a:avLst/>
                <a:gdLst>
                  <a:gd name="T0" fmla="*/ 55 w 77"/>
                  <a:gd name="T1" fmla="*/ 160 h 160"/>
                  <a:gd name="T2" fmla="*/ 30 w 77"/>
                  <a:gd name="T3" fmla="*/ 153 h 160"/>
                  <a:gd name="T4" fmla="*/ 9 w 77"/>
                  <a:gd name="T5" fmla="*/ 142 h 160"/>
                  <a:gd name="T6" fmla="*/ 10 w 77"/>
                  <a:gd name="T7" fmla="*/ 130 h 160"/>
                  <a:gd name="T8" fmla="*/ 11 w 77"/>
                  <a:gd name="T9" fmla="*/ 122 h 160"/>
                  <a:gd name="T10" fmla="*/ 6 w 77"/>
                  <a:gd name="T11" fmla="*/ 114 h 160"/>
                  <a:gd name="T12" fmla="*/ 4 w 77"/>
                  <a:gd name="T13" fmla="*/ 108 h 160"/>
                  <a:gd name="T14" fmla="*/ 12 w 77"/>
                  <a:gd name="T15" fmla="*/ 98 h 160"/>
                  <a:gd name="T16" fmla="*/ 3 w 77"/>
                  <a:gd name="T17" fmla="*/ 89 h 160"/>
                  <a:gd name="T18" fmla="*/ 0 w 77"/>
                  <a:gd name="T19" fmla="*/ 66 h 160"/>
                  <a:gd name="T20" fmla="*/ 7 w 77"/>
                  <a:gd name="T21" fmla="*/ 62 h 160"/>
                  <a:gd name="T22" fmla="*/ 7 w 77"/>
                  <a:gd name="T23" fmla="*/ 43 h 160"/>
                  <a:gd name="T24" fmla="*/ 2 w 77"/>
                  <a:gd name="T25" fmla="*/ 38 h 160"/>
                  <a:gd name="T26" fmla="*/ 8 w 77"/>
                  <a:gd name="T27" fmla="*/ 33 h 160"/>
                  <a:gd name="T28" fmla="*/ 28 w 77"/>
                  <a:gd name="T29" fmla="*/ 33 h 160"/>
                  <a:gd name="T30" fmla="*/ 34 w 77"/>
                  <a:gd name="T31" fmla="*/ 26 h 160"/>
                  <a:gd name="T32" fmla="*/ 33 w 77"/>
                  <a:gd name="T33" fmla="*/ 1 h 160"/>
                  <a:gd name="T34" fmla="*/ 40 w 77"/>
                  <a:gd name="T35" fmla="*/ 0 h 160"/>
                  <a:gd name="T36" fmla="*/ 49 w 77"/>
                  <a:gd name="T37" fmla="*/ 10 h 160"/>
                  <a:gd name="T38" fmla="*/ 61 w 77"/>
                  <a:gd name="T39" fmla="*/ 0 h 160"/>
                  <a:gd name="T40" fmla="*/ 67 w 77"/>
                  <a:gd name="T41" fmla="*/ 18 h 160"/>
                  <a:gd name="T42" fmla="*/ 62 w 77"/>
                  <a:gd name="T43" fmla="*/ 35 h 160"/>
                  <a:gd name="T44" fmla="*/ 62 w 77"/>
                  <a:gd name="T45" fmla="*/ 48 h 160"/>
                  <a:gd name="T46" fmla="*/ 75 w 77"/>
                  <a:gd name="T47" fmla="*/ 48 h 160"/>
                  <a:gd name="T48" fmla="*/ 62 w 77"/>
                  <a:gd name="T49" fmla="*/ 59 h 160"/>
                  <a:gd name="T50" fmla="*/ 68 w 77"/>
                  <a:gd name="T51" fmla="*/ 67 h 160"/>
                  <a:gd name="T52" fmla="*/ 57 w 77"/>
                  <a:gd name="T53" fmla="*/ 80 h 160"/>
                  <a:gd name="T54" fmla="*/ 51 w 77"/>
                  <a:gd name="T55" fmla="*/ 85 h 160"/>
                  <a:gd name="T56" fmla="*/ 55 w 77"/>
                  <a:gd name="T57" fmla="*/ 102 h 160"/>
                  <a:gd name="T58" fmla="*/ 62 w 77"/>
                  <a:gd name="T59" fmla="*/ 104 h 160"/>
                  <a:gd name="T60" fmla="*/ 60 w 77"/>
                  <a:gd name="T61" fmla="*/ 114 h 160"/>
                  <a:gd name="T62" fmla="*/ 76 w 77"/>
                  <a:gd name="T63" fmla="*/ 115 h 160"/>
                  <a:gd name="T64" fmla="*/ 77 w 77"/>
                  <a:gd name="T65" fmla="*/ 137 h 160"/>
                  <a:gd name="T66" fmla="*/ 71 w 77"/>
                  <a:gd name="T67" fmla="*/ 145 h 160"/>
                  <a:gd name="T68" fmla="*/ 68 w 77"/>
                  <a:gd name="T69" fmla="*/ 136 h 160"/>
                  <a:gd name="T70" fmla="*/ 59 w 77"/>
                  <a:gd name="T71" fmla="*/ 139 h 160"/>
                  <a:gd name="T72" fmla="*/ 63 w 77"/>
                  <a:gd name="T73" fmla="*/ 148 h 160"/>
                  <a:gd name="T74" fmla="*/ 55 w 77"/>
                  <a:gd name="T75" fmla="*/ 160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7"/>
                  <a:gd name="T115" fmla="*/ 0 h 160"/>
                  <a:gd name="T116" fmla="*/ 77 w 77"/>
                  <a:gd name="T117" fmla="*/ 160 h 16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7403 w 10000"/>
                  <a:gd name="connsiteY26" fmla="*/ 5000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110 w 10000"/>
                  <a:gd name="connsiteY14" fmla="*/ 1815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00" h="10127">
                    <a:moveTo>
                      <a:pt x="7143" y="10127"/>
                    </a:moveTo>
                    <a:cubicBezTo>
                      <a:pt x="5679" y="10008"/>
                      <a:pt x="4723" y="9624"/>
                      <a:pt x="2752" y="9770"/>
                    </a:cubicBezTo>
                    <a:lnTo>
                      <a:pt x="1169" y="9002"/>
                    </a:lnTo>
                    <a:cubicBezTo>
                      <a:pt x="1212" y="8752"/>
                      <a:pt x="1256" y="8502"/>
                      <a:pt x="1299" y="8252"/>
                    </a:cubicBezTo>
                    <a:cubicBezTo>
                      <a:pt x="1342" y="8085"/>
                      <a:pt x="1386" y="7919"/>
                      <a:pt x="1429" y="7752"/>
                    </a:cubicBezTo>
                    <a:lnTo>
                      <a:pt x="779" y="7252"/>
                    </a:lnTo>
                    <a:lnTo>
                      <a:pt x="519" y="6877"/>
                    </a:lnTo>
                    <a:lnTo>
                      <a:pt x="1558" y="6252"/>
                    </a:lnTo>
                    <a:lnTo>
                      <a:pt x="390" y="5690"/>
                    </a:lnTo>
                    <a:lnTo>
                      <a:pt x="0" y="4252"/>
                    </a:lnTo>
                    <a:lnTo>
                      <a:pt x="909" y="4002"/>
                    </a:lnTo>
                    <a:lnTo>
                      <a:pt x="909" y="2815"/>
                    </a:lnTo>
                    <a:lnTo>
                      <a:pt x="260" y="2502"/>
                    </a:lnTo>
                    <a:lnTo>
                      <a:pt x="1039" y="2190"/>
                    </a:lnTo>
                    <a:lnTo>
                      <a:pt x="3110" y="1942"/>
                    </a:lnTo>
                    <a:lnTo>
                      <a:pt x="2711" y="793"/>
                    </a:lnTo>
                    <a:cubicBezTo>
                      <a:pt x="2668" y="272"/>
                      <a:pt x="3600" y="206"/>
                      <a:pt x="3972" y="0"/>
                    </a:cubicBezTo>
                    <a:lnTo>
                      <a:pt x="5195" y="127"/>
                    </a:lnTo>
                    <a:lnTo>
                      <a:pt x="6364" y="752"/>
                    </a:lnTo>
                    <a:lnTo>
                      <a:pt x="7922" y="127"/>
                    </a:lnTo>
                    <a:lnTo>
                      <a:pt x="8701" y="1252"/>
                    </a:lnTo>
                    <a:lnTo>
                      <a:pt x="8052" y="2315"/>
                    </a:lnTo>
                    <a:lnTo>
                      <a:pt x="8052" y="3127"/>
                    </a:lnTo>
                    <a:lnTo>
                      <a:pt x="9740" y="3127"/>
                    </a:lnTo>
                    <a:lnTo>
                      <a:pt x="8052" y="3815"/>
                    </a:lnTo>
                    <a:lnTo>
                      <a:pt x="8831" y="4315"/>
                    </a:lnTo>
                    <a:lnTo>
                      <a:pt x="8393" y="5632"/>
                    </a:lnTo>
                    <a:lnTo>
                      <a:pt x="7740" y="6160"/>
                    </a:lnTo>
                    <a:lnTo>
                      <a:pt x="7143" y="6502"/>
                    </a:lnTo>
                    <a:lnTo>
                      <a:pt x="8052" y="6627"/>
                    </a:lnTo>
                    <a:cubicBezTo>
                      <a:pt x="7965" y="6835"/>
                      <a:pt x="7879" y="7044"/>
                      <a:pt x="7792" y="7252"/>
                    </a:cubicBezTo>
                    <a:lnTo>
                      <a:pt x="9870" y="7315"/>
                    </a:lnTo>
                    <a:cubicBezTo>
                      <a:pt x="9913" y="7773"/>
                      <a:pt x="9957" y="8232"/>
                      <a:pt x="10000" y="8690"/>
                    </a:cubicBezTo>
                    <a:lnTo>
                      <a:pt x="9221" y="9190"/>
                    </a:lnTo>
                    <a:lnTo>
                      <a:pt x="8831" y="8627"/>
                    </a:lnTo>
                    <a:lnTo>
                      <a:pt x="7662" y="8815"/>
                    </a:lnTo>
                    <a:lnTo>
                      <a:pt x="8182" y="9377"/>
                    </a:lnTo>
                    <a:lnTo>
                      <a:pt x="7143" y="10127"/>
                    </a:lnTo>
                    <a:close/>
                  </a:path>
                </a:pathLst>
              </a:custGeom>
              <a:solidFill>
                <a:schemeClr val="accent5">
                  <a:lumMod val="20000"/>
                  <a:lumOff val="80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55" name="2bD"/>
              <p:cNvSpPr>
                <a:spLocks/>
              </p:cNvSpPr>
              <p:nvPr/>
            </p:nvSpPr>
            <p:spPr bwMode="auto">
              <a:xfrm>
                <a:off x="2288038" y="3796492"/>
                <a:ext cx="41" cy="61"/>
              </a:xfrm>
              <a:custGeom>
                <a:avLst/>
                <a:gdLst>
                  <a:gd name="T0" fmla="*/ 6 w 41"/>
                  <a:gd name="T1" fmla="*/ 61 h 61"/>
                  <a:gd name="T2" fmla="*/ 18 w 41"/>
                  <a:gd name="T3" fmla="*/ 61 h 61"/>
                  <a:gd name="T4" fmla="*/ 22 w 41"/>
                  <a:gd name="T5" fmla="*/ 58 h 61"/>
                  <a:gd name="T6" fmla="*/ 28 w 41"/>
                  <a:gd name="T7" fmla="*/ 59 h 61"/>
                  <a:gd name="T8" fmla="*/ 34 w 41"/>
                  <a:gd name="T9" fmla="*/ 61 h 61"/>
                  <a:gd name="T10" fmla="*/ 35 w 41"/>
                  <a:gd name="T11" fmla="*/ 34 h 61"/>
                  <a:gd name="T12" fmla="*/ 41 w 41"/>
                  <a:gd name="T13" fmla="*/ 6 h 61"/>
                  <a:gd name="T14" fmla="*/ 25 w 41"/>
                  <a:gd name="T15" fmla="*/ 0 h 61"/>
                  <a:gd name="T16" fmla="*/ 25 w 41"/>
                  <a:gd name="T17" fmla="*/ 4 h 61"/>
                  <a:gd name="T18" fmla="*/ 7 w 41"/>
                  <a:gd name="T19" fmla="*/ 21 h 61"/>
                  <a:gd name="T20" fmla="*/ 0 w 41"/>
                  <a:gd name="T21" fmla="*/ 22 h 61"/>
                  <a:gd name="T22" fmla="*/ 1 w 41"/>
                  <a:gd name="T23" fmla="*/ 29 h 61"/>
                  <a:gd name="T24" fmla="*/ 6 w 41"/>
                  <a:gd name="T25" fmla="*/ 30 h 61"/>
                  <a:gd name="T26" fmla="*/ 5 w 41"/>
                  <a:gd name="T27" fmla="*/ 53 h 61"/>
                  <a:gd name="T28" fmla="*/ 0 w 41"/>
                  <a:gd name="T29" fmla="*/ 52 h 61"/>
                  <a:gd name="T30" fmla="*/ 6 w 41"/>
                  <a:gd name="T31" fmla="*/ 61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61"/>
                  <a:gd name="T50" fmla="*/ 41 w 4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61">
                    <a:moveTo>
                      <a:pt x="6" y="61"/>
                    </a:moveTo>
                    <a:lnTo>
                      <a:pt x="18" y="61"/>
                    </a:lnTo>
                    <a:lnTo>
                      <a:pt x="22" y="58"/>
                    </a:lnTo>
                    <a:lnTo>
                      <a:pt x="28" y="59"/>
                    </a:lnTo>
                    <a:lnTo>
                      <a:pt x="34" y="61"/>
                    </a:lnTo>
                    <a:lnTo>
                      <a:pt x="35" y="34"/>
                    </a:lnTo>
                    <a:lnTo>
                      <a:pt x="41" y="6"/>
                    </a:lnTo>
                    <a:lnTo>
                      <a:pt x="25" y="0"/>
                    </a:lnTo>
                    <a:lnTo>
                      <a:pt x="25" y="4"/>
                    </a:lnTo>
                    <a:lnTo>
                      <a:pt x="7" y="21"/>
                    </a:lnTo>
                    <a:lnTo>
                      <a:pt x="0" y="22"/>
                    </a:lnTo>
                    <a:lnTo>
                      <a:pt x="1" y="29"/>
                    </a:lnTo>
                    <a:lnTo>
                      <a:pt x="6" y="30"/>
                    </a:lnTo>
                    <a:lnTo>
                      <a:pt x="5" y="53"/>
                    </a:lnTo>
                    <a:lnTo>
                      <a:pt x="0" y="52"/>
                    </a:lnTo>
                    <a:lnTo>
                      <a:pt x="6" y="61"/>
                    </a:lnTo>
                    <a:close/>
                  </a:path>
                </a:pathLst>
              </a:custGeom>
              <a:solidFill>
                <a:schemeClr val="accent5">
                  <a:lumMod val="20000"/>
                  <a:lumOff val="80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sp>
          <p:nvSpPr>
            <p:cNvPr id="50" name="MT"/>
            <p:cNvSpPr>
              <a:spLocks noChangeAspect="1"/>
            </p:cNvSpPr>
            <p:nvPr/>
          </p:nvSpPr>
          <p:spPr bwMode="auto">
            <a:xfrm rot="13083780">
              <a:off x="5983288" y="6127750"/>
              <a:ext cx="142875" cy="46038"/>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7646 h 17377"/>
                <a:gd name="connsiteX1" fmla="*/ 588 w 14705"/>
                <a:gd name="connsiteY1" fmla="*/ 14597 h 17377"/>
                <a:gd name="connsiteX2" fmla="*/ 2237 w 14705"/>
                <a:gd name="connsiteY2" fmla="*/ 15145 h 17377"/>
                <a:gd name="connsiteX3" fmla="*/ 2058 w 14705"/>
                <a:gd name="connsiteY3" fmla="*/ 17377 h 17377"/>
                <a:gd name="connsiteX4" fmla="*/ 3529 w 14705"/>
                <a:gd name="connsiteY4" fmla="*/ 17377 h 17377"/>
                <a:gd name="connsiteX5" fmla="*/ 3823 w 14705"/>
                <a:gd name="connsiteY5" fmla="*/ 14597 h 17377"/>
                <a:gd name="connsiteX6" fmla="*/ 5588 w 14705"/>
                <a:gd name="connsiteY6" fmla="*/ 15292 h 17377"/>
                <a:gd name="connsiteX7" fmla="*/ 6764 w 14705"/>
                <a:gd name="connsiteY7" fmla="*/ 14597 h 17377"/>
                <a:gd name="connsiteX8" fmla="*/ 7647 w 14705"/>
                <a:gd name="connsiteY8" fmla="*/ 11817 h 17377"/>
                <a:gd name="connsiteX9" fmla="*/ 9279 w 14705"/>
                <a:gd name="connsiteY9" fmla="*/ 14034 h 17377"/>
                <a:gd name="connsiteX10" fmla="*/ 10115 w 14705"/>
                <a:gd name="connsiteY10" fmla="*/ 11812 h 17377"/>
                <a:gd name="connsiteX11" fmla="*/ 9411 w 14705"/>
                <a:gd name="connsiteY11" fmla="*/ 4866 h 17377"/>
                <a:gd name="connsiteX12" fmla="*/ 14705 w 14705"/>
                <a:gd name="connsiteY12" fmla="*/ 0 h 17377"/>
                <a:gd name="connsiteX13" fmla="*/ 7865 w 14705"/>
                <a:gd name="connsiteY13" fmla="*/ 9989 h 17377"/>
                <a:gd name="connsiteX14" fmla="*/ 9117 w 14705"/>
                <a:gd name="connsiteY14" fmla="*/ 1670 h 17377"/>
                <a:gd name="connsiteX15" fmla="*/ 6764 w 14705"/>
                <a:gd name="connsiteY15" fmla="*/ 3476 h 17377"/>
                <a:gd name="connsiteX16" fmla="*/ 4705 w 14705"/>
                <a:gd name="connsiteY16" fmla="*/ 2781 h 17377"/>
                <a:gd name="connsiteX17" fmla="*/ 3529 w 14705"/>
                <a:gd name="connsiteY17" fmla="*/ 2781 h 17377"/>
                <a:gd name="connsiteX18" fmla="*/ 2352 w 14705"/>
                <a:gd name="connsiteY18" fmla="*/ 1670 h 17377"/>
                <a:gd name="connsiteX19" fmla="*/ 2941 w 14705"/>
                <a:gd name="connsiteY19" fmla="*/ 6951 h 17377"/>
                <a:gd name="connsiteX20" fmla="*/ 1764 w 14705"/>
                <a:gd name="connsiteY20" fmla="*/ 6951 h 17377"/>
                <a:gd name="connsiteX21" fmla="*/ 1176 w 14705"/>
                <a:gd name="connsiteY21" fmla="*/ 5561 h 17377"/>
                <a:gd name="connsiteX22" fmla="*/ 882 w 14705"/>
                <a:gd name="connsiteY22" fmla="*/ 7646 h 17377"/>
                <a:gd name="connsiteX23" fmla="*/ 0 w 14705"/>
                <a:gd name="connsiteY23" fmla="*/ 7646 h 1737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9117 w 10115"/>
                <a:gd name="connsiteY14" fmla="*/ 0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0 w 10115"/>
                <a:gd name="connsiteY0" fmla="*/ 5976 h 15707"/>
                <a:gd name="connsiteX1" fmla="*/ 2554 w 10115"/>
                <a:gd name="connsiteY1" fmla="*/ 1331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918 w 9233"/>
                <a:gd name="connsiteY0" fmla="*/ 8769 h 15707"/>
                <a:gd name="connsiteX1" fmla="*/ 1672 w 9233"/>
                <a:gd name="connsiteY1" fmla="*/ 13317 h 15707"/>
                <a:gd name="connsiteX2" fmla="*/ 1355 w 9233"/>
                <a:gd name="connsiteY2" fmla="*/ 13475 h 15707"/>
                <a:gd name="connsiteX3" fmla="*/ 1176 w 9233"/>
                <a:gd name="connsiteY3" fmla="*/ 15707 h 15707"/>
                <a:gd name="connsiteX4" fmla="*/ 2647 w 9233"/>
                <a:gd name="connsiteY4" fmla="*/ 15707 h 15707"/>
                <a:gd name="connsiteX5" fmla="*/ 2941 w 9233"/>
                <a:gd name="connsiteY5" fmla="*/ 12927 h 15707"/>
                <a:gd name="connsiteX6" fmla="*/ 4706 w 9233"/>
                <a:gd name="connsiteY6" fmla="*/ 13622 h 15707"/>
                <a:gd name="connsiteX7" fmla="*/ 5882 w 9233"/>
                <a:gd name="connsiteY7" fmla="*/ 12927 h 15707"/>
                <a:gd name="connsiteX8" fmla="*/ 6765 w 9233"/>
                <a:gd name="connsiteY8" fmla="*/ 10147 h 15707"/>
                <a:gd name="connsiteX9" fmla="*/ 8397 w 9233"/>
                <a:gd name="connsiteY9" fmla="*/ 12364 h 15707"/>
                <a:gd name="connsiteX10" fmla="*/ 9233 w 9233"/>
                <a:gd name="connsiteY10" fmla="*/ 10142 h 15707"/>
                <a:gd name="connsiteX11" fmla="*/ 8529 w 9233"/>
                <a:gd name="connsiteY11" fmla="*/ 3196 h 15707"/>
                <a:gd name="connsiteX12" fmla="*/ 6630 w 9233"/>
                <a:gd name="connsiteY12" fmla="*/ 7519 h 15707"/>
                <a:gd name="connsiteX13" fmla="*/ 6983 w 9233"/>
                <a:gd name="connsiteY13" fmla="*/ 8319 h 15707"/>
                <a:gd name="connsiteX14" fmla="*/ 6259 w 9233"/>
                <a:gd name="connsiteY14" fmla="*/ 5261 h 15707"/>
                <a:gd name="connsiteX15" fmla="*/ 5882 w 9233"/>
                <a:gd name="connsiteY15" fmla="*/ 1806 h 15707"/>
                <a:gd name="connsiteX16" fmla="*/ 4767 w 9233"/>
                <a:gd name="connsiteY16" fmla="*/ 4011 h 15707"/>
                <a:gd name="connsiteX17" fmla="*/ 3823 w 9233"/>
                <a:gd name="connsiteY17" fmla="*/ 1111 h 15707"/>
                <a:gd name="connsiteX18" fmla="*/ 2647 w 9233"/>
                <a:gd name="connsiteY18" fmla="*/ 1111 h 15707"/>
                <a:gd name="connsiteX19" fmla="*/ 1470 w 9233"/>
                <a:gd name="connsiteY19" fmla="*/ 0 h 15707"/>
                <a:gd name="connsiteX20" fmla="*/ 2059 w 9233"/>
                <a:gd name="connsiteY20" fmla="*/ 5281 h 15707"/>
                <a:gd name="connsiteX21" fmla="*/ 882 w 9233"/>
                <a:gd name="connsiteY21" fmla="*/ 5281 h 15707"/>
                <a:gd name="connsiteX22" fmla="*/ 294 w 9233"/>
                <a:gd name="connsiteY22" fmla="*/ 3891 h 15707"/>
                <a:gd name="connsiteX23" fmla="*/ 0 w 9233"/>
                <a:gd name="connsiteY23" fmla="*/ 5976 h 15707"/>
                <a:gd name="connsiteX24" fmla="*/ 918 w 9233"/>
                <a:gd name="connsiteY24" fmla="*/ 8769 h 15707"/>
                <a:gd name="connsiteX0" fmla="*/ 994 w 10000"/>
                <a:gd name="connsiteY0" fmla="*/ 5080 h 9497"/>
                <a:gd name="connsiteX1" fmla="*/ 1811 w 10000"/>
                <a:gd name="connsiteY1" fmla="*/ 7975 h 9497"/>
                <a:gd name="connsiteX2" fmla="*/ 1468 w 10000"/>
                <a:gd name="connsiteY2" fmla="*/ 8076 h 9497"/>
                <a:gd name="connsiteX3" fmla="*/ 1274 w 10000"/>
                <a:gd name="connsiteY3" fmla="*/ 9497 h 9497"/>
                <a:gd name="connsiteX4" fmla="*/ 2867 w 10000"/>
                <a:gd name="connsiteY4" fmla="*/ 9497 h 9497"/>
                <a:gd name="connsiteX5" fmla="*/ 3185 w 10000"/>
                <a:gd name="connsiteY5" fmla="*/ 7727 h 9497"/>
                <a:gd name="connsiteX6" fmla="*/ 5097 w 10000"/>
                <a:gd name="connsiteY6" fmla="*/ 8170 h 9497"/>
                <a:gd name="connsiteX7" fmla="*/ 6371 w 10000"/>
                <a:gd name="connsiteY7" fmla="*/ 7727 h 9497"/>
                <a:gd name="connsiteX8" fmla="*/ 7327 w 10000"/>
                <a:gd name="connsiteY8" fmla="*/ 5957 h 9497"/>
                <a:gd name="connsiteX9" fmla="*/ 9095 w 10000"/>
                <a:gd name="connsiteY9" fmla="*/ 7369 h 9497"/>
                <a:gd name="connsiteX10" fmla="*/ 10000 w 10000"/>
                <a:gd name="connsiteY10" fmla="*/ 5954 h 9497"/>
                <a:gd name="connsiteX11" fmla="*/ 9238 w 10000"/>
                <a:gd name="connsiteY11" fmla="*/ 1532 h 9497"/>
                <a:gd name="connsiteX12" fmla="*/ 7181 w 10000"/>
                <a:gd name="connsiteY12" fmla="*/ 4284 h 9497"/>
                <a:gd name="connsiteX13" fmla="*/ 7563 w 10000"/>
                <a:gd name="connsiteY13" fmla="*/ 4793 h 9497"/>
                <a:gd name="connsiteX14" fmla="*/ 6779 w 10000"/>
                <a:gd name="connsiteY14" fmla="*/ 2846 h 9497"/>
                <a:gd name="connsiteX15" fmla="*/ 6371 w 10000"/>
                <a:gd name="connsiteY15" fmla="*/ 647 h 9497"/>
                <a:gd name="connsiteX16" fmla="*/ 5163 w 10000"/>
                <a:gd name="connsiteY16" fmla="*/ 2051 h 9497"/>
                <a:gd name="connsiteX17" fmla="*/ 4141 w 10000"/>
                <a:gd name="connsiteY17" fmla="*/ 204 h 9497"/>
                <a:gd name="connsiteX18" fmla="*/ 2867 w 10000"/>
                <a:gd name="connsiteY18" fmla="*/ 204 h 9497"/>
                <a:gd name="connsiteX19" fmla="*/ 2347 w 10000"/>
                <a:gd name="connsiteY19" fmla="*/ 2200 h 9497"/>
                <a:gd name="connsiteX20" fmla="*/ 2230 w 10000"/>
                <a:gd name="connsiteY20" fmla="*/ 2859 h 9497"/>
                <a:gd name="connsiteX21" fmla="*/ 955 w 10000"/>
                <a:gd name="connsiteY21" fmla="*/ 2859 h 9497"/>
                <a:gd name="connsiteX22" fmla="*/ 318 w 10000"/>
                <a:gd name="connsiteY22" fmla="*/ 1974 h 9497"/>
                <a:gd name="connsiteX23" fmla="*/ 0 w 10000"/>
                <a:gd name="connsiteY23" fmla="*/ 3302 h 9497"/>
                <a:gd name="connsiteX24" fmla="*/ 994 w 10000"/>
                <a:gd name="connsiteY24" fmla="*/ 5080 h 9497"/>
                <a:gd name="connsiteX0" fmla="*/ 994 w 10000"/>
                <a:gd name="connsiteY0" fmla="*/ 5349 h 10000"/>
                <a:gd name="connsiteX1" fmla="*/ 1811 w 10000"/>
                <a:gd name="connsiteY1" fmla="*/ 8397 h 10000"/>
                <a:gd name="connsiteX2" fmla="*/ 1468 w 10000"/>
                <a:gd name="connsiteY2" fmla="*/ 8504 h 10000"/>
                <a:gd name="connsiteX3" fmla="*/ 1274 w 10000"/>
                <a:gd name="connsiteY3" fmla="*/ 10000 h 10000"/>
                <a:gd name="connsiteX4" fmla="*/ 2867 w 10000"/>
                <a:gd name="connsiteY4" fmla="*/ 10000 h 10000"/>
                <a:gd name="connsiteX5" fmla="*/ 3185 w 10000"/>
                <a:gd name="connsiteY5" fmla="*/ 8136 h 10000"/>
                <a:gd name="connsiteX6" fmla="*/ 5097 w 10000"/>
                <a:gd name="connsiteY6" fmla="*/ 8603 h 10000"/>
                <a:gd name="connsiteX7" fmla="*/ 6371 w 10000"/>
                <a:gd name="connsiteY7" fmla="*/ 8136 h 10000"/>
                <a:gd name="connsiteX8" fmla="*/ 7327 w 10000"/>
                <a:gd name="connsiteY8" fmla="*/ 6273 h 10000"/>
                <a:gd name="connsiteX9" fmla="*/ 9095 w 10000"/>
                <a:gd name="connsiteY9" fmla="*/ 7759 h 10000"/>
                <a:gd name="connsiteX10" fmla="*/ 10000 w 10000"/>
                <a:gd name="connsiteY10" fmla="*/ 6269 h 10000"/>
                <a:gd name="connsiteX11" fmla="*/ 9238 w 10000"/>
                <a:gd name="connsiteY11" fmla="*/ 1613 h 10000"/>
                <a:gd name="connsiteX12" fmla="*/ 7181 w 10000"/>
                <a:gd name="connsiteY12" fmla="*/ 4511 h 10000"/>
                <a:gd name="connsiteX13" fmla="*/ 7563 w 10000"/>
                <a:gd name="connsiteY13" fmla="*/ 5047 h 10000"/>
                <a:gd name="connsiteX14" fmla="*/ 6779 w 10000"/>
                <a:gd name="connsiteY14" fmla="*/ 2997 h 10000"/>
                <a:gd name="connsiteX15" fmla="*/ 6371 w 10000"/>
                <a:gd name="connsiteY15" fmla="*/ 681 h 10000"/>
                <a:gd name="connsiteX16" fmla="*/ 5163 w 10000"/>
                <a:gd name="connsiteY16" fmla="*/ 2160 h 10000"/>
                <a:gd name="connsiteX17" fmla="*/ 4141 w 10000"/>
                <a:gd name="connsiteY17" fmla="*/ 215 h 10000"/>
                <a:gd name="connsiteX18" fmla="*/ 2867 w 10000"/>
                <a:gd name="connsiteY18" fmla="*/ 215 h 10000"/>
                <a:gd name="connsiteX19" fmla="*/ 2347 w 10000"/>
                <a:gd name="connsiteY19" fmla="*/ 2317 h 10000"/>
                <a:gd name="connsiteX20" fmla="*/ 2230 w 10000"/>
                <a:gd name="connsiteY20" fmla="*/ 3010 h 10000"/>
                <a:gd name="connsiteX21" fmla="*/ 955 w 10000"/>
                <a:gd name="connsiteY21" fmla="*/ 3010 h 10000"/>
                <a:gd name="connsiteX22" fmla="*/ 1237 w 10000"/>
                <a:gd name="connsiteY22" fmla="*/ 3729 h 10000"/>
                <a:gd name="connsiteX23" fmla="*/ 0 w 10000"/>
                <a:gd name="connsiteY23" fmla="*/ 3477 h 10000"/>
                <a:gd name="connsiteX24" fmla="*/ 994 w 10000"/>
                <a:gd name="connsiteY24" fmla="*/ 5349 h 10000"/>
                <a:gd name="connsiteX0" fmla="*/ 76 w 9082"/>
                <a:gd name="connsiteY0" fmla="*/ 5349 h 10000"/>
                <a:gd name="connsiteX1" fmla="*/ 893 w 9082"/>
                <a:gd name="connsiteY1" fmla="*/ 8397 h 10000"/>
                <a:gd name="connsiteX2" fmla="*/ 550 w 9082"/>
                <a:gd name="connsiteY2" fmla="*/ 8504 h 10000"/>
                <a:gd name="connsiteX3" fmla="*/ 356 w 9082"/>
                <a:gd name="connsiteY3" fmla="*/ 10000 h 10000"/>
                <a:gd name="connsiteX4" fmla="*/ 1949 w 9082"/>
                <a:gd name="connsiteY4" fmla="*/ 10000 h 10000"/>
                <a:gd name="connsiteX5" fmla="*/ 2267 w 9082"/>
                <a:gd name="connsiteY5" fmla="*/ 8136 h 10000"/>
                <a:gd name="connsiteX6" fmla="*/ 4179 w 9082"/>
                <a:gd name="connsiteY6" fmla="*/ 8603 h 10000"/>
                <a:gd name="connsiteX7" fmla="*/ 5453 w 9082"/>
                <a:gd name="connsiteY7" fmla="*/ 8136 h 10000"/>
                <a:gd name="connsiteX8" fmla="*/ 6409 w 9082"/>
                <a:gd name="connsiteY8" fmla="*/ 6273 h 10000"/>
                <a:gd name="connsiteX9" fmla="*/ 8177 w 9082"/>
                <a:gd name="connsiteY9" fmla="*/ 7759 h 10000"/>
                <a:gd name="connsiteX10" fmla="*/ 9082 w 9082"/>
                <a:gd name="connsiteY10" fmla="*/ 6269 h 10000"/>
                <a:gd name="connsiteX11" fmla="*/ 8320 w 9082"/>
                <a:gd name="connsiteY11" fmla="*/ 1613 h 10000"/>
                <a:gd name="connsiteX12" fmla="*/ 6263 w 9082"/>
                <a:gd name="connsiteY12" fmla="*/ 4511 h 10000"/>
                <a:gd name="connsiteX13" fmla="*/ 6645 w 9082"/>
                <a:gd name="connsiteY13" fmla="*/ 5047 h 10000"/>
                <a:gd name="connsiteX14" fmla="*/ 5861 w 9082"/>
                <a:gd name="connsiteY14" fmla="*/ 2997 h 10000"/>
                <a:gd name="connsiteX15" fmla="*/ 5453 w 9082"/>
                <a:gd name="connsiteY15" fmla="*/ 681 h 10000"/>
                <a:gd name="connsiteX16" fmla="*/ 4245 w 9082"/>
                <a:gd name="connsiteY16" fmla="*/ 2160 h 10000"/>
                <a:gd name="connsiteX17" fmla="*/ 3223 w 9082"/>
                <a:gd name="connsiteY17" fmla="*/ 215 h 10000"/>
                <a:gd name="connsiteX18" fmla="*/ 1949 w 9082"/>
                <a:gd name="connsiteY18" fmla="*/ 215 h 10000"/>
                <a:gd name="connsiteX19" fmla="*/ 1429 w 9082"/>
                <a:gd name="connsiteY19" fmla="*/ 2317 h 10000"/>
                <a:gd name="connsiteX20" fmla="*/ 1312 w 9082"/>
                <a:gd name="connsiteY20" fmla="*/ 3010 h 10000"/>
                <a:gd name="connsiteX21" fmla="*/ 37 w 9082"/>
                <a:gd name="connsiteY21" fmla="*/ 3010 h 10000"/>
                <a:gd name="connsiteX22" fmla="*/ 319 w 9082"/>
                <a:gd name="connsiteY22" fmla="*/ 3729 h 10000"/>
                <a:gd name="connsiteX23" fmla="*/ 310 w 9082"/>
                <a:gd name="connsiteY23" fmla="*/ 5046 h 10000"/>
                <a:gd name="connsiteX24" fmla="*/ 76 w 9082"/>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6004 w 10000"/>
                <a:gd name="connsiteY15" fmla="*/ 681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1061 w 10000"/>
                <a:gd name="connsiteY3" fmla="*/ 8358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8633"/>
                <a:gd name="connsiteX1" fmla="*/ 983 w 10000"/>
                <a:gd name="connsiteY1" fmla="*/ 8397 h 8633"/>
                <a:gd name="connsiteX2" fmla="*/ 606 w 10000"/>
                <a:gd name="connsiteY2" fmla="*/ 8504 h 8633"/>
                <a:gd name="connsiteX3" fmla="*/ 1061 w 10000"/>
                <a:gd name="connsiteY3" fmla="*/ 8358 h 8633"/>
                <a:gd name="connsiteX4" fmla="*/ 2401 w 10000"/>
                <a:gd name="connsiteY4" fmla="*/ 8622 h 8633"/>
                <a:gd name="connsiteX5" fmla="*/ 2496 w 10000"/>
                <a:gd name="connsiteY5" fmla="*/ 8136 h 8633"/>
                <a:gd name="connsiteX6" fmla="*/ 4601 w 10000"/>
                <a:gd name="connsiteY6" fmla="*/ 8603 h 8633"/>
                <a:gd name="connsiteX7" fmla="*/ 6004 w 10000"/>
                <a:gd name="connsiteY7" fmla="*/ 8136 h 8633"/>
                <a:gd name="connsiteX8" fmla="*/ 7057 w 10000"/>
                <a:gd name="connsiteY8" fmla="*/ 6273 h 8633"/>
                <a:gd name="connsiteX9" fmla="*/ 9004 w 10000"/>
                <a:gd name="connsiteY9" fmla="*/ 7759 h 8633"/>
                <a:gd name="connsiteX10" fmla="*/ 10000 w 10000"/>
                <a:gd name="connsiteY10" fmla="*/ 6269 h 8633"/>
                <a:gd name="connsiteX11" fmla="*/ 9161 w 10000"/>
                <a:gd name="connsiteY11" fmla="*/ 1613 h 8633"/>
                <a:gd name="connsiteX12" fmla="*/ 6896 w 10000"/>
                <a:gd name="connsiteY12" fmla="*/ 4511 h 8633"/>
                <a:gd name="connsiteX13" fmla="*/ 7317 w 10000"/>
                <a:gd name="connsiteY13" fmla="*/ 5047 h 8633"/>
                <a:gd name="connsiteX14" fmla="*/ 5683 w 10000"/>
                <a:gd name="connsiteY14" fmla="*/ 3757 h 8633"/>
                <a:gd name="connsiteX15" fmla="*/ 5128 w 10000"/>
                <a:gd name="connsiteY15" fmla="*/ 2454 h 8633"/>
                <a:gd name="connsiteX16" fmla="*/ 5062 w 10000"/>
                <a:gd name="connsiteY16" fmla="*/ 833 h 8633"/>
                <a:gd name="connsiteX17" fmla="*/ 3549 w 10000"/>
                <a:gd name="connsiteY17" fmla="*/ 215 h 8633"/>
                <a:gd name="connsiteX18" fmla="*/ 2146 w 10000"/>
                <a:gd name="connsiteY18" fmla="*/ 215 h 8633"/>
                <a:gd name="connsiteX19" fmla="*/ 1573 w 10000"/>
                <a:gd name="connsiteY19" fmla="*/ 2317 h 8633"/>
                <a:gd name="connsiteX20" fmla="*/ 1445 w 10000"/>
                <a:gd name="connsiteY20" fmla="*/ 3010 h 8633"/>
                <a:gd name="connsiteX21" fmla="*/ 41 w 10000"/>
                <a:gd name="connsiteY21" fmla="*/ 3010 h 8633"/>
                <a:gd name="connsiteX22" fmla="*/ 351 w 10000"/>
                <a:gd name="connsiteY22" fmla="*/ 3729 h 8633"/>
                <a:gd name="connsiteX23" fmla="*/ 341 w 10000"/>
                <a:gd name="connsiteY23" fmla="*/ 5046 h 8633"/>
                <a:gd name="connsiteX24" fmla="*/ 84 w 10000"/>
                <a:gd name="connsiteY24" fmla="*/ 5349 h 8633"/>
                <a:gd name="connsiteX0" fmla="*/ 59 w 9975"/>
                <a:gd name="connsiteY0" fmla="*/ 6196 h 10000"/>
                <a:gd name="connsiteX1" fmla="*/ 958 w 9975"/>
                <a:gd name="connsiteY1" fmla="*/ 9727 h 10000"/>
                <a:gd name="connsiteX2" fmla="*/ 581 w 9975"/>
                <a:gd name="connsiteY2" fmla="*/ 9851 h 10000"/>
                <a:gd name="connsiteX3" fmla="*/ 1036 w 9975"/>
                <a:gd name="connsiteY3" fmla="*/ 9681 h 10000"/>
                <a:gd name="connsiteX4" fmla="*/ 2376 w 9975"/>
                <a:gd name="connsiteY4" fmla="*/ 9987 h 10000"/>
                <a:gd name="connsiteX5" fmla="*/ 2471 w 9975"/>
                <a:gd name="connsiteY5" fmla="*/ 9424 h 10000"/>
                <a:gd name="connsiteX6" fmla="*/ 4576 w 9975"/>
                <a:gd name="connsiteY6" fmla="*/ 9965 h 10000"/>
                <a:gd name="connsiteX7" fmla="*/ 5979 w 9975"/>
                <a:gd name="connsiteY7" fmla="*/ 9424 h 10000"/>
                <a:gd name="connsiteX8" fmla="*/ 7032 w 9975"/>
                <a:gd name="connsiteY8" fmla="*/ 7266 h 10000"/>
                <a:gd name="connsiteX9" fmla="*/ 8979 w 9975"/>
                <a:gd name="connsiteY9" fmla="*/ 8988 h 10000"/>
                <a:gd name="connsiteX10" fmla="*/ 9975 w 9975"/>
                <a:gd name="connsiteY10" fmla="*/ 7262 h 10000"/>
                <a:gd name="connsiteX11" fmla="*/ 9136 w 9975"/>
                <a:gd name="connsiteY11" fmla="*/ 1868 h 10000"/>
                <a:gd name="connsiteX12" fmla="*/ 6871 w 9975"/>
                <a:gd name="connsiteY12" fmla="*/ 5225 h 10000"/>
                <a:gd name="connsiteX13" fmla="*/ 7292 w 9975"/>
                <a:gd name="connsiteY13" fmla="*/ 5846 h 10000"/>
                <a:gd name="connsiteX14" fmla="*/ 5658 w 9975"/>
                <a:gd name="connsiteY14" fmla="*/ 4352 h 10000"/>
                <a:gd name="connsiteX15" fmla="*/ 5103 w 9975"/>
                <a:gd name="connsiteY15" fmla="*/ 2843 h 10000"/>
                <a:gd name="connsiteX16" fmla="*/ 5037 w 9975"/>
                <a:gd name="connsiteY16" fmla="*/ 965 h 10000"/>
                <a:gd name="connsiteX17" fmla="*/ 3524 w 9975"/>
                <a:gd name="connsiteY17" fmla="*/ 249 h 10000"/>
                <a:gd name="connsiteX18" fmla="*/ 2121 w 9975"/>
                <a:gd name="connsiteY18" fmla="*/ 249 h 10000"/>
                <a:gd name="connsiteX19" fmla="*/ 1548 w 9975"/>
                <a:gd name="connsiteY19" fmla="*/ 2684 h 10000"/>
                <a:gd name="connsiteX20" fmla="*/ 1420 w 9975"/>
                <a:gd name="connsiteY20" fmla="*/ 3487 h 10000"/>
                <a:gd name="connsiteX21" fmla="*/ 16 w 9975"/>
                <a:gd name="connsiteY21" fmla="*/ 3487 h 10000"/>
                <a:gd name="connsiteX22" fmla="*/ 1668 w 9975"/>
                <a:gd name="connsiteY22" fmla="*/ 4423 h 10000"/>
                <a:gd name="connsiteX23" fmla="*/ 316 w 9975"/>
                <a:gd name="connsiteY23" fmla="*/ 5845 h 10000"/>
                <a:gd name="connsiteX24" fmla="*/ 59 w 9975"/>
                <a:gd name="connsiteY24" fmla="*/ 6196 h 10000"/>
                <a:gd name="connsiteX0" fmla="*/ 1197 w 10000"/>
                <a:gd name="connsiteY0" fmla="*/ 6453 h 10000"/>
                <a:gd name="connsiteX1" fmla="*/ 960 w 10000"/>
                <a:gd name="connsiteY1" fmla="*/ 9727 h 10000"/>
                <a:gd name="connsiteX2" fmla="*/ 582 w 10000"/>
                <a:gd name="connsiteY2" fmla="*/ 9851 h 10000"/>
                <a:gd name="connsiteX3" fmla="*/ 1039 w 10000"/>
                <a:gd name="connsiteY3" fmla="*/ 9681 h 10000"/>
                <a:gd name="connsiteX4" fmla="*/ 2382 w 10000"/>
                <a:gd name="connsiteY4" fmla="*/ 9987 h 10000"/>
                <a:gd name="connsiteX5" fmla="*/ 2477 w 10000"/>
                <a:gd name="connsiteY5" fmla="*/ 9424 h 10000"/>
                <a:gd name="connsiteX6" fmla="*/ 4587 w 10000"/>
                <a:gd name="connsiteY6" fmla="*/ 9965 h 10000"/>
                <a:gd name="connsiteX7" fmla="*/ 5994 w 10000"/>
                <a:gd name="connsiteY7" fmla="*/ 9424 h 10000"/>
                <a:gd name="connsiteX8" fmla="*/ 7050 w 10000"/>
                <a:gd name="connsiteY8" fmla="*/ 7266 h 10000"/>
                <a:gd name="connsiteX9" fmla="*/ 9002 w 10000"/>
                <a:gd name="connsiteY9" fmla="*/ 8988 h 10000"/>
                <a:gd name="connsiteX10" fmla="*/ 10000 w 10000"/>
                <a:gd name="connsiteY10" fmla="*/ 7262 h 10000"/>
                <a:gd name="connsiteX11" fmla="*/ 9159 w 10000"/>
                <a:gd name="connsiteY11" fmla="*/ 1868 h 10000"/>
                <a:gd name="connsiteX12" fmla="*/ 6888 w 10000"/>
                <a:gd name="connsiteY12" fmla="*/ 5225 h 10000"/>
                <a:gd name="connsiteX13" fmla="*/ 7310 w 10000"/>
                <a:gd name="connsiteY13" fmla="*/ 5846 h 10000"/>
                <a:gd name="connsiteX14" fmla="*/ 5672 w 10000"/>
                <a:gd name="connsiteY14" fmla="*/ 4352 h 10000"/>
                <a:gd name="connsiteX15" fmla="*/ 5116 w 10000"/>
                <a:gd name="connsiteY15" fmla="*/ 2843 h 10000"/>
                <a:gd name="connsiteX16" fmla="*/ 5050 w 10000"/>
                <a:gd name="connsiteY16" fmla="*/ 965 h 10000"/>
                <a:gd name="connsiteX17" fmla="*/ 3533 w 10000"/>
                <a:gd name="connsiteY17" fmla="*/ 249 h 10000"/>
                <a:gd name="connsiteX18" fmla="*/ 2126 w 10000"/>
                <a:gd name="connsiteY18" fmla="*/ 249 h 10000"/>
                <a:gd name="connsiteX19" fmla="*/ 1552 w 10000"/>
                <a:gd name="connsiteY19" fmla="*/ 2684 h 10000"/>
                <a:gd name="connsiteX20" fmla="*/ 1424 w 10000"/>
                <a:gd name="connsiteY20" fmla="*/ 3487 h 10000"/>
                <a:gd name="connsiteX21" fmla="*/ 16 w 10000"/>
                <a:gd name="connsiteY21" fmla="*/ 3487 h 10000"/>
                <a:gd name="connsiteX22" fmla="*/ 1672 w 10000"/>
                <a:gd name="connsiteY22" fmla="*/ 4423 h 10000"/>
                <a:gd name="connsiteX23" fmla="*/ 317 w 10000"/>
                <a:gd name="connsiteY23" fmla="*/ 5845 h 10000"/>
                <a:gd name="connsiteX24" fmla="*/ 1197 w 10000"/>
                <a:gd name="connsiteY24" fmla="*/ 6453 h 10000"/>
                <a:gd name="connsiteX0" fmla="*/ 880 w 9683"/>
                <a:gd name="connsiteY0" fmla="*/ 6453 h 10000"/>
                <a:gd name="connsiteX1" fmla="*/ 643 w 9683"/>
                <a:gd name="connsiteY1" fmla="*/ 9727 h 10000"/>
                <a:gd name="connsiteX2" fmla="*/ 265 w 9683"/>
                <a:gd name="connsiteY2" fmla="*/ 9851 h 10000"/>
                <a:gd name="connsiteX3" fmla="*/ 722 w 9683"/>
                <a:gd name="connsiteY3" fmla="*/ 9681 h 10000"/>
                <a:gd name="connsiteX4" fmla="*/ 2065 w 9683"/>
                <a:gd name="connsiteY4" fmla="*/ 9987 h 10000"/>
                <a:gd name="connsiteX5" fmla="*/ 2160 w 9683"/>
                <a:gd name="connsiteY5" fmla="*/ 9424 h 10000"/>
                <a:gd name="connsiteX6" fmla="*/ 4270 w 9683"/>
                <a:gd name="connsiteY6" fmla="*/ 9965 h 10000"/>
                <a:gd name="connsiteX7" fmla="*/ 5677 w 9683"/>
                <a:gd name="connsiteY7" fmla="*/ 9424 h 10000"/>
                <a:gd name="connsiteX8" fmla="*/ 6733 w 9683"/>
                <a:gd name="connsiteY8" fmla="*/ 7266 h 10000"/>
                <a:gd name="connsiteX9" fmla="*/ 8685 w 9683"/>
                <a:gd name="connsiteY9" fmla="*/ 8988 h 10000"/>
                <a:gd name="connsiteX10" fmla="*/ 9683 w 9683"/>
                <a:gd name="connsiteY10" fmla="*/ 7262 h 10000"/>
                <a:gd name="connsiteX11" fmla="*/ 8842 w 9683"/>
                <a:gd name="connsiteY11" fmla="*/ 1868 h 10000"/>
                <a:gd name="connsiteX12" fmla="*/ 6571 w 9683"/>
                <a:gd name="connsiteY12" fmla="*/ 5225 h 10000"/>
                <a:gd name="connsiteX13" fmla="*/ 6993 w 9683"/>
                <a:gd name="connsiteY13" fmla="*/ 5846 h 10000"/>
                <a:gd name="connsiteX14" fmla="*/ 5355 w 9683"/>
                <a:gd name="connsiteY14" fmla="*/ 4352 h 10000"/>
                <a:gd name="connsiteX15" fmla="*/ 4799 w 9683"/>
                <a:gd name="connsiteY15" fmla="*/ 2843 h 10000"/>
                <a:gd name="connsiteX16" fmla="*/ 4733 w 9683"/>
                <a:gd name="connsiteY16" fmla="*/ 965 h 10000"/>
                <a:gd name="connsiteX17" fmla="*/ 3216 w 9683"/>
                <a:gd name="connsiteY17" fmla="*/ 249 h 10000"/>
                <a:gd name="connsiteX18" fmla="*/ 1809 w 9683"/>
                <a:gd name="connsiteY18" fmla="*/ 249 h 10000"/>
                <a:gd name="connsiteX19" fmla="*/ 1235 w 9683"/>
                <a:gd name="connsiteY19" fmla="*/ 2684 h 10000"/>
                <a:gd name="connsiteX20" fmla="*/ 1107 w 9683"/>
                <a:gd name="connsiteY20" fmla="*/ 3487 h 10000"/>
                <a:gd name="connsiteX21" fmla="*/ 954 w 9683"/>
                <a:gd name="connsiteY21" fmla="*/ 4284 h 10000"/>
                <a:gd name="connsiteX22" fmla="*/ 1355 w 9683"/>
                <a:gd name="connsiteY22" fmla="*/ 4423 h 10000"/>
                <a:gd name="connsiteX23" fmla="*/ 0 w 9683"/>
                <a:gd name="connsiteY23" fmla="*/ 5845 h 10000"/>
                <a:gd name="connsiteX24" fmla="*/ 880 w 9683"/>
                <a:gd name="connsiteY24" fmla="*/ 6453 h 10000"/>
                <a:gd name="connsiteX0" fmla="*/ 909 w 10000"/>
                <a:gd name="connsiteY0" fmla="*/ 6453 h 10000"/>
                <a:gd name="connsiteX1" fmla="*/ 664 w 10000"/>
                <a:gd name="connsiteY1" fmla="*/ 9727 h 10000"/>
                <a:gd name="connsiteX2" fmla="*/ 274 w 10000"/>
                <a:gd name="connsiteY2" fmla="*/ 9851 h 10000"/>
                <a:gd name="connsiteX3" fmla="*/ 746 w 10000"/>
                <a:gd name="connsiteY3" fmla="*/ 9681 h 10000"/>
                <a:gd name="connsiteX4" fmla="*/ 2133 w 10000"/>
                <a:gd name="connsiteY4" fmla="*/ 9987 h 10000"/>
                <a:gd name="connsiteX5" fmla="*/ 2231 w 10000"/>
                <a:gd name="connsiteY5" fmla="*/ 9424 h 10000"/>
                <a:gd name="connsiteX6" fmla="*/ 4410 w 10000"/>
                <a:gd name="connsiteY6" fmla="*/ 9965 h 10000"/>
                <a:gd name="connsiteX7" fmla="*/ 5863 w 10000"/>
                <a:gd name="connsiteY7" fmla="*/ 9424 h 10000"/>
                <a:gd name="connsiteX8" fmla="*/ 6953 w 10000"/>
                <a:gd name="connsiteY8" fmla="*/ 7266 h 10000"/>
                <a:gd name="connsiteX9" fmla="*/ 8612 w 10000"/>
                <a:gd name="connsiteY9" fmla="*/ 8836 h 10000"/>
                <a:gd name="connsiteX10" fmla="*/ 10000 w 10000"/>
                <a:gd name="connsiteY10" fmla="*/ 7262 h 10000"/>
                <a:gd name="connsiteX11" fmla="*/ 9131 w 10000"/>
                <a:gd name="connsiteY11" fmla="*/ 1868 h 10000"/>
                <a:gd name="connsiteX12" fmla="*/ 6786 w 10000"/>
                <a:gd name="connsiteY12" fmla="*/ 5225 h 10000"/>
                <a:gd name="connsiteX13" fmla="*/ 7222 w 10000"/>
                <a:gd name="connsiteY13" fmla="*/ 5846 h 10000"/>
                <a:gd name="connsiteX14" fmla="*/ 5530 w 10000"/>
                <a:gd name="connsiteY14" fmla="*/ 4352 h 10000"/>
                <a:gd name="connsiteX15" fmla="*/ 4956 w 10000"/>
                <a:gd name="connsiteY15" fmla="*/ 2843 h 10000"/>
                <a:gd name="connsiteX16" fmla="*/ 4888 w 10000"/>
                <a:gd name="connsiteY16" fmla="*/ 965 h 10000"/>
                <a:gd name="connsiteX17" fmla="*/ 3321 w 10000"/>
                <a:gd name="connsiteY17" fmla="*/ 249 h 10000"/>
                <a:gd name="connsiteX18" fmla="*/ 1868 w 10000"/>
                <a:gd name="connsiteY18" fmla="*/ 249 h 10000"/>
                <a:gd name="connsiteX19" fmla="*/ 1275 w 10000"/>
                <a:gd name="connsiteY19" fmla="*/ 2684 h 10000"/>
                <a:gd name="connsiteX20" fmla="*/ 1143 w 10000"/>
                <a:gd name="connsiteY20" fmla="*/ 3487 h 10000"/>
                <a:gd name="connsiteX21" fmla="*/ 985 w 10000"/>
                <a:gd name="connsiteY21" fmla="*/ 4284 h 10000"/>
                <a:gd name="connsiteX22" fmla="*/ 1399 w 10000"/>
                <a:gd name="connsiteY22" fmla="*/ 4423 h 10000"/>
                <a:gd name="connsiteX23" fmla="*/ 0 w 10000"/>
                <a:gd name="connsiteY23" fmla="*/ 5845 h 10000"/>
                <a:gd name="connsiteX24" fmla="*/ 909 w 10000"/>
                <a:gd name="connsiteY24" fmla="*/ 6453 h 10000"/>
                <a:gd name="connsiteX0" fmla="*/ 909 w 9202"/>
                <a:gd name="connsiteY0" fmla="*/ 6453 h 10000"/>
                <a:gd name="connsiteX1" fmla="*/ 664 w 9202"/>
                <a:gd name="connsiteY1" fmla="*/ 9727 h 10000"/>
                <a:gd name="connsiteX2" fmla="*/ 274 w 9202"/>
                <a:gd name="connsiteY2" fmla="*/ 9851 h 10000"/>
                <a:gd name="connsiteX3" fmla="*/ 746 w 9202"/>
                <a:gd name="connsiteY3" fmla="*/ 9681 h 10000"/>
                <a:gd name="connsiteX4" fmla="*/ 2133 w 9202"/>
                <a:gd name="connsiteY4" fmla="*/ 9987 h 10000"/>
                <a:gd name="connsiteX5" fmla="*/ 2231 w 9202"/>
                <a:gd name="connsiteY5" fmla="*/ 9424 h 10000"/>
                <a:gd name="connsiteX6" fmla="*/ 4410 w 9202"/>
                <a:gd name="connsiteY6" fmla="*/ 9965 h 10000"/>
                <a:gd name="connsiteX7" fmla="*/ 5863 w 9202"/>
                <a:gd name="connsiteY7" fmla="*/ 9424 h 10000"/>
                <a:gd name="connsiteX8" fmla="*/ 6953 w 9202"/>
                <a:gd name="connsiteY8" fmla="*/ 7266 h 10000"/>
                <a:gd name="connsiteX9" fmla="*/ 8612 w 9202"/>
                <a:gd name="connsiteY9" fmla="*/ 8836 h 10000"/>
                <a:gd name="connsiteX10" fmla="*/ 9003 w 9202"/>
                <a:gd name="connsiteY10" fmla="*/ 6266 h 10000"/>
                <a:gd name="connsiteX11" fmla="*/ 9131 w 9202"/>
                <a:gd name="connsiteY11" fmla="*/ 1868 h 10000"/>
                <a:gd name="connsiteX12" fmla="*/ 6786 w 9202"/>
                <a:gd name="connsiteY12" fmla="*/ 5225 h 10000"/>
                <a:gd name="connsiteX13" fmla="*/ 7222 w 9202"/>
                <a:gd name="connsiteY13" fmla="*/ 5846 h 10000"/>
                <a:gd name="connsiteX14" fmla="*/ 5530 w 9202"/>
                <a:gd name="connsiteY14" fmla="*/ 4352 h 10000"/>
                <a:gd name="connsiteX15" fmla="*/ 4956 w 9202"/>
                <a:gd name="connsiteY15" fmla="*/ 2843 h 10000"/>
                <a:gd name="connsiteX16" fmla="*/ 4888 w 9202"/>
                <a:gd name="connsiteY16" fmla="*/ 965 h 10000"/>
                <a:gd name="connsiteX17" fmla="*/ 3321 w 9202"/>
                <a:gd name="connsiteY17" fmla="*/ 249 h 10000"/>
                <a:gd name="connsiteX18" fmla="*/ 1868 w 9202"/>
                <a:gd name="connsiteY18" fmla="*/ 249 h 10000"/>
                <a:gd name="connsiteX19" fmla="*/ 1275 w 9202"/>
                <a:gd name="connsiteY19" fmla="*/ 2684 h 10000"/>
                <a:gd name="connsiteX20" fmla="*/ 1143 w 9202"/>
                <a:gd name="connsiteY20" fmla="*/ 3487 h 10000"/>
                <a:gd name="connsiteX21" fmla="*/ 985 w 9202"/>
                <a:gd name="connsiteY21" fmla="*/ 4284 h 10000"/>
                <a:gd name="connsiteX22" fmla="*/ 1399 w 9202"/>
                <a:gd name="connsiteY22" fmla="*/ 4423 h 10000"/>
                <a:gd name="connsiteX23" fmla="*/ 0 w 9202"/>
                <a:gd name="connsiteY23" fmla="*/ 5845 h 10000"/>
                <a:gd name="connsiteX24" fmla="*/ 909 w 9202"/>
                <a:gd name="connsiteY24" fmla="*/ 6453 h 10000"/>
                <a:gd name="connsiteX0" fmla="*/ 988 w 9784"/>
                <a:gd name="connsiteY0" fmla="*/ 6453 h 10000"/>
                <a:gd name="connsiteX1" fmla="*/ 722 w 9784"/>
                <a:gd name="connsiteY1" fmla="*/ 9727 h 10000"/>
                <a:gd name="connsiteX2" fmla="*/ 298 w 9784"/>
                <a:gd name="connsiteY2" fmla="*/ 9851 h 10000"/>
                <a:gd name="connsiteX3" fmla="*/ 811 w 9784"/>
                <a:gd name="connsiteY3" fmla="*/ 9681 h 10000"/>
                <a:gd name="connsiteX4" fmla="*/ 2318 w 9784"/>
                <a:gd name="connsiteY4" fmla="*/ 9987 h 10000"/>
                <a:gd name="connsiteX5" fmla="*/ 2424 w 9784"/>
                <a:gd name="connsiteY5" fmla="*/ 9424 h 10000"/>
                <a:gd name="connsiteX6" fmla="*/ 4792 w 9784"/>
                <a:gd name="connsiteY6" fmla="*/ 9965 h 10000"/>
                <a:gd name="connsiteX7" fmla="*/ 6371 w 9784"/>
                <a:gd name="connsiteY7" fmla="*/ 9424 h 10000"/>
                <a:gd name="connsiteX8" fmla="*/ 7556 w 9784"/>
                <a:gd name="connsiteY8" fmla="*/ 7266 h 10000"/>
                <a:gd name="connsiteX9" fmla="*/ 9359 w 9784"/>
                <a:gd name="connsiteY9" fmla="*/ 8836 h 10000"/>
                <a:gd name="connsiteX10" fmla="*/ 9784 w 9784"/>
                <a:gd name="connsiteY10" fmla="*/ 6266 h 10000"/>
                <a:gd name="connsiteX11" fmla="*/ 9092 w 9784"/>
                <a:gd name="connsiteY11" fmla="*/ 4080 h 10000"/>
                <a:gd name="connsiteX12" fmla="*/ 7374 w 9784"/>
                <a:gd name="connsiteY12" fmla="*/ 5225 h 10000"/>
                <a:gd name="connsiteX13" fmla="*/ 7848 w 9784"/>
                <a:gd name="connsiteY13" fmla="*/ 5846 h 10000"/>
                <a:gd name="connsiteX14" fmla="*/ 6010 w 9784"/>
                <a:gd name="connsiteY14" fmla="*/ 4352 h 10000"/>
                <a:gd name="connsiteX15" fmla="*/ 5386 w 9784"/>
                <a:gd name="connsiteY15" fmla="*/ 2843 h 10000"/>
                <a:gd name="connsiteX16" fmla="*/ 5312 w 9784"/>
                <a:gd name="connsiteY16" fmla="*/ 965 h 10000"/>
                <a:gd name="connsiteX17" fmla="*/ 3609 w 9784"/>
                <a:gd name="connsiteY17" fmla="*/ 249 h 10000"/>
                <a:gd name="connsiteX18" fmla="*/ 2030 w 9784"/>
                <a:gd name="connsiteY18" fmla="*/ 249 h 10000"/>
                <a:gd name="connsiteX19" fmla="*/ 1386 w 9784"/>
                <a:gd name="connsiteY19" fmla="*/ 2684 h 10000"/>
                <a:gd name="connsiteX20" fmla="*/ 1242 w 9784"/>
                <a:gd name="connsiteY20" fmla="*/ 3487 h 10000"/>
                <a:gd name="connsiteX21" fmla="*/ 1070 w 9784"/>
                <a:gd name="connsiteY21" fmla="*/ 4284 h 10000"/>
                <a:gd name="connsiteX22" fmla="*/ 1520 w 9784"/>
                <a:gd name="connsiteY22" fmla="*/ 4423 h 10000"/>
                <a:gd name="connsiteX23" fmla="*/ 0 w 9784"/>
                <a:gd name="connsiteY23" fmla="*/ 5845 h 10000"/>
                <a:gd name="connsiteX24" fmla="*/ 988 w 9784"/>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260 w 10000"/>
                <a:gd name="connsiteY16" fmla="*/ 2740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204 h 9751"/>
                <a:gd name="connsiteX1" fmla="*/ 738 w 10000"/>
                <a:gd name="connsiteY1" fmla="*/ 9478 h 9751"/>
                <a:gd name="connsiteX2" fmla="*/ 305 w 10000"/>
                <a:gd name="connsiteY2" fmla="*/ 9602 h 9751"/>
                <a:gd name="connsiteX3" fmla="*/ 829 w 10000"/>
                <a:gd name="connsiteY3" fmla="*/ 9432 h 9751"/>
                <a:gd name="connsiteX4" fmla="*/ 2369 w 10000"/>
                <a:gd name="connsiteY4" fmla="*/ 9738 h 9751"/>
                <a:gd name="connsiteX5" fmla="*/ 2478 w 10000"/>
                <a:gd name="connsiteY5" fmla="*/ 9175 h 9751"/>
                <a:gd name="connsiteX6" fmla="*/ 4898 w 10000"/>
                <a:gd name="connsiteY6" fmla="*/ 9716 h 9751"/>
                <a:gd name="connsiteX7" fmla="*/ 6512 w 10000"/>
                <a:gd name="connsiteY7" fmla="*/ 9175 h 9751"/>
                <a:gd name="connsiteX8" fmla="*/ 7723 w 10000"/>
                <a:gd name="connsiteY8" fmla="*/ 7017 h 9751"/>
                <a:gd name="connsiteX9" fmla="*/ 9566 w 10000"/>
                <a:gd name="connsiteY9" fmla="*/ 8587 h 9751"/>
                <a:gd name="connsiteX10" fmla="*/ 10000 w 10000"/>
                <a:gd name="connsiteY10" fmla="*/ 6017 h 9751"/>
                <a:gd name="connsiteX11" fmla="*/ 9293 w 10000"/>
                <a:gd name="connsiteY11" fmla="*/ 3831 h 9751"/>
                <a:gd name="connsiteX12" fmla="*/ 7273 w 10000"/>
                <a:gd name="connsiteY12" fmla="*/ 6080 h 9751"/>
                <a:gd name="connsiteX13" fmla="*/ 8021 w 10000"/>
                <a:gd name="connsiteY13" fmla="*/ 5597 h 9751"/>
                <a:gd name="connsiteX14" fmla="*/ 6143 w 10000"/>
                <a:gd name="connsiteY14" fmla="*/ 4103 h 9751"/>
                <a:gd name="connsiteX15" fmla="*/ 5505 w 10000"/>
                <a:gd name="connsiteY15" fmla="*/ 2594 h 9751"/>
                <a:gd name="connsiteX16" fmla="*/ 5260 w 10000"/>
                <a:gd name="connsiteY16" fmla="*/ 2491 h 9751"/>
                <a:gd name="connsiteX17" fmla="*/ 4325 w 10000"/>
                <a:gd name="connsiteY17" fmla="*/ 2274 h 9751"/>
                <a:gd name="connsiteX18" fmla="*/ 2075 w 10000"/>
                <a:gd name="connsiteY18" fmla="*/ 0 h 9751"/>
                <a:gd name="connsiteX19" fmla="*/ 1417 w 10000"/>
                <a:gd name="connsiteY19" fmla="*/ 2435 h 9751"/>
                <a:gd name="connsiteX20" fmla="*/ 1269 w 10000"/>
                <a:gd name="connsiteY20" fmla="*/ 3238 h 9751"/>
                <a:gd name="connsiteX21" fmla="*/ 1094 w 10000"/>
                <a:gd name="connsiteY21" fmla="*/ 4035 h 9751"/>
                <a:gd name="connsiteX22" fmla="*/ 1554 w 10000"/>
                <a:gd name="connsiteY22" fmla="*/ 4174 h 9751"/>
                <a:gd name="connsiteX23" fmla="*/ 0 w 10000"/>
                <a:gd name="connsiteY23" fmla="*/ 5596 h 9751"/>
                <a:gd name="connsiteX24" fmla="*/ 1010 w 10000"/>
                <a:gd name="connsiteY24" fmla="*/ 6204 h 9751"/>
                <a:gd name="connsiteX0" fmla="*/ 1010 w 10000"/>
                <a:gd name="connsiteY0" fmla="*/ 6362 h 10000"/>
                <a:gd name="connsiteX1" fmla="*/ 738 w 10000"/>
                <a:gd name="connsiteY1" fmla="*/ 9720 h 10000"/>
                <a:gd name="connsiteX2" fmla="*/ 305 w 10000"/>
                <a:gd name="connsiteY2" fmla="*/ 9847 h 10000"/>
                <a:gd name="connsiteX3" fmla="*/ 829 w 10000"/>
                <a:gd name="connsiteY3" fmla="*/ 9673 h 10000"/>
                <a:gd name="connsiteX4" fmla="*/ 2369 w 10000"/>
                <a:gd name="connsiteY4" fmla="*/ 9987 h 10000"/>
                <a:gd name="connsiteX5" fmla="*/ 2478 w 10000"/>
                <a:gd name="connsiteY5" fmla="*/ 9409 h 10000"/>
                <a:gd name="connsiteX6" fmla="*/ 4898 w 10000"/>
                <a:gd name="connsiteY6" fmla="*/ 9964 h 10000"/>
                <a:gd name="connsiteX7" fmla="*/ 6512 w 10000"/>
                <a:gd name="connsiteY7" fmla="*/ 9409 h 10000"/>
                <a:gd name="connsiteX8" fmla="*/ 7723 w 10000"/>
                <a:gd name="connsiteY8" fmla="*/ 7196 h 10000"/>
                <a:gd name="connsiteX9" fmla="*/ 9566 w 10000"/>
                <a:gd name="connsiteY9" fmla="*/ 8806 h 10000"/>
                <a:gd name="connsiteX10" fmla="*/ 10000 w 10000"/>
                <a:gd name="connsiteY10" fmla="*/ 6171 h 10000"/>
                <a:gd name="connsiteX11" fmla="*/ 9293 w 10000"/>
                <a:gd name="connsiteY11" fmla="*/ 3929 h 10000"/>
                <a:gd name="connsiteX12" fmla="*/ 7273 w 10000"/>
                <a:gd name="connsiteY12" fmla="*/ 6235 h 10000"/>
                <a:gd name="connsiteX13" fmla="*/ 8021 w 10000"/>
                <a:gd name="connsiteY13" fmla="*/ 5740 h 10000"/>
                <a:gd name="connsiteX14" fmla="*/ 6143 w 10000"/>
                <a:gd name="connsiteY14" fmla="*/ 4208 h 10000"/>
                <a:gd name="connsiteX15" fmla="*/ 5505 w 10000"/>
                <a:gd name="connsiteY15" fmla="*/ 2660 h 10000"/>
                <a:gd name="connsiteX16" fmla="*/ 5260 w 10000"/>
                <a:gd name="connsiteY16" fmla="*/ 2555 h 10000"/>
                <a:gd name="connsiteX17" fmla="*/ 4325 w 10000"/>
                <a:gd name="connsiteY17" fmla="*/ 2332 h 10000"/>
                <a:gd name="connsiteX18" fmla="*/ 2075 w 10000"/>
                <a:gd name="connsiteY18" fmla="*/ 0 h 10000"/>
                <a:gd name="connsiteX19" fmla="*/ 2472 w 10000"/>
                <a:gd name="connsiteY19" fmla="*/ 3303 h 10000"/>
                <a:gd name="connsiteX20" fmla="*/ 1269 w 10000"/>
                <a:gd name="connsiteY20" fmla="*/ 3321 h 10000"/>
                <a:gd name="connsiteX21" fmla="*/ 1094 w 10000"/>
                <a:gd name="connsiteY21" fmla="*/ 4138 h 10000"/>
                <a:gd name="connsiteX22" fmla="*/ 1554 w 10000"/>
                <a:gd name="connsiteY22" fmla="*/ 4281 h 10000"/>
                <a:gd name="connsiteX23" fmla="*/ 0 w 10000"/>
                <a:gd name="connsiteY23" fmla="*/ 5739 h 10000"/>
                <a:gd name="connsiteX24" fmla="*/ 1010 w 10000"/>
                <a:gd name="connsiteY24" fmla="*/ 6362 h 10000"/>
                <a:gd name="connsiteX0" fmla="*/ 1010 w 10000"/>
                <a:gd name="connsiteY0" fmla="*/ 4499 h 8137"/>
                <a:gd name="connsiteX1" fmla="*/ 738 w 10000"/>
                <a:gd name="connsiteY1" fmla="*/ 7857 h 8137"/>
                <a:gd name="connsiteX2" fmla="*/ 305 w 10000"/>
                <a:gd name="connsiteY2" fmla="*/ 7984 h 8137"/>
                <a:gd name="connsiteX3" fmla="*/ 829 w 10000"/>
                <a:gd name="connsiteY3" fmla="*/ 7810 h 8137"/>
                <a:gd name="connsiteX4" fmla="*/ 2369 w 10000"/>
                <a:gd name="connsiteY4" fmla="*/ 8124 h 8137"/>
                <a:gd name="connsiteX5" fmla="*/ 2478 w 10000"/>
                <a:gd name="connsiteY5" fmla="*/ 7546 h 8137"/>
                <a:gd name="connsiteX6" fmla="*/ 4898 w 10000"/>
                <a:gd name="connsiteY6" fmla="*/ 8101 h 8137"/>
                <a:gd name="connsiteX7" fmla="*/ 6512 w 10000"/>
                <a:gd name="connsiteY7" fmla="*/ 7546 h 8137"/>
                <a:gd name="connsiteX8" fmla="*/ 7723 w 10000"/>
                <a:gd name="connsiteY8" fmla="*/ 5333 h 8137"/>
                <a:gd name="connsiteX9" fmla="*/ 9566 w 10000"/>
                <a:gd name="connsiteY9" fmla="*/ 6943 h 8137"/>
                <a:gd name="connsiteX10" fmla="*/ 10000 w 10000"/>
                <a:gd name="connsiteY10" fmla="*/ 4308 h 8137"/>
                <a:gd name="connsiteX11" fmla="*/ 9293 w 10000"/>
                <a:gd name="connsiteY11" fmla="*/ 2066 h 8137"/>
                <a:gd name="connsiteX12" fmla="*/ 7273 w 10000"/>
                <a:gd name="connsiteY12" fmla="*/ 4372 h 8137"/>
                <a:gd name="connsiteX13" fmla="*/ 8021 w 10000"/>
                <a:gd name="connsiteY13" fmla="*/ 3877 h 8137"/>
                <a:gd name="connsiteX14" fmla="*/ 6143 w 10000"/>
                <a:gd name="connsiteY14" fmla="*/ 2345 h 8137"/>
                <a:gd name="connsiteX15" fmla="*/ 5505 w 10000"/>
                <a:gd name="connsiteY15" fmla="*/ 797 h 8137"/>
                <a:gd name="connsiteX16" fmla="*/ 5260 w 10000"/>
                <a:gd name="connsiteY16" fmla="*/ 692 h 8137"/>
                <a:gd name="connsiteX17" fmla="*/ 4325 w 10000"/>
                <a:gd name="connsiteY17" fmla="*/ 469 h 8137"/>
                <a:gd name="connsiteX18" fmla="*/ 3171 w 10000"/>
                <a:gd name="connsiteY18" fmla="*/ 0 h 8137"/>
                <a:gd name="connsiteX19" fmla="*/ 2472 w 10000"/>
                <a:gd name="connsiteY19" fmla="*/ 1440 h 8137"/>
                <a:gd name="connsiteX20" fmla="*/ 1269 w 10000"/>
                <a:gd name="connsiteY20" fmla="*/ 1458 h 8137"/>
                <a:gd name="connsiteX21" fmla="*/ 1094 w 10000"/>
                <a:gd name="connsiteY21" fmla="*/ 2275 h 8137"/>
                <a:gd name="connsiteX22" fmla="*/ 1554 w 10000"/>
                <a:gd name="connsiteY22" fmla="*/ 2418 h 8137"/>
                <a:gd name="connsiteX23" fmla="*/ 0 w 10000"/>
                <a:gd name="connsiteY23" fmla="*/ 3876 h 8137"/>
                <a:gd name="connsiteX24" fmla="*/ 1010 w 10000"/>
                <a:gd name="connsiteY24" fmla="*/ 4499 h 8137"/>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1554 w 10000"/>
                <a:gd name="connsiteY22" fmla="*/ 2972 h 10000"/>
                <a:gd name="connsiteX23" fmla="*/ 0 w 10000"/>
                <a:gd name="connsiteY23" fmla="*/ 4763 h 10000"/>
                <a:gd name="connsiteX24" fmla="*/ 1010 w 10000"/>
                <a:gd name="connsiteY24"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2331 w 10000"/>
                <a:gd name="connsiteY22" fmla="*/ 4409 h 10000"/>
                <a:gd name="connsiteX23" fmla="*/ 1554 w 10000"/>
                <a:gd name="connsiteY23" fmla="*/ 2972 h 10000"/>
                <a:gd name="connsiteX24" fmla="*/ 0 w 10000"/>
                <a:gd name="connsiteY24" fmla="*/ 4763 h 10000"/>
                <a:gd name="connsiteX25" fmla="*/ 1010 w 10000"/>
                <a:gd name="connsiteY25"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1094 w 10000"/>
                <a:gd name="connsiteY22" fmla="*/ 2796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2156 w 10000"/>
                <a:gd name="connsiteY24" fmla="*/ 3663 h 10000"/>
                <a:gd name="connsiteX25" fmla="*/ 0 w 10000"/>
                <a:gd name="connsiteY25" fmla="*/ 4763 h 10000"/>
                <a:gd name="connsiteX26" fmla="*/ 1010 w 10000"/>
                <a:gd name="connsiteY26" fmla="*/ 5529 h 10000"/>
                <a:gd name="connsiteX0" fmla="*/ 713 w 9703"/>
                <a:gd name="connsiteY0" fmla="*/ 5529 h 10000"/>
                <a:gd name="connsiteX1" fmla="*/ 441 w 9703"/>
                <a:gd name="connsiteY1" fmla="*/ 9656 h 10000"/>
                <a:gd name="connsiteX2" fmla="*/ 8 w 9703"/>
                <a:gd name="connsiteY2" fmla="*/ 9812 h 10000"/>
                <a:gd name="connsiteX3" fmla="*/ 532 w 9703"/>
                <a:gd name="connsiteY3" fmla="*/ 9598 h 10000"/>
                <a:gd name="connsiteX4" fmla="*/ 2072 w 9703"/>
                <a:gd name="connsiteY4" fmla="*/ 9984 h 10000"/>
                <a:gd name="connsiteX5" fmla="*/ 2181 w 9703"/>
                <a:gd name="connsiteY5" fmla="*/ 9274 h 10000"/>
                <a:gd name="connsiteX6" fmla="*/ 4601 w 9703"/>
                <a:gd name="connsiteY6" fmla="*/ 9956 h 10000"/>
                <a:gd name="connsiteX7" fmla="*/ 6215 w 9703"/>
                <a:gd name="connsiteY7" fmla="*/ 9274 h 10000"/>
                <a:gd name="connsiteX8" fmla="*/ 7426 w 9703"/>
                <a:gd name="connsiteY8" fmla="*/ 6554 h 10000"/>
                <a:gd name="connsiteX9" fmla="*/ 9269 w 9703"/>
                <a:gd name="connsiteY9" fmla="*/ 8533 h 10000"/>
                <a:gd name="connsiteX10" fmla="*/ 9703 w 9703"/>
                <a:gd name="connsiteY10" fmla="*/ 5294 h 10000"/>
                <a:gd name="connsiteX11" fmla="*/ 8996 w 9703"/>
                <a:gd name="connsiteY11" fmla="*/ 2539 h 10000"/>
                <a:gd name="connsiteX12" fmla="*/ 6976 w 9703"/>
                <a:gd name="connsiteY12" fmla="*/ 5373 h 10000"/>
                <a:gd name="connsiteX13" fmla="*/ 7724 w 9703"/>
                <a:gd name="connsiteY13" fmla="*/ 4765 h 10000"/>
                <a:gd name="connsiteX14" fmla="*/ 5846 w 9703"/>
                <a:gd name="connsiteY14" fmla="*/ 2882 h 10000"/>
                <a:gd name="connsiteX15" fmla="*/ 5208 w 9703"/>
                <a:gd name="connsiteY15" fmla="*/ 979 h 10000"/>
                <a:gd name="connsiteX16" fmla="*/ 4963 w 9703"/>
                <a:gd name="connsiteY16" fmla="*/ 850 h 10000"/>
                <a:gd name="connsiteX17" fmla="*/ 4028 w 9703"/>
                <a:gd name="connsiteY17" fmla="*/ 576 h 10000"/>
                <a:gd name="connsiteX18" fmla="*/ 2874 w 9703"/>
                <a:gd name="connsiteY18" fmla="*/ 0 h 10000"/>
                <a:gd name="connsiteX19" fmla="*/ 2175 w 9703"/>
                <a:gd name="connsiteY19" fmla="*/ 1770 h 10000"/>
                <a:gd name="connsiteX20" fmla="*/ 1946 w 9703"/>
                <a:gd name="connsiteY20" fmla="*/ 3463 h 10000"/>
                <a:gd name="connsiteX21" fmla="*/ 1970 w 9703"/>
                <a:gd name="connsiteY21" fmla="*/ 3898 h 10000"/>
                <a:gd name="connsiteX22" fmla="*/ 2157 w 9703"/>
                <a:gd name="connsiteY22" fmla="*/ 3694 h 10000"/>
                <a:gd name="connsiteX23" fmla="*/ 2034 w 9703"/>
                <a:gd name="connsiteY23" fmla="*/ 4409 h 10000"/>
                <a:gd name="connsiteX24" fmla="*/ 1859 w 9703"/>
                <a:gd name="connsiteY24" fmla="*/ 3663 h 10000"/>
                <a:gd name="connsiteX25" fmla="*/ 2057 w 9703"/>
                <a:gd name="connsiteY25" fmla="*/ 4703 h 10000"/>
                <a:gd name="connsiteX26" fmla="*/ 713 w 9703"/>
                <a:gd name="connsiteY26" fmla="*/ 5529 h 10000"/>
                <a:gd name="connsiteX0" fmla="*/ 2050 w 10000"/>
                <a:gd name="connsiteY0" fmla="*/ 6546 h 10000"/>
                <a:gd name="connsiteX1" fmla="*/ 454 w 10000"/>
                <a:gd name="connsiteY1" fmla="*/ 9656 h 10000"/>
                <a:gd name="connsiteX2" fmla="*/ 8 w 10000"/>
                <a:gd name="connsiteY2" fmla="*/ 9812 h 10000"/>
                <a:gd name="connsiteX3" fmla="*/ 548 w 10000"/>
                <a:gd name="connsiteY3" fmla="*/ 9598 h 10000"/>
                <a:gd name="connsiteX4" fmla="*/ 2135 w 10000"/>
                <a:gd name="connsiteY4" fmla="*/ 9984 h 10000"/>
                <a:gd name="connsiteX5" fmla="*/ 2248 w 10000"/>
                <a:gd name="connsiteY5" fmla="*/ 9274 h 10000"/>
                <a:gd name="connsiteX6" fmla="*/ 4742 w 10000"/>
                <a:gd name="connsiteY6" fmla="*/ 9956 h 10000"/>
                <a:gd name="connsiteX7" fmla="*/ 6405 w 10000"/>
                <a:gd name="connsiteY7" fmla="*/ 9274 h 10000"/>
                <a:gd name="connsiteX8" fmla="*/ 7653 w 10000"/>
                <a:gd name="connsiteY8" fmla="*/ 6554 h 10000"/>
                <a:gd name="connsiteX9" fmla="*/ 9553 w 10000"/>
                <a:gd name="connsiteY9" fmla="*/ 8533 h 10000"/>
                <a:gd name="connsiteX10" fmla="*/ 10000 w 10000"/>
                <a:gd name="connsiteY10" fmla="*/ 5294 h 10000"/>
                <a:gd name="connsiteX11" fmla="*/ 9271 w 10000"/>
                <a:gd name="connsiteY11" fmla="*/ 2539 h 10000"/>
                <a:gd name="connsiteX12" fmla="*/ 7190 w 10000"/>
                <a:gd name="connsiteY12" fmla="*/ 5373 h 10000"/>
                <a:gd name="connsiteX13" fmla="*/ 7960 w 10000"/>
                <a:gd name="connsiteY13" fmla="*/ 4765 h 10000"/>
                <a:gd name="connsiteX14" fmla="*/ 6025 w 10000"/>
                <a:gd name="connsiteY14" fmla="*/ 2882 h 10000"/>
                <a:gd name="connsiteX15" fmla="*/ 5367 w 10000"/>
                <a:gd name="connsiteY15" fmla="*/ 979 h 10000"/>
                <a:gd name="connsiteX16" fmla="*/ 5115 w 10000"/>
                <a:gd name="connsiteY16" fmla="*/ 850 h 10000"/>
                <a:gd name="connsiteX17" fmla="*/ 4151 w 10000"/>
                <a:gd name="connsiteY17" fmla="*/ 576 h 10000"/>
                <a:gd name="connsiteX18" fmla="*/ 2962 w 10000"/>
                <a:gd name="connsiteY18" fmla="*/ 0 h 10000"/>
                <a:gd name="connsiteX19" fmla="*/ 2242 w 10000"/>
                <a:gd name="connsiteY19" fmla="*/ 1770 h 10000"/>
                <a:gd name="connsiteX20" fmla="*/ 2006 w 10000"/>
                <a:gd name="connsiteY20" fmla="*/ 3463 h 10000"/>
                <a:gd name="connsiteX21" fmla="*/ 2030 w 10000"/>
                <a:gd name="connsiteY21" fmla="*/ 3898 h 10000"/>
                <a:gd name="connsiteX22" fmla="*/ 2223 w 10000"/>
                <a:gd name="connsiteY22" fmla="*/ 3694 h 10000"/>
                <a:gd name="connsiteX23" fmla="*/ 2096 w 10000"/>
                <a:gd name="connsiteY23" fmla="*/ 4409 h 10000"/>
                <a:gd name="connsiteX24" fmla="*/ 1916 w 10000"/>
                <a:gd name="connsiteY24" fmla="*/ 3663 h 10000"/>
                <a:gd name="connsiteX25" fmla="*/ 2120 w 10000"/>
                <a:gd name="connsiteY25" fmla="*/ 4703 h 10000"/>
                <a:gd name="connsiteX26" fmla="*/ 2050 w 10000"/>
                <a:gd name="connsiteY26" fmla="*/ 6546 h 10000"/>
                <a:gd name="connsiteX0" fmla="*/ 2045 w 9995"/>
                <a:gd name="connsiteY0" fmla="*/ 6546 h 9984"/>
                <a:gd name="connsiteX1" fmla="*/ 449 w 9995"/>
                <a:gd name="connsiteY1" fmla="*/ 9656 h 9984"/>
                <a:gd name="connsiteX2" fmla="*/ 3 w 9995"/>
                <a:gd name="connsiteY2" fmla="*/ 9812 h 9984"/>
                <a:gd name="connsiteX3" fmla="*/ 2077 w 9995"/>
                <a:gd name="connsiteY3" fmla="*/ 6960 h 9984"/>
                <a:gd name="connsiteX4" fmla="*/ 2130 w 9995"/>
                <a:gd name="connsiteY4" fmla="*/ 9984 h 9984"/>
                <a:gd name="connsiteX5" fmla="*/ 2243 w 9995"/>
                <a:gd name="connsiteY5" fmla="*/ 9274 h 9984"/>
                <a:gd name="connsiteX6" fmla="*/ 4737 w 9995"/>
                <a:gd name="connsiteY6" fmla="*/ 9956 h 9984"/>
                <a:gd name="connsiteX7" fmla="*/ 6400 w 9995"/>
                <a:gd name="connsiteY7" fmla="*/ 9274 h 9984"/>
                <a:gd name="connsiteX8" fmla="*/ 7648 w 9995"/>
                <a:gd name="connsiteY8" fmla="*/ 6554 h 9984"/>
                <a:gd name="connsiteX9" fmla="*/ 9548 w 9995"/>
                <a:gd name="connsiteY9" fmla="*/ 8533 h 9984"/>
                <a:gd name="connsiteX10" fmla="*/ 9995 w 9995"/>
                <a:gd name="connsiteY10" fmla="*/ 5294 h 9984"/>
                <a:gd name="connsiteX11" fmla="*/ 9266 w 9995"/>
                <a:gd name="connsiteY11" fmla="*/ 2539 h 9984"/>
                <a:gd name="connsiteX12" fmla="*/ 7185 w 9995"/>
                <a:gd name="connsiteY12" fmla="*/ 5373 h 9984"/>
                <a:gd name="connsiteX13" fmla="*/ 7955 w 9995"/>
                <a:gd name="connsiteY13" fmla="*/ 4765 h 9984"/>
                <a:gd name="connsiteX14" fmla="*/ 6020 w 9995"/>
                <a:gd name="connsiteY14" fmla="*/ 2882 h 9984"/>
                <a:gd name="connsiteX15" fmla="*/ 5362 w 9995"/>
                <a:gd name="connsiteY15" fmla="*/ 979 h 9984"/>
                <a:gd name="connsiteX16" fmla="*/ 5110 w 9995"/>
                <a:gd name="connsiteY16" fmla="*/ 850 h 9984"/>
                <a:gd name="connsiteX17" fmla="*/ 4146 w 9995"/>
                <a:gd name="connsiteY17" fmla="*/ 576 h 9984"/>
                <a:gd name="connsiteX18" fmla="*/ 2957 w 9995"/>
                <a:gd name="connsiteY18" fmla="*/ 0 h 9984"/>
                <a:gd name="connsiteX19" fmla="*/ 2237 w 9995"/>
                <a:gd name="connsiteY19" fmla="*/ 1770 h 9984"/>
                <a:gd name="connsiteX20" fmla="*/ 2001 w 9995"/>
                <a:gd name="connsiteY20" fmla="*/ 3463 h 9984"/>
                <a:gd name="connsiteX21" fmla="*/ 2025 w 9995"/>
                <a:gd name="connsiteY21" fmla="*/ 3898 h 9984"/>
                <a:gd name="connsiteX22" fmla="*/ 2218 w 9995"/>
                <a:gd name="connsiteY22" fmla="*/ 3694 h 9984"/>
                <a:gd name="connsiteX23" fmla="*/ 2091 w 9995"/>
                <a:gd name="connsiteY23" fmla="*/ 4409 h 9984"/>
                <a:gd name="connsiteX24" fmla="*/ 1911 w 9995"/>
                <a:gd name="connsiteY24" fmla="*/ 3663 h 9984"/>
                <a:gd name="connsiteX25" fmla="*/ 2115 w 9995"/>
                <a:gd name="connsiteY25" fmla="*/ 4703 h 9984"/>
                <a:gd name="connsiteX26" fmla="*/ 2045 w 9995"/>
                <a:gd name="connsiteY26" fmla="*/ 6546 h 9984"/>
                <a:gd name="connsiteX0" fmla="*/ 1603 w 9557"/>
                <a:gd name="connsiteY0" fmla="*/ 6556 h 10000"/>
                <a:gd name="connsiteX1" fmla="*/ 6 w 9557"/>
                <a:gd name="connsiteY1" fmla="*/ 9671 h 10000"/>
                <a:gd name="connsiteX2" fmla="*/ 2233 w 9557"/>
                <a:gd name="connsiteY2" fmla="*/ 7881 h 10000"/>
                <a:gd name="connsiteX3" fmla="*/ 1635 w 9557"/>
                <a:gd name="connsiteY3" fmla="*/ 6971 h 10000"/>
                <a:gd name="connsiteX4" fmla="*/ 1688 w 9557"/>
                <a:gd name="connsiteY4" fmla="*/ 10000 h 10000"/>
                <a:gd name="connsiteX5" fmla="*/ 1801 w 9557"/>
                <a:gd name="connsiteY5" fmla="*/ 9289 h 10000"/>
                <a:gd name="connsiteX6" fmla="*/ 4296 w 9557"/>
                <a:gd name="connsiteY6" fmla="*/ 9972 h 10000"/>
                <a:gd name="connsiteX7" fmla="*/ 5960 w 9557"/>
                <a:gd name="connsiteY7" fmla="*/ 9289 h 10000"/>
                <a:gd name="connsiteX8" fmla="*/ 7209 w 9557"/>
                <a:gd name="connsiteY8" fmla="*/ 6565 h 10000"/>
                <a:gd name="connsiteX9" fmla="*/ 9110 w 9557"/>
                <a:gd name="connsiteY9" fmla="*/ 8547 h 10000"/>
                <a:gd name="connsiteX10" fmla="*/ 9557 w 9557"/>
                <a:gd name="connsiteY10" fmla="*/ 5302 h 10000"/>
                <a:gd name="connsiteX11" fmla="*/ 8828 w 9557"/>
                <a:gd name="connsiteY11" fmla="*/ 2543 h 10000"/>
                <a:gd name="connsiteX12" fmla="*/ 6746 w 9557"/>
                <a:gd name="connsiteY12" fmla="*/ 5382 h 10000"/>
                <a:gd name="connsiteX13" fmla="*/ 7516 w 9557"/>
                <a:gd name="connsiteY13" fmla="*/ 4773 h 10000"/>
                <a:gd name="connsiteX14" fmla="*/ 5580 w 9557"/>
                <a:gd name="connsiteY14" fmla="*/ 2887 h 10000"/>
                <a:gd name="connsiteX15" fmla="*/ 4922 w 9557"/>
                <a:gd name="connsiteY15" fmla="*/ 981 h 10000"/>
                <a:gd name="connsiteX16" fmla="*/ 4670 w 9557"/>
                <a:gd name="connsiteY16" fmla="*/ 851 h 10000"/>
                <a:gd name="connsiteX17" fmla="*/ 3705 w 9557"/>
                <a:gd name="connsiteY17" fmla="*/ 577 h 10000"/>
                <a:gd name="connsiteX18" fmla="*/ 2515 w 9557"/>
                <a:gd name="connsiteY18" fmla="*/ 0 h 10000"/>
                <a:gd name="connsiteX19" fmla="*/ 1795 w 9557"/>
                <a:gd name="connsiteY19" fmla="*/ 1773 h 10000"/>
                <a:gd name="connsiteX20" fmla="*/ 1559 w 9557"/>
                <a:gd name="connsiteY20" fmla="*/ 3469 h 10000"/>
                <a:gd name="connsiteX21" fmla="*/ 1583 w 9557"/>
                <a:gd name="connsiteY21" fmla="*/ 3904 h 10000"/>
                <a:gd name="connsiteX22" fmla="*/ 1776 w 9557"/>
                <a:gd name="connsiteY22" fmla="*/ 3700 h 10000"/>
                <a:gd name="connsiteX23" fmla="*/ 1649 w 9557"/>
                <a:gd name="connsiteY23" fmla="*/ 4416 h 10000"/>
                <a:gd name="connsiteX24" fmla="*/ 1469 w 9557"/>
                <a:gd name="connsiteY24" fmla="*/ 3669 h 10000"/>
                <a:gd name="connsiteX25" fmla="*/ 1673 w 9557"/>
                <a:gd name="connsiteY25" fmla="*/ 4711 h 10000"/>
                <a:gd name="connsiteX26" fmla="*/ 1603 w 9557"/>
                <a:gd name="connsiteY26" fmla="*/ 6556 h 10000"/>
                <a:gd name="connsiteX0" fmla="*/ 141 w 8464"/>
                <a:gd name="connsiteY0" fmla="*/ 6556 h 10000"/>
                <a:gd name="connsiteX1" fmla="*/ 373 w 8464"/>
                <a:gd name="connsiteY1" fmla="*/ 7883 h 10000"/>
                <a:gd name="connsiteX2" fmla="*/ 801 w 8464"/>
                <a:gd name="connsiteY2" fmla="*/ 7881 h 10000"/>
                <a:gd name="connsiteX3" fmla="*/ 175 w 8464"/>
                <a:gd name="connsiteY3" fmla="*/ 6971 h 10000"/>
                <a:gd name="connsiteX4" fmla="*/ 230 w 8464"/>
                <a:gd name="connsiteY4" fmla="*/ 10000 h 10000"/>
                <a:gd name="connsiteX5" fmla="*/ 348 w 8464"/>
                <a:gd name="connsiteY5" fmla="*/ 9289 h 10000"/>
                <a:gd name="connsiteX6" fmla="*/ 2959 w 8464"/>
                <a:gd name="connsiteY6" fmla="*/ 9972 h 10000"/>
                <a:gd name="connsiteX7" fmla="*/ 4700 w 8464"/>
                <a:gd name="connsiteY7" fmla="*/ 9289 h 10000"/>
                <a:gd name="connsiteX8" fmla="*/ 6007 w 8464"/>
                <a:gd name="connsiteY8" fmla="*/ 6565 h 10000"/>
                <a:gd name="connsiteX9" fmla="*/ 7996 w 8464"/>
                <a:gd name="connsiteY9" fmla="*/ 8547 h 10000"/>
                <a:gd name="connsiteX10" fmla="*/ 8464 w 8464"/>
                <a:gd name="connsiteY10" fmla="*/ 5302 h 10000"/>
                <a:gd name="connsiteX11" fmla="*/ 7701 w 8464"/>
                <a:gd name="connsiteY11" fmla="*/ 2543 h 10000"/>
                <a:gd name="connsiteX12" fmla="*/ 5523 w 8464"/>
                <a:gd name="connsiteY12" fmla="*/ 5382 h 10000"/>
                <a:gd name="connsiteX13" fmla="*/ 6328 w 8464"/>
                <a:gd name="connsiteY13" fmla="*/ 4773 h 10000"/>
                <a:gd name="connsiteX14" fmla="*/ 4303 w 8464"/>
                <a:gd name="connsiteY14" fmla="*/ 2887 h 10000"/>
                <a:gd name="connsiteX15" fmla="*/ 3614 w 8464"/>
                <a:gd name="connsiteY15" fmla="*/ 981 h 10000"/>
                <a:gd name="connsiteX16" fmla="*/ 3350 w 8464"/>
                <a:gd name="connsiteY16" fmla="*/ 851 h 10000"/>
                <a:gd name="connsiteX17" fmla="*/ 2341 w 8464"/>
                <a:gd name="connsiteY17" fmla="*/ 577 h 10000"/>
                <a:gd name="connsiteX18" fmla="*/ 1096 w 8464"/>
                <a:gd name="connsiteY18" fmla="*/ 0 h 10000"/>
                <a:gd name="connsiteX19" fmla="*/ 342 w 8464"/>
                <a:gd name="connsiteY19" fmla="*/ 1773 h 10000"/>
                <a:gd name="connsiteX20" fmla="*/ 95 w 8464"/>
                <a:gd name="connsiteY20" fmla="*/ 3469 h 10000"/>
                <a:gd name="connsiteX21" fmla="*/ 120 w 8464"/>
                <a:gd name="connsiteY21" fmla="*/ 3904 h 10000"/>
                <a:gd name="connsiteX22" fmla="*/ 322 w 8464"/>
                <a:gd name="connsiteY22" fmla="*/ 3700 h 10000"/>
                <a:gd name="connsiteX23" fmla="*/ 189 w 8464"/>
                <a:gd name="connsiteY23" fmla="*/ 4416 h 10000"/>
                <a:gd name="connsiteX24" fmla="*/ 1 w 8464"/>
                <a:gd name="connsiteY24" fmla="*/ 3669 h 10000"/>
                <a:gd name="connsiteX25" fmla="*/ 215 w 8464"/>
                <a:gd name="connsiteY25" fmla="*/ 4711 h 10000"/>
                <a:gd name="connsiteX26" fmla="*/ 141 w 8464"/>
                <a:gd name="connsiteY26" fmla="*/ 6556 h 10000"/>
                <a:gd name="connsiteX0" fmla="*/ 167 w 10000"/>
                <a:gd name="connsiteY0" fmla="*/ 6556 h 9972"/>
                <a:gd name="connsiteX1" fmla="*/ 441 w 10000"/>
                <a:gd name="connsiteY1" fmla="*/ 7883 h 9972"/>
                <a:gd name="connsiteX2" fmla="*/ 946 w 10000"/>
                <a:gd name="connsiteY2" fmla="*/ 7881 h 9972"/>
                <a:gd name="connsiteX3" fmla="*/ 207 w 10000"/>
                <a:gd name="connsiteY3" fmla="*/ 6971 h 9972"/>
                <a:gd name="connsiteX4" fmla="*/ 1069 w 10000"/>
                <a:gd name="connsiteY4" fmla="*/ 8621 h 9972"/>
                <a:gd name="connsiteX5" fmla="*/ 411 w 10000"/>
                <a:gd name="connsiteY5" fmla="*/ 9289 h 9972"/>
                <a:gd name="connsiteX6" fmla="*/ 3496 w 10000"/>
                <a:gd name="connsiteY6" fmla="*/ 9972 h 9972"/>
                <a:gd name="connsiteX7" fmla="*/ 5553 w 10000"/>
                <a:gd name="connsiteY7" fmla="*/ 9289 h 9972"/>
                <a:gd name="connsiteX8" fmla="*/ 7097 w 10000"/>
                <a:gd name="connsiteY8" fmla="*/ 6565 h 9972"/>
                <a:gd name="connsiteX9" fmla="*/ 9447 w 10000"/>
                <a:gd name="connsiteY9" fmla="*/ 8547 h 9972"/>
                <a:gd name="connsiteX10" fmla="*/ 10000 w 10000"/>
                <a:gd name="connsiteY10" fmla="*/ 5302 h 9972"/>
                <a:gd name="connsiteX11" fmla="*/ 9099 w 10000"/>
                <a:gd name="connsiteY11" fmla="*/ 2543 h 9972"/>
                <a:gd name="connsiteX12" fmla="*/ 6525 w 10000"/>
                <a:gd name="connsiteY12" fmla="*/ 5382 h 9972"/>
                <a:gd name="connsiteX13" fmla="*/ 7476 w 10000"/>
                <a:gd name="connsiteY13" fmla="*/ 4773 h 9972"/>
                <a:gd name="connsiteX14" fmla="*/ 5084 w 10000"/>
                <a:gd name="connsiteY14" fmla="*/ 2887 h 9972"/>
                <a:gd name="connsiteX15" fmla="*/ 4270 w 10000"/>
                <a:gd name="connsiteY15" fmla="*/ 981 h 9972"/>
                <a:gd name="connsiteX16" fmla="*/ 3958 w 10000"/>
                <a:gd name="connsiteY16" fmla="*/ 851 h 9972"/>
                <a:gd name="connsiteX17" fmla="*/ 2766 w 10000"/>
                <a:gd name="connsiteY17" fmla="*/ 577 h 9972"/>
                <a:gd name="connsiteX18" fmla="*/ 1295 w 10000"/>
                <a:gd name="connsiteY18" fmla="*/ 0 h 9972"/>
                <a:gd name="connsiteX19" fmla="*/ 404 w 10000"/>
                <a:gd name="connsiteY19" fmla="*/ 1773 h 9972"/>
                <a:gd name="connsiteX20" fmla="*/ 112 w 10000"/>
                <a:gd name="connsiteY20" fmla="*/ 3469 h 9972"/>
                <a:gd name="connsiteX21" fmla="*/ 142 w 10000"/>
                <a:gd name="connsiteY21" fmla="*/ 3904 h 9972"/>
                <a:gd name="connsiteX22" fmla="*/ 380 w 10000"/>
                <a:gd name="connsiteY22" fmla="*/ 3700 h 9972"/>
                <a:gd name="connsiteX23" fmla="*/ 223 w 10000"/>
                <a:gd name="connsiteY23" fmla="*/ 4416 h 9972"/>
                <a:gd name="connsiteX24" fmla="*/ 1 w 10000"/>
                <a:gd name="connsiteY24" fmla="*/ 3669 h 9972"/>
                <a:gd name="connsiteX25" fmla="*/ 254 w 10000"/>
                <a:gd name="connsiteY25" fmla="*/ 4711 h 9972"/>
                <a:gd name="connsiteX26" fmla="*/ 167 w 10000"/>
                <a:gd name="connsiteY26" fmla="*/ 6556 h 9972"/>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525 w 10000"/>
                <a:gd name="connsiteY12" fmla="*/ 539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729 w 10000"/>
                <a:gd name="connsiteY13" fmla="*/ 6188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1177 w 10000"/>
                <a:gd name="connsiteY5" fmla="*/ 8724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167" y="6574"/>
                  </a:moveTo>
                  <a:cubicBezTo>
                    <a:pt x="314" y="8031"/>
                    <a:pt x="292" y="6449"/>
                    <a:pt x="441" y="7905"/>
                  </a:cubicBezTo>
                  <a:lnTo>
                    <a:pt x="946" y="7903"/>
                  </a:lnTo>
                  <a:cubicBezTo>
                    <a:pt x="840" y="8635"/>
                    <a:pt x="312" y="6259"/>
                    <a:pt x="207" y="6991"/>
                  </a:cubicBezTo>
                  <a:cubicBezTo>
                    <a:pt x="229" y="8003"/>
                    <a:pt x="1046" y="7632"/>
                    <a:pt x="1069" y="8645"/>
                  </a:cubicBezTo>
                  <a:cubicBezTo>
                    <a:pt x="1239" y="7735"/>
                    <a:pt x="1007" y="9636"/>
                    <a:pt x="1177" y="8724"/>
                  </a:cubicBezTo>
                  <a:lnTo>
                    <a:pt x="3496" y="10000"/>
                  </a:lnTo>
                  <a:lnTo>
                    <a:pt x="5327" y="7864"/>
                  </a:lnTo>
                  <a:lnTo>
                    <a:pt x="7097" y="6583"/>
                  </a:lnTo>
                  <a:lnTo>
                    <a:pt x="9447" y="8571"/>
                  </a:lnTo>
                  <a:cubicBezTo>
                    <a:pt x="9630" y="7485"/>
                    <a:pt x="9816" y="6403"/>
                    <a:pt x="10000" y="5317"/>
                  </a:cubicBezTo>
                  <a:cubicBezTo>
                    <a:pt x="9589" y="3042"/>
                    <a:pt x="9511" y="4827"/>
                    <a:pt x="9099" y="2550"/>
                  </a:cubicBezTo>
                  <a:cubicBezTo>
                    <a:pt x="8241" y="3500"/>
                    <a:pt x="6012" y="6092"/>
                    <a:pt x="6179" y="6389"/>
                  </a:cubicBezTo>
                  <a:cubicBezTo>
                    <a:pt x="6359" y="6187"/>
                    <a:pt x="6430" y="6826"/>
                    <a:pt x="6313" y="6350"/>
                  </a:cubicBezTo>
                  <a:lnTo>
                    <a:pt x="5084" y="2895"/>
                  </a:lnTo>
                  <a:cubicBezTo>
                    <a:pt x="4863" y="1763"/>
                    <a:pt x="4490" y="2115"/>
                    <a:pt x="4270" y="984"/>
                  </a:cubicBezTo>
                  <a:cubicBezTo>
                    <a:pt x="4106" y="1068"/>
                    <a:pt x="4123" y="770"/>
                    <a:pt x="3958" y="853"/>
                  </a:cubicBezTo>
                  <a:lnTo>
                    <a:pt x="2766" y="579"/>
                  </a:lnTo>
                  <a:cubicBezTo>
                    <a:pt x="2598" y="-513"/>
                    <a:pt x="1465" y="1093"/>
                    <a:pt x="1295" y="0"/>
                  </a:cubicBezTo>
                  <a:cubicBezTo>
                    <a:pt x="1464" y="1359"/>
                    <a:pt x="236" y="419"/>
                    <a:pt x="404" y="1778"/>
                  </a:cubicBezTo>
                  <a:cubicBezTo>
                    <a:pt x="825" y="4373"/>
                    <a:pt x="-310" y="880"/>
                    <a:pt x="112" y="3479"/>
                  </a:cubicBezTo>
                  <a:cubicBezTo>
                    <a:pt x="-104" y="3661"/>
                    <a:pt x="388" y="4026"/>
                    <a:pt x="142" y="3915"/>
                  </a:cubicBezTo>
                  <a:cubicBezTo>
                    <a:pt x="-102" y="3804"/>
                    <a:pt x="195" y="3453"/>
                    <a:pt x="380" y="3710"/>
                  </a:cubicBezTo>
                  <a:cubicBezTo>
                    <a:pt x="175" y="3609"/>
                    <a:pt x="128" y="4399"/>
                    <a:pt x="223" y="4428"/>
                  </a:cubicBezTo>
                  <a:cubicBezTo>
                    <a:pt x="321" y="4457"/>
                    <a:pt x="271" y="3360"/>
                    <a:pt x="1" y="3679"/>
                  </a:cubicBezTo>
                  <a:cubicBezTo>
                    <a:pt x="-4" y="4323"/>
                    <a:pt x="258" y="4080"/>
                    <a:pt x="254" y="4724"/>
                  </a:cubicBezTo>
                  <a:cubicBezTo>
                    <a:pt x="224" y="5341"/>
                    <a:pt x="195" y="5959"/>
                    <a:pt x="167" y="6574"/>
                  </a:cubicBez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cxnSp>
          <p:nvCxnSpPr>
            <p:cNvPr id="51" name="Connecteur droit 50"/>
            <p:cNvCxnSpPr>
              <a:stCxn id="96" idx="15"/>
              <a:endCxn id="102" idx="40"/>
            </p:cNvCxnSpPr>
            <p:nvPr/>
          </p:nvCxnSpPr>
          <p:spPr bwMode="auto">
            <a:xfrm>
              <a:off x="4578350" y="3584575"/>
              <a:ext cx="160338" cy="207963"/>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2" name="Connecteur droit 51"/>
            <p:cNvCxnSpPr>
              <a:stCxn id="75" idx="8"/>
              <a:endCxn id="71" idx="5"/>
            </p:cNvCxnSpPr>
            <p:nvPr/>
          </p:nvCxnSpPr>
          <p:spPr>
            <a:xfrm>
              <a:off x="6650985" y="5490144"/>
              <a:ext cx="263633" cy="148359"/>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Connecteur droit 52"/>
            <p:cNvCxnSpPr>
              <a:stCxn id="103" idx="17"/>
            </p:cNvCxnSpPr>
            <p:nvPr/>
          </p:nvCxnSpPr>
          <p:spPr bwMode="auto">
            <a:xfrm>
              <a:off x="4268360" y="3134602"/>
              <a:ext cx="132190" cy="138603"/>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Nadpis 1"/>
          <p:cNvSpPr>
            <a:spLocks noGrp="1"/>
          </p:cNvSpPr>
          <p:nvPr>
            <p:ph type="title" hasCustomPrompt="1"/>
          </p:nvPr>
        </p:nvSpPr>
        <p:spPr>
          <a:xfrm>
            <a:off x="-57600" y="1965600"/>
            <a:ext cx="8661600" cy="1173600"/>
          </a:xfrm>
          <a:noFill/>
          <a:effectLst/>
        </p:spPr>
        <p:txBody>
          <a:bodyPr wrap="square">
            <a:normAutofit/>
          </a:bodyPr>
          <a:lstStyle>
            <a:lvl1pPr marL="596700" indent="-596700">
              <a:lnSpc>
                <a:spcPts val="3375"/>
              </a:lnSpc>
              <a:buClr>
                <a:srgbClr val="00BEFF"/>
              </a:buClr>
              <a:buSzPct val="145000"/>
              <a:buFont typeface="Arial" panose="020B0604020202020204" pitchFamily="34" charset="0"/>
              <a:buChar char="■"/>
              <a:defRPr sz="3375"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540000" y="3240002"/>
            <a:ext cx="8064000" cy="294953"/>
          </a:xfrm>
        </p:spPr>
        <p:txBody>
          <a:bodyPr lIns="0" rIns="0">
            <a:spAutoFit/>
          </a:bodyPr>
          <a:lstStyle>
            <a:lvl1pPr marL="0" indent="0" algn="l">
              <a:lnSpc>
                <a:spcPts val="2250"/>
              </a:lnSpc>
              <a:buNone/>
              <a:defRPr sz="1950" baseline="0">
                <a:solidFill>
                  <a:schemeClr val="bg1"/>
                </a:solidFill>
              </a:defRPr>
            </a:lvl1pPr>
            <a:lvl2pPr marL="257169"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1" indent="0" algn="ctr">
              <a:buNone/>
              <a:defRPr sz="900"/>
            </a:lvl7pPr>
            <a:lvl8pPr marL="1800180" indent="0" algn="ctr">
              <a:buNone/>
              <a:defRPr sz="900"/>
            </a:lvl8pPr>
            <a:lvl9pPr marL="2057349" indent="0" algn="ctr">
              <a:buNone/>
              <a:defRPr sz="900"/>
            </a:lvl9pPr>
          </a:lstStyle>
          <a:p>
            <a:r>
              <a:rPr lang="en-US" noProof="0"/>
              <a:t>Click to add subtitle</a:t>
            </a:r>
          </a:p>
        </p:txBody>
      </p:sp>
      <p:sp>
        <p:nvSpPr>
          <p:cNvPr id="8" name="Text Placeholder 6"/>
          <p:cNvSpPr>
            <a:spLocks noGrp="1"/>
          </p:cNvSpPr>
          <p:nvPr>
            <p:ph type="body" sz="quarter" idx="13" hasCustomPrompt="1"/>
          </p:nvPr>
        </p:nvSpPr>
        <p:spPr>
          <a:xfrm>
            <a:off x="540001" y="5164669"/>
            <a:ext cx="2739068" cy="336905"/>
          </a:xfrm>
        </p:spPr>
        <p:txBody>
          <a:bodyPr lIns="0" rIns="0">
            <a:noAutofit/>
          </a:bodyPr>
          <a:lstStyle>
            <a:lvl1pPr marL="0" indent="0">
              <a:buNone/>
              <a:defRPr sz="1406" baseline="0">
                <a:solidFill>
                  <a:schemeClr val="bg1"/>
                </a:solidFill>
              </a:defRPr>
            </a:lvl1pPr>
            <a:lvl2pPr marL="257169" indent="0">
              <a:buNone/>
              <a:defRPr sz="1350">
                <a:solidFill>
                  <a:schemeClr val="bg1"/>
                </a:solidFill>
              </a:defRPr>
            </a:lvl2pPr>
            <a:lvl3pPr marL="514337" indent="0">
              <a:buNone/>
              <a:defRPr sz="1350">
                <a:solidFill>
                  <a:schemeClr val="bg1"/>
                </a:solidFill>
              </a:defRPr>
            </a:lvl3pPr>
            <a:lvl4pPr marL="771506" indent="0">
              <a:buNone/>
              <a:defRPr sz="1350">
                <a:solidFill>
                  <a:schemeClr val="bg1"/>
                </a:solidFill>
              </a:defRPr>
            </a:lvl4pPr>
            <a:lvl5pPr marL="1028675" indent="0">
              <a:buNone/>
              <a:defRPr sz="135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540001" y="5563254"/>
            <a:ext cx="2739068" cy="336905"/>
          </a:xfrm>
        </p:spPr>
        <p:txBody>
          <a:bodyPr lIns="0" rIns="0">
            <a:noAutofit/>
          </a:bodyPr>
          <a:lstStyle>
            <a:lvl1pPr marL="0" indent="0">
              <a:buNone/>
              <a:defRPr sz="1406" baseline="0">
                <a:solidFill>
                  <a:schemeClr val="bg1"/>
                </a:solidFill>
              </a:defRPr>
            </a:lvl1pPr>
            <a:lvl2pPr marL="257169" indent="0">
              <a:buNone/>
              <a:defRPr sz="1350">
                <a:solidFill>
                  <a:schemeClr val="bg1"/>
                </a:solidFill>
              </a:defRPr>
            </a:lvl2pPr>
            <a:lvl3pPr marL="514337" indent="0">
              <a:buNone/>
              <a:defRPr sz="1350">
                <a:solidFill>
                  <a:schemeClr val="bg1"/>
                </a:solidFill>
              </a:defRPr>
            </a:lvl3pPr>
            <a:lvl4pPr marL="771506" indent="0">
              <a:buNone/>
              <a:defRPr sz="1350">
                <a:solidFill>
                  <a:schemeClr val="bg1"/>
                </a:solidFill>
              </a:defRPr>
            </a:lvl4pPr>
            <a:lvl5pPr marL="1028675" indent="0">
              <a:buNone/>
              <a:defRPr sz="135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540000" y="6356358"/>
            <a:ext cx="2057400" cy="365125"/>
          </a:xfrm>
        </p:spPr>
        <p:txBody>
          <a:bodyPr/>
          <a:lstStyle/>
          <a:p>
            <a:fld id="{6772A6CC-3F41-4C8C-AD90-B00785797DA3}" type="datetime1">
              <a:rPr lang="en-US" noProof="0" smtClean="0"/>
              <a:t>6/7/2023</a:t>
            </a:fld>
            <a:endParaRPr lang="en-US" noProof="0"/>
          </a:p>
        </p:txBody>
      </p:sp>
      <p:pic>
        <p:nvPicPr>
          <p:cNvPr id="16" name="Obrázek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3110" y="5072863"/>
            <a:ext cx="1020600" cy="1360800"/>
          </a:xfrm>
          <a:prstGeom prst="rect">
            <a:avLst/>
          </a:prstGeom>
        </p:spPr>
      </p:pic>
    </p:spTree>
    <p:extLst>
      <p:ext uri="{BB962C8B-B14F-4D97-AF65-F5344CB8AC3E}">
        <p14:creationId xmlns:p14="http://schemas.microsoft.com/office/powerpoint/2010/main" val="309888377"/>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o QI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Nadpis 1"/>
          <p:cNvSpPr>
            <a:spLocks noGrp="1"/>
          </p:cNvSpPr>
          <p:nvPr>
            <p:ph type="title" hasCustomPrompt="1"/>
          </p:nvPr>
        </p:nvSpPr>
        <p:spPr>
          <a:xfrm>
            <a:off x="-57600" y="1965600"/>
            <a:ext cx="8661600" cy="1173600"/>
          </a:xfrm>
          <a:noFill/>
          <a:effectLst/>
        </p:spPr>
        <p:txBody>
          <a:bodyPr wrap="square">
            <a:normAutofit/>
          </a:bodyPr>
          <a:lstStyle>
            <a:lvl1pPr marL="596700" indent="-596700">
              <a:lnSpc>
                <a:spcPts val="3375"/>
              </a:lnSpc>
              <a:buClr>
                <a:srgbClr val="00BEFF"/>
              </a:buClr>
              <a:buSzPct val="145000"/>
              <a:buFont typeface="Arial" panose="020B0604020202020204" pitchFamily="34" charset="0"/>
              <a:buChar char="■"/>
              <a:defRPr sz="3375"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540000" y="3240002"/>
            <a:ext cx="8064000" cy="294953"/>
          </a:xfrm>
        </p:spPr>
        <p:txBody>
          <a:bodyPr lIns="0" rIns="0">
            <a:spAutoFit/>
          </a:bodyPr>
          <a:lstStyle>
            <a:lvl1pPr marL="0" indent="0" algn="l">
              <a:lnSpc>
                <a:spcPts val="2250"/>
              </a:lnSpc>
              <a:buNone/>
              <a:defRPr sz="1950" baseline="0">
                <a:solidFill>
                  <a:schemeClr val="bg1"/>
                </a:solidFill>
              </a:defRPr>
            </a:lvl1pPr>
            <a:lvl2pPr marL="257169"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1" indent="0" algn="ctr">
              <a:buNone/>
              <a:defRPr sz="900"/>
            </a:lvl7pPr>
            <a:lvl8pPr marL="1800180" indent="0" algn="ctr">
              <a:buNone/>
              <a:defRPr sz="900"/>
            </a:lvl8pPr>
            <a:lvl9pPr marL="2057349" indent="0" algn="ctr">
              <a:buNone/>
              <a:defRPr sz="900"/>
            </a:lvl9pPr>
          </a:lstStyle>
          <a:p>
            <a:r>
              <a:rPr lang="en-US" noProof="0"/>
              <a:t>Click to add subtitle</a:t>
            </a:r>
          </a:p>
        </p:txBody>
      </p:sp>
      <p:sp>
        <p:nvSpPr>
          <p:cNvPr id="8" name="Text Placeholder 6"/>
          <p:cNvSpPr>
            <a:spLocks noGrp="1"/>
          </p:cNvSpPr>
          <p:nvPr>
            <p:ph type="body" sz="quarter" idx="13" hasCustomPrompt="1"/>
          </p:nvPr>
        </p:nvSpPr>
        <p:spPr>
          <a:xfrm>
            <a:off x="540001" y="5164669"/>
            <a:ext cx="2739068" cy="336905"/>
          </a:xfrm>
        </p:spPr>
        <p:txBody>
          <a:bodyPr lIns="0" rIns="0">
            <a:noAutofit/>
          </a:bodyPr>
          <a:lstStyle>
            <a:lvl1pPr marL="0" indent="0">
              <a:buNone/>
              <a:defRPr sz="1406" baseline="0">
                <a:solidFill>
                  <a:schemeClr val="bg1"/>
                </a:solidFill>
              </a:defRPr>
            </a:lvl1pPr>
            <a:lvl2pPr marL="257169" indent="0">
              <a:buNone/>
              <a:defRPr sz="1350">
                <a:solidFill>
                  <a:schemeClr val="bg1"/>
                </a:solidFill>
              </a:defRPr>
            </a:lvl2pPr>
            <a:lvl3pPr marL="514337" indent="0">
              <a:buNone/>
              <a:defRPr sz="1350">
                <a:solidFill>
                  <a:schemeClr val="bg1"/>
                </a:solidFill>
              </a:defRPr>
            </a:lvl3pPr>
            <a:lvl4pPr marL="771506" indent="0">
              <a:buNone/>
              <a:defRPr sz="1350">
                <a:solidFill>
                  <a:schemeClr val="bg1"/>
                </a:solidFill>
              </a:defRPr>
            </a:lvl4pPr>
            <a:lvl5pPr marL="1028675" indent="0">
              <a:buNone/>
              <a:defRPr sz="135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540001" y="5563254"/>
            <a:ext cx="2739068" cy="336905"/>
          </a:xfrm>
        </p:spPr>
        <p:txBody>
          <a:bodyPr lIns="0" rIns="0">
            <a:noAutofit/>
          </a:bodyPr>
          <a:lstStyle>
            <a:lvl1pPr marL="0" indent="0">
              <a:buNone/>
              <a:defRPr sz="1406" baseline="0">
                <a:solidFill>
                  <a:schemeClr val="bg1"/>
                </a:solidFill>
              </a:defRPr>
            </a:lvl1pPr>
            <a:lvl2pPr marL="257169" indent="0">
              <a:buNone/>
              <a:defRPr sz="1350">
                <a:solidFill>
                  <a:schemeClr val="bg1"/>
                </a:solidFill>
              </a:defRPr>
            </a:lvl2pPr>
            <a:lvl3pPr marL="514337" indent="0">
              <a:buNone/>
              <a:defRPr sz="1350">
                <a:solidFill>
                  <a:schemeClr val="bg1"/>
                </a:solidFill>
              </a:defRPr>
            </a:lvl3pPr>
            <a:lvl4pPr marL="771506" indent="0">
              <a:buNone/>
              <a:defRPr sz="1350">
                <a:solidFill>
                  <a:schemeClr val="bg1"/>
                </a:solidFill>
              </a:defRPr>
            </a:lvl4pPr>
            <a:lvl5pPr marL="1028675" indent="0">
              <a:buNone/>
              <a:defRPr sz="135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540000" y="6356358"/>
            <a:ext cx="2057400" cy="365125"/>
          </a:xfrm>
        </p:spPr>
        <p:txBody>
          <a:bodyPr/>
          <a:lstStyle/>
          <a:p>
            <a:fld id="{DCBE0E69-711A-4C11-9C24-2566ABE92A70}" type="datetime1">
              <a:rPr lang="en-US" smtClean="0"/>
              <a:t>6/7/2023</a:t>
            </a:fld>
            <a:endParaRPr lang="cs-CZ"/>
          </a:p>
        </p:txBody>
      </p:sp>
    </p:spTree>
    <p:extLst>
      <p:ext uri="{BB962C8B-B14F-4D97-AF65-F5344CB8AC3E}">
        <p14:creationId xmlns:p14="http://schemas.microsoft.com/office/powerpoint/2010/main" val="311359509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blank">
    <p:bg>
      <p:bgPr>
        <a:solidFill>
          <a:schemeClr val="accent3"/>
        </a:solidFill>
        <a:effectLst/>
      </p:bgPr>
    </p:bg>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Obrázek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0"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p>
        </p:txBody>
      </p:sp>
    </p:spTree>
    <p:extLst>
      <p:ext uri="{BB962C8B-B14F-4D97-AF65-F5344CB8AC3E}">
        <p14:creationId xmlns:p14="http://schemas.microsoft.com/office/powerpoint/2010/main" val="1312058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 Callout &quot;Peopl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85899" y="668914"/>
            <a:ext cx="3580187" cy="4669941"/>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4"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5"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225409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1" presetClass="entr" presetSubtype="1"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wheel(1)">
                                      <p:cBhvr>
                                        <p:cTn id="10" dur="500"/>
                                        <p:tgtEl>
                                          <p:spTgt spid="5"/>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 Bulb &quot;Idea&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2000" y="641634"/>
            <a:ext cx="2455377" cy="4852837"/>
          </a:xfrm>
          <a:prstGeom prst="rect">
            <a:avLst/>
          </a:prstGeom>
        </p:spPr>
      </p:pic>
      <p:pic>
        <p:nvPicPr>
          <p:cNvPr id="7"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3989516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 Bulb &quot;Know-how&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572000" y="641634"/>
            <a:ext cx="2455377" cy="4852837"/>
          </a:xfrm>
          <a:prstGeom prst="rect">
            <a:avLst/>
          </a:prstGeom>
        </p:spPr>
      </p:pic>
      <p:pic>
        <p:nvPicPr>
          <p:cNvPr id="15"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6"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7"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2301522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1" presetClass="entr" presetSubtype="1" fill="hold"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wheel(1)">
                                      <p:cBhvr>
                                        <p:cTn id="10" dur="500"/>
                                        <p:tgtEl>
                                          <p:spTgt spid="17"/>
                                        </p:tgtEl>
                                      </p:cBhvr>
                                    </p:animEffect>
                                  </p:childTnLst>
                                </p:cTn>
                              </p:par>
                              <p:par>
                                <p:cTn id="11" presetID="10" presetClass="entr" presetSubtype="0" fill="hold" nodeType="withEffect">
                                  <p:stCondLst>
                                    <p:cond delay="5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 Head &quot;Planning&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86481" y="547139"/>
            <a:ext cx="3886537" cy="5041829"/>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4234356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 Head &quot;Partners&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86481" y="547139"/>
            <a:ext cx="3886537" cy="5041829"/>
          </a:xfrm>
          <a:prstGeom prst="rect">
            <a:avLst/>
          </a:prstGeom>
        </p:spPr>
      </p:pic>
      <p:pic>
        <p:nvPicPr>
          <p:cNvPr id="12"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3"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4"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2382604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1" presetClass="entr" presetSubtype="1"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500"/>
                                        <p:tgtEl>
                                          <p:spTgt spid="14"/>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 Globe &quot;Team&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11188" y="613244"/>
            <a:ext cx="4060288" cy="4749196"/>
          </a:xfrm>
          <a:prstGeom prst="rect">
            <a:avLst/>
          </a:prstGeom>
        </p:spPr>
      </p:pic>
      <p:pic>
        <p:nvPicPr>
          <p:cNvPr id="7"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186421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 Globe &quot;Experienc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11188" y="613244"/>
            <a:ext cx="4060288" cy="4749196"/>
          </a:xfrm>
          <a:prstGeom prst="rect">
            <a:avLst/>
          </a:prstGeom>
        </p:spPr>
      </p:pic>
      <p:pic>
        <p:nvPicPr>
          <p:cNvPr id="12"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3"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4"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2795801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1" presetClass="entr" presetSubtype="1"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500"/>
                                        <p:tgtEl>
                                          <p:spTgt spid="14"/>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A101B08-4580-48F3-B1CA-82F8A9B9E531}" type="datetime1">
              <a:rPr lang="fr-FR" smtClean="0"/>
              <a:pPr/>
              <a:t>07/06/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pPr/>
              <a:t>‹#›</a:t>
            </a:fld>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 Cloud &quot;Cloud&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1856163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 Cogwheel &quot;Solutions&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1766132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 Coin &quot;Valu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1688230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 Thank You">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9144000" cy="1206500"/>
          </a:xfrm>
          <a:prstGeom prst="rect">
            <a:avLst/>
          </a:prstGeom>
        </p:spPr>
      </p:pic>
      <p:sp>
        <p:nvSpPr>
          <p:cNvPr id="2" name="Nadpis 1"/>
          <p:cNvSpPr>
            <a:spLocks noGrp="1"/>
          </p:cNvSpPr>
          <p:nvPr>
            <p:ph type="title" hasCustomPrompt="1"/>
          </p:nvPr>
        </p:nvSpPr>
        <p:spPr>
          <a:xfrm>
            <a:off x="-39601" y="226475"/>
            <a:ext cx="8643600" cy="462574"/>
          </a:xfrm>
          <a:noFill/>
          <a:ln>
            <a:noFill/>
          </a:ln>
          <a:effectLst/>
        </p:spPr>
        <p:txBody>
          <a:bodyPr wrap="square" lIns="0" tIns="86400" rIns="0" bIns="28800" anchor="t" anchorCtr="0">
            <a:spAutoFit/>
          </a:bodyPr>
          <a:lstStyle>
            <a:lvl1pPr marL="434700" indent="-434700">
              <a:lnSpc>
                <a:spcPts val="2700"/>
              </a:lnSpc>
              <a:buClr>
                <a:srgbClr val="00BEFF"/>
              </a:buClr>
              <a:buSzPct val="145000"/>
              <a:buFont typeface="Arial" panose="020B0604020202020204" pitchFamily="34" charset="0"/>
              <a:buChar char="■"/>
              <a:defRPr sz="2400" cap="none" baseline="0">
                <a:solidFill>
                  <a:schemeClr val="bg1"/>
                </a:solidFill>
              </a:defRPr>
            </a:lvl1pPr>
          </a:lstStyle>
          <a:p>
            <a:r>
              <a:rPr lang="en-US" noProof="0"/>
              <a:t>Click to add title</a:t>
            </a:r>
            <a:r>
              <a:rPr lang="cs-CZ" noProof="0"/>
              <a:t> (</a:t>
            </a:r>
            <a:r>
              <a:rPr lang="en-US"/>
              <a:t>Thank You</a:t>
            </a:r>
            <a:r>
              <a:rPr lang="cs-CZ"/>
              <a:t>)</a:t>
            </a:r>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84330" y="582917"/>
            <a:ext cx="3584759" cy="4938188"/>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240000" y="360000"/>
            <a:ext cx="4893750" cy="5220000"/>
          </a:xfrm>
          <a:prstGeom prst="rect">
            <a:avLst/>
          </a:prstGeom>
        </p:spPr>
      </p:pic>
    </p:spTree>
    <p:extLst>
      <p:ext uri="{BB962C8B-B14F-4D97-AF65-F5344CB8AC3E}">
        <p14:creationId xmlns:p14="http://schemas.microsoft.com/office/powerpoint/2010/main" val="2882906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7" name="Zástupný symbol pro zápatí 6"/>
          <p:cNvSpPr>
            <a:spLocks noGrp="1"/>
          </p:cNvSpPr>
          <p:nvPr>
            <p:ph type="ftr" sz="quarter" idx="11"/>
          </p:nvPr>
        </p:nvSpPr>
        <p:spPr/>
        <p:txBody>
          <a:bodyPr/>
          <a:lstStyle/>
          <a:p>
            <a:r>
              <a:rPr lang="en-US" noProof="0"/>
              <a:t>Copyright © Unicorn Systems a.s.</a:t>
            </a:r>
          </a:p>
        </p:txBody>
      </p:sp>
      <p:sp>
        <p:nvSpPr>
          <p:cNvPr id="8" name="Zástupný symbol pro číslo snímku 7"/>
          <p:cNvSpPr>
            <a:spLocks noGrp="1"/>
          </p:cNvSpPr>
          <p:nvPr>
            <p:ph type="sldNum" sz="quarter" idx="12"/>
          </p:nvPr>
        </p:nvSpPr>
        <p:spPr/>
        <p:txBody>
          <a:bodyPr/>
          <a:lstStyle/>
          <a:p>
            <a:fld id="{851BEBC6-AE21-4DEA-82CA-C5B7C0A09A9D}" type="slidenum">
              <a:rPr lang="cs-CZ" smtClean="0"/>
              <a:pPr/>
              <a:t>‹#›</a:t>
            </a:fld>
            <a:endParaRPr lang="cs-CZ"/>
          </a:p>
        </p:txBody>
      </p:sp>
      <p:sp>
        <p:nvSpPr>
          <p:cNvPr id="9" name="Nadpis 8"/>
          <p:cNvSpPr>
            <a:spLocks noGrp="1"/>
          </p:cNvSpPr>
          <p:nvPr>
            <p:ph type="title" hasCustomPrompt="1"/>
          </p:nvPr>
        </p:nvSpPr>
        <p:spPr/>
        <p:txBody>
          <a:bodyPr/>
          <a:lstStyle/>
          <a:p>
            <a:r>
              <a:rPr lang="en-US" noProof="0"/>
              <a:t>Click to add title</a:t>
            </a:r>
          </a:p>
        </p:txBody>
      </p:sp>
      <p:sp>
        <p:nvSpPr>
          <p:cNvPr id="3" name="Zástupný symbol pro obsah 2"/>
          <p:cNvSpPr>
            <a:spLocks noGrp="1"/>
          </p:cNvSpPr>
          <p:nvPr>
            <p:ph sz="quarter" idx="13" hasCustomPrompt="1"/>
          </p:nvPr>
        </p:nvSpPr>
        <p:spPr>
          <a:xfrm>
            <a:off x="360000" y="1080000"/>
            <a:ext cx="8424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33080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ormal, blank">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Tree>
    <p:extLst>
      <p:ext uri="{BB962C8B-B14F-4D97-AF65-F5344CB8AC3E}">
        <p14:creationId xmlns:p14="http://schemas.microsoft.com/office/powerpoint/2010/main" val="26928907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ormal - two columns">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
        <p:nvSpPr>
          <p:cNvPr id="7" name="Zástupný symbol pro obsah 6"/>
          <p:cNvSpPr>
            <a:spLocks noGrp="1"/>
          </p:cNvSpPr>
          <p:nvPr>
            <p:ph sz="quarter" idx="13" hasCustomPrompt="1"/>
          </p:nvPr>
        </p:nvSpPr>
        <p:spPr>
          <a:xfrm>
            <a:off x="360363" y="1079999"/>
            <a:ext cx="4032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Zástupný symbol pro obsah 8"/>
          <p:cNvSpPr>
            <a:spLocks noGrp="1"/>
          </p:cNvSpPr>
          <p:nvPr>
            <p:ph sz="quarter" idx="14" hasCustomPrompt="1"/>
          </p:nvPr>
        </p:nvSpPr>
        <p:spPr>
          <a:xfrm>
            <a:off x="4752000" y="1079999"/>
            <a:ext cx="4032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55824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Reference">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
        <p:nvSpPr>
          <p:cNvPr id="8" name="Zástupný symbol pro obsah 6"/>
          <p:cNvSpPr>
            <a:spLocks noGrp="1"/>
          </p:cNvSpPr>
          <p:nvPr>
            <p:ph sz="quarter" idx="13" hasCustomPrompt="1"/>
          </p:nvPr>
        </p:nvSpPr>
        <p:spPr>
          <a:xfrm>
            <a:off x="359569" y="1084263"/>
            <a:ext cx="8424000" cy="1620000"/>
          </a:xfrm>
        </p:spPr>
        <p:txBody>
          <a:bodyPr/>
          <a:lstStyle>
            <a:lvl1pPr marL="0" indent="0">
              <a:lnSpc>
                <a:spcPct val="110000"/>
              </a:lnSpc>
              <a:buNone/>
              <a:defRPr sz="1500"/>
            </a:lvl1pPr>
            <a:lvl2pPr marL="243000" indent="0">
              <a:lnSpc>
                <a:spcPct val="110000"/>
              </a:lnSpc>
              <a:buNone/>
              <a:defRPr sz="1350"/>
            </a:lvl2pPr>
            <a:lvl3pPr marL="540000" indent="0">
              <a:lnSpc>
                <a:spcPct val="110000"/>
              </a:lnSpc>
              <a:buNone/>
              <a:defRPr sz="1200"/>
            </a:lvl3pPr>
            <a:lvl4pPr marL="837000" indent="0">
              <a:lnSpc>
                <a:spcPct val="110000"/>
              </a:lnSpc>
              <a:buNone/>
              <a:defRPr sz="1050"/>
            </a:lvl4pPr>
            <a:lvl5pPr marL="1134000" indent="0">
              <a:lnSpc>
                <a:spcPct val="110000"/>
              </a:lnSpc>
              <a:buNone/>
              <a:defRPr sz="900"/>
            </a:lvl5pPr>
          </a:lstStyle>
          <a:p>
            <a:pPr lvl="0"/>
            <a:r>
              <a:rPr lang="en-US" noProof="0"/>
              <a:t>Click to add text</a:t>
            </a:r>
          </a:p>
        </p:txBody>
      </p:sp>
      <p:sp>
        <p:nvSpPr>
          <p:cNvPr id="9" name="Zástupný symbol pro text 10"/>
          <p:cNvSpPr>
            <a:spLocks noGrp="1"/>
          </p:cNvSpPr>
          <p:nvPr>
            <p:ph type="body" sz="quarter" idx="14" hasCustomPrompt="1"/>
          </p:nvPr>
        </p:nvSpPr>
        <p:spPr>
          <a:xfrm>
            <a:off x="359999" y="2880000"/>
            <a:ext cx="5130000" cy="3357288"/>
          </a:xfrm>
        </p:spPr>
        <p:txBody>
          <a:bodyPr/>
          <a:lstStyle>
            <a:lvl1pPr marL="189000" indent="-189000">
              <a:spcBef>
                <a:spcPts val="225"/>
              </a:spcBef>
              <a:spcAft>
                <a:spcPts val="375"/>
              </a:spcAft>
              <a:buClr>
                <a:srgbClr val="002D96"/>
              </a:buClr>
              <a:buSzPct val="75000"/>
              <a:buFont typeface="Wingdings" panose="05000000000000000000" pitchFamily="2" charset="2"/>
              <a:buChar char="n"/>
              <a:defRPr sz="1650" b="1"/>
            </a:lvl1pPr>
            <a:lvl2pPr marL="540000" indent="-175500">
              <a:buClr>
                <a:srgbClr val="5D6C82"/>
              </a:buClr>
              <a:buSzPct val="75000"/>
              <a:buFont typeface="Wingdings" panose="05000000000000000000" pitchFamily="2" charset="2"/>
              <a:buChar char="n"/>
              <a:defRPr sz="1350"/>
            </a:lvl2pPr>
            <a:lvl3pPr marL="783000" indent="-189000">
              <a:buSzPct val="120000"/>
              <a:buFont typeface="Arial" panose="020B0604020202020204" pitchFamily="34" charset="0"/>
              <a:buChar char="■"/>
              <a:defRPr sz="1350"/>
            </a:lvl3pPr>
            <a:lvl4pPr marL="1026000" indent="-162000">
              <a:buSzPct val="110000"/>
              <a:buFont typeface="Arial" panose="020B0604020202020204" pitchFamily="34" charset="0"/>
              <a:buChar char="■"/>
              <a:defRPr sz="1200"/>
            </a:lvl4pPr>
            <a:lvl5pPr marL="1269000" indent="-135000">
              <a:buSzPct val="110000"/>
              <a:buFont typeface="Arial" panose="020B0604020202020204" pitchFamily="34" charset="0"/>
              <a:buChar char="■"/>
              <a:defRPr sz="1050"/>
            </a:lvl5pPr>
          </a:lstStyle>
          <a:p>
            <a:pPr lvl="0"/>
            <a:r>
              <a:rPr lang="en-US" noProof="0"/>
              <a:t>Click to add text</a:t>
            </a:r>
          </a:p>
          <a:p>
            <a:pPr lvl="1"/>
            <a:r>
              <a:rPr lang="en-US" noProof="0"/>
              <a:t>Second level</a:t>
            </a:r>
          </a:p>
        </p:txBody>
      </p:sp>
      <p:sp>
        <p:nvSpPr>
          <p:cNvPr id="10" name="Zástupný symbol pro obrázek 12"/>
          <p:cNvSpPr>
            <a:spLocks noGrp="1"/>
          </p:cNvSpPr>
          <p:nvPr>
            <p:ph type="pic" sz="quarter" idx="15" hasCustomPrompt="1"/>
          </p:nvPr>
        </p:nvSpPr>
        <p:spPr>
          <a:xfrm>
            <a:off x="6271256" y="3228975"/>
            <a:ext cx="1890000" cy="1980000"/>
          </a:xfrm>
        </p:spPr>
        <p:txBody>
          <a:bodyPr anchor="ctr" anchorCtr="0"/>
          <a:lstStyle>
            <a:lvl1pPr marL="0" indent="0" algn="ctr">
              <a:buNone/>
              <a:defRPr sz="1500"/>
            </a:lvl1pPr>
          </a:lstStyle>
          <a:p>
            <a:r>
              <a:rPr lang="cs-CZ"/>
              <a:t>Logo</a:t>
            </a:r>
          </a:p>
        </p:txBody>
      </p:sp>
    </p:spTree>
    <p:extLst>
      <p:ext uri="{BB962C8B-B14F-4D97-AF65-F5344CB8AC3E}">
        <p14:creationId xmlns:p14="http://schemas.microsoft.com/office/powerpoint/2010/main" val="26902355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pecial">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9" name="Obdélník 18"/>
          <p:cNvSpPr/>
          <p:nvPr userDrawn="1"/>
        </p:nvSpPr>
        <p:spPr>
          <a:xfrm>
            <a:off x="8950500" y="6602400"/>
            <a:ext cx="191700" cy="255600"/>
          </a:xfrm>
          <a:prstGeom prst="rect">
            <a:avLst/>
          </a:prstGeom>
          <a:solidFill>
            <a:srgbClr val="00A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013"/>
          </a:p>
        </p:txBody>
      </p:sp>
      <p:sp>
        <p:nvSpPr>
          <p:cNvPr id="17" name="Zástupný symbol pro zápatí 16"/>
          <p:cNvSpPr>
            <a:spLocks noGrp="1"/>
          </p:cNvSpPr>
          <p:nvPr>
            <p:ph type="ftr" sz="quarter" idx="11"/>
          </p:nvPr>
        </p:nvSpPr>
        <p:spPr/>
        <p:txBody>
          <a:bodyPr/>
          <a:lstStyle/>
          <a:p>
            <a:r>
              <a:rPr lang="en-US" noProof="0"/>
              <a:t>Copyright © Unicorn Systems a.s.</a:t>
            </a:r>
          </a:p>
        </p:txBody>
      </p:sp>
      <p:sp>
        <p:nvSpPr>
          <p:cNvPr id="18" name="Zástupný symbol pro číslo snímku 17"/>
          <p:cNvSpPr>
            <a:spLocks noGrp="1"/>
          </p:cNvSpPr>
          <p:nvPr>
            <p:ph type="sldNum" sz="quarter" idx="12"/>
          </p:nvPr>
        </p:nvSpPr>
        <p:spPr/>
        <p:txBody>
          <a:bodyPr/>
          <a:lstStyle/>
          <a:p>
            <a:fld id="{851BEBC6-AE21-4DEA-82CA-C5B7C0A09A9D}" type="slidenum">
              <a:rPr lang="cs-CZ" smtClean="0"/>
              <a:pPr/>
              <a:t>‹#›</a:t>
            </a:fld>
            <a:endParaRPr lang="cs-CZ"/>
          </a:p>
        </p:txBody>
      </p:sp>
    </p:spTree>
    <p:extLst>
      <p:ext uri="{BB962C8B-B14F-4D97-AF65-F5344CB8AC3E}">
        <p14:creationId xmlns:p14="http://schemas.microsoft.com/office/powerpoint/2010/main" val="32479119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double">
    <p:spTree>
      <p:nvGrpSpPr>
        <p:cNvPr id="1" name=""/>
        <p:cNvGrpSpPr/>
        <p:nvPr/>
      </p:nvGrpSpPr>
      <p:grpSpPr>
        <a:xfrm>
          <a:off x="0" y="0"/>
          <a:ext cx="0" cy="0"/>
          <a:chOff x="0" y="0"/>
          <a:chExt cx="0" cy="0"/>
        </a:xfrm>
      </p:grpSpPr>
      <p:sp>
        <p:nvSpPr>
          <p:cNvPr id="2" name="Titre 1"/>
          <p:cNvSpPr>
            <a:spLocks noGrp="1"/>
          </p:cNvSpPr>
          <p:nvPr>
            <p:ph type="title"/>
          </p:nvPr>
        </p:nvSpPr>
        <p:spPr>
          <a:xfrm>
            <a:off x="323528" y="170334"/>
            <a:ext cx="8496944" cy="492471"/>
          </a:xfrm>
        </p:spPr>
        <p:txBody>
          <a:bodyPr>
            <a:normAutofit/>
          </a:bodyPr>
          <a:lstStyle>
            <a:lvl1pPr>
              <a:defRPr sz="2000"/>
            </a:lvl1pPr>
          </a:lstStyle>
          <a:p>
            <a:r>
              <a:rPr lang="fr-FR" dirty="0"/>
              <a:t>Cliquez pour modifier le style du titre</a:t>
            </a:r>
          </a:p>
        </p:txBody>
      </p:sp>
      <p:sp>
        <p:nvSpPr>
          <p:cNvPr id="3" name="Espace réservé du contenu 2"/>
          <p:cNvSpPr>
            <a:spLocks noGrp="1"/>
          </p:cNvSpPr>
          <p:nvPr>
            <p:ph idx="1"/>
          </p:nvPr>
        </p:nvSpPr>
        <p:spPr>
          <a:xfrm>
            <a:off x="457200" y="1041152"/>
            <a:ext cx="8229600" cy="5085012"/>
          </a:xfrm>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A101B08-4580-48F3-B1CA-82F8A9B9E531}" type="datetime1">
              <a:rPr lang="fr-FR" smtClean="0"/>
              <a:pPr/>
              <a:t>07/06/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pPr/>
              <a:t>‹#›</a:t>
            </a:fld>
            <a:endParaRPr lang="fr-FR"/>
          </a:p>
        </p:txBody>
      </p:sp>
      <p:sp>
        <p:nvSpPr>
          <p:cNvPr id="8" name="Espace réservé du texte 7"/>
          <p:cNvSpPr>
            <a:spLocks noGrp="1"/>
          </p:cNvSpPr>
          <p:nvPr>
            <p:ph type="body" sz="quarter" idx="13"/>
          </p:nvPr>
        </p:nvSpPr>
        <p:spPr>
          <a:xfrm>
            <a:off x="323528" y="597717"/>
            <a:ext cx="8496944"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14443586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p>
            <a:fld id="{1A716F0F-C0D6-4015-A187-E7A6620B0FB9}" type="datetime1">
              <a:rPr lang="fr-FR" smtClean="0"/>
              <a:pPr/>
              <a:t>07/06/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pPr/>
              <a:t>‹#›</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A7CBA9C-3313-448C-9E65-11E456116ACB}" type="datetime1">
              <a:rPr lang="fr-FR" smtClean="0"/>
              <a:pPr/>
              <a:t>07/06/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pPr/>
              <a:t>‹#›</a:t>
            </a:fld>
            <a:endParaRPr lang="fr-FR"/>
          </a:p>
        </p:txBody>
      </p:sp>
      <p:sp>
        <p:nvSpPr>
          <p:cNvPr id="5" name="Rectangle 4"/>
          <p:cNvSpPr/>
          <p:nvPr userDrawn="1"/>
        </p:nvSpPr>
        <p:spPr>
          <a:xfrm>
            <a:off x="251520" y="908720"/>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A7CBA9C-3313-448C-9E65-11E456116ACB}" type="datetime1">
              <a:rPr lang="fr-FR" smtClean="0"/>
              <a:pPr/>
              <a:t>07/06/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pPr/>
              <a:t>‹#›</a:t>
            </a:fld>
            <a:endParaRPr lang="fr-FR"/>
          </a:p>
        </p:txBody>
      </p:sp>
      <p:sp>
        <p:nvSpPr>
          <p:cNvPr id="5" name="Rectangle 4"/>
          <p:cNvSpPr/>
          <p:nvPr userDrawn="1"/>
        </p:nvSpPr>
        <p:spPr>
          <a:xfrm>
            <a:off x="251520" y="908720"/>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re 1"/>
          <p:cNvSpPr>
            <a:spLocks noGrp="1"/>
          </p:cNvSpPr>
          <p:nvPr>
            <p:ph type="ctrTitle"/>
          </p:nvPr>
        </p:nvSpPr>
        <p:spPr>
          <a:xfrm>
            <a:off x="1115616" y="2693988"/>
            <a:ext cx="6912768" cy="1470025"/>
          </a:xfrm>
        </p:spPr>
        <p:txBody>
          <a:bodyPr>
            <a:noAutofit/>
          </a:bodyPr>
          <a:lstStyle>
            <a:lvl1pPr>
              <a:defRPr sz="3200"/>
            </a:lvl1pPr>
          </a:lstStyle>
          <a:p>
            <a:r>
              <a:rPr lang="fr-FR" dirty="0"/>
              <a:t>Cliquez pour modifier le style du titre</a:t>
            </a:r>
          </a:p>
        </p:txBody>
      </p:sp>
    </p:spTree>
    <p:extLst>
      <p:ext uri="{BB962C8B-B14F-4D97-AF65-F5344CB8AC3E}">
        <p14:creationId xmlns:p14="http://schemas.microsoft.com/office/powerpoint/2010/main" val="2810211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5AB3DB-863B-46AC-9B59-06AED6260468}"/>
              </a:ext>
            </a:extLst>
          </p:cNvPr>
          <p:cNvGraphicFramePr>
            <a:graphicFrameLocks noChangeAspect="1"/>
          </p:cNvGraphicFramePr>
          <p:nvPr userDrawn="1">
            <p:custDataLst>
              <p:tags r:id="rId1"/>
            </p:custDataLst>
            <p:extLst>
              <p:ext uri="{D42A27DB-BD31-4B8C-83A1-F6EECF244321}">
                <p14:modId xmlns:p14="http://schemas.microsoft.com/office/powerpoint/2010/main" val="59839795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4" name="Object 3" hidden="1">
                        <a:extLst>
                          <a:ext uri="{FF2B5EF4-FFF2-40B4-BE49-F238E27FC236}">
                            <a16:creationId xmlns:a16="http://schemas.microsoft.com/office/drawing/2014/main" id="{BD5AB3DB-863B-46AC-9B59-06AED626046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p:nvPr>
        </p:nvSpPr>
        <p:spPr>
          <a:xfrm>
            <a:off x="498462" y="108000"/>
            <a:ext cx="6275812" cy="336550"/>
          </a:xfrm>
        </p:spPr>
        <p:txBody>
          <a:bodyPr vert="horz" lIns="72000" tIns="36000" rIns="72000" bIns="36000" rtlCol="0" anchor="t">
            <a:noAutofit/>
          </a:bodyPr>
          <a:lstStyle>
            <a:lvl1pPr>
              <a:defRPr lang="nl-NL" sz="1200" b="0" i="0" dirty="0">
                <a:solidFill>
                  <a:srgbClr val="575A1A"/>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277"/>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498465" y="461650"/>
            <a:ext cx="6275809" cy="363850"/>
          </a:xfrm>
          <a:prstGeom prst="rect">
            <a:avLst/>
          </a:prstGeom>
        </p:spPr>
        <p:txBody>
          <a:bodyPr vert="horz" lIns="72000" tIns="36000" rIns="72000" bIns="36000" rtlCol="0" anchor="t">
            <a:noAutofit/>
          </a:bodyPr>
          <a:lstStyle>
            <a:lvl1pPr>
              <a:defRPr lang="nl-NL" sz="1050" b="0" i="0" dirty="0">
                <a:solidFill>
                  <a:srgbClr val="575A1A"/>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8445207" y="6553210"/>
            <a:ext cx="614329" cy="273089"/>
          </a:xfrm>
          <a:prstGeom prst="rect">
            <a:avLst/>
          </a:prstGeom>
        </p:spPr>
        <p:txBody>
          <a:bodyPr vert="horz" lIns="91440" tIns="45720" rIns="91440" bIns="45720" rtlCol="0" anchor="ctr"/>
          <a:lstStyle>
            <a:lvl1pPr algn="r">
              <a:defRPr sz="623"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266087181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1B47FA-9D60-4B3E-8F09-FDEE2E8037D2}"/>
              </a:ext>
            </a:extLst>
          </p:cNvPr>
          <p:cNvGraphicFramePr>
            <a:graphicFrameLocks noChangeAspect="1"/>
          </p:cNvGraphicFramePr>
          <p:nvPr userDrawn="1">
            <p:custDataLst>
              <p:tags r:id="rId1"/>
            </p:custDataLst>
            <p:extLst>
              <p:ext uri="{D42A27DB-BD31-4B8C-83A1-F6EECF244321}">
                <p14:modId xmlns:p14="http://schemas.microsoft.com/office/powerpoint/2010/main" val="410718440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ct 4" hidden="1">
                        <a:extLst>
                          <a:ext uri="{FF2B5EF4-FFF2-40B4-BE49-F238E27FC236}">
                            <a16:creationId xmlns:a16="http://schemas.microsoft.com/office/drawing/2014/main" id="{071B47FA-9D60-4B3E-8F09-FDEE2E8037D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p:nvPr>
        </p:nvSpPr>
        <p:spPr>
          <a:xfrm>
            <a:off x="498462" y="108000"/>
            <a:ext cx="6274800" cy="336550"/>
          </a:xfrm>
        </p:spPr>
        <p:txBody>
          <a:bodyPr vert="horz" lIns="72000" tIns="36000" rIns="72000" bIns="36000" rtlCol="0" anchor="t">
            <a:noAutofit/>
          </a:bodyPr>
          <a:lstStyle>
            <a:lvl1pPr>
              <a:defRPr lang="nl-NL" sz="1200" b="0" i="0" dirty="0">
                <a:solidFill>
                  <a:srgbClr val="575A1A"/>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277"/>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498461" y="461650"/>
            <a:ext cx="6274800" cy="363850"/>
          </a:xfrm>
          <a:prstGeom prst="rect">
            <a:avLst/>
          </a:prstGeom>
        </p:spPr>
        <p:txBody>
          <a:bodyPr vert="horz" lIns="72000" tIns="36000" rIns="72000" bIns="36000" rtlCol="0" anchor="t">
            <a:noAutofit/>
          </a:bodyPr>
          <a:lstStyle>
            <a:lvl1pPr>
              <a:defRPr lang="nl-NL" sz="1050" b="0" i="0" dirty="0">
                <a:solidFill>
                  <a:srgbClr val="575A1A"/>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498463" y="1080000"/>
            <a:ext cx="8307692" cy="4320000"/>
          </a:xfrm>
        </p:spPr>
        <p:txBody>
          <a:bodyPr/>
          <a:lstStyle>
            <a:lvl1pPr>
              <a:defRPr b="0" i="0">
                <a:solidFill>
                  <a:srgbClr val="575A1A"/>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8445207" y="6553210"/>
            <a:ext cx="614329" cy="273089"/>
          </a:xfrm>
          <a:prstGeom prst="rect">
            <a:avLst/>
          </a:prstGeom>
        </p:spPr>
        <p:txBody>
          <a:bodyPr vert="horz" lIns="91440" tIns="45720" rIns="91440" bIns="45720" rtlCol="0" anchor="ctr"/>
          <a:lstStyle>
            <a:lvl1pPr algn="r">
              <a:defRPr sz="623"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3902268695"/>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867500" y="2912663"/>
            <a:ext cx="6826447" cy="792162"/>
          </a:xfrm>
          <a:prstGeom prst="rect">
            <a:avLst/>
          </a:prstGeom>
        </p:spPr>
        <p:txBody>
          <a:bodyPr/>
          <a:lstStyle>
            <a:lvl1pPr marL="0" indent="0">
              <a:buNone/>
              <a:defRPr lang="en-US" sz="1246"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868745" y="1792322"/>
            <a:ext cx="6826447" cy="792162"/>
          </a:xfrm>
          <a:prstGeom prst="rect">
            <a:avLst/>
          </a:prstGeom>
        </p:spPr>
        <p:txBody>
          <a:bodyPr anchor="ctr" anchorCtr="0">
            <a:noAutofit/>
          </a:bodyPr>
          <a:lstStyle>
            <a:lvl1pPr marL="0" indent="0">
              <a:buNone/>
              <a:defRPr lang="en-US" sz="2077" b="0" i="0" baseline="0" dirty="0">
                <a:solidFill>
                  <a:srgbClr val="575A1A"/>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pic>
        <p:nvPicPr>
          <p:cNvPr id="104" name="Picture 103">
            <a:extLst>
              <a:ext uri="{FF2B5EF4-FFF2-40B4-BE49-F238E27FC236}">
                <a16:creationId xmlns:a16="http://schemas.microsoft.com/office/drawing/2014/main" id="{7ABF7C3A-C7E5-4F5F-B483-B3D4B8F87F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7018" y="2180170"/>
            <a:ext cx="347262" cy="369792"/>
          </a:xfrm>
          <a:prstGeom prst="rect">
            <a:avLst/>
          </a:prstGeom>
        </p:spPr>
      </p:pic>
      <p:pic>
        <p:nvPicPr>
          <p:cNvPr id="105" name="Picture 104">
            <a:extLst>
              <a:ext uri="{FF2B5EF4-FFF2-40B4-BE49-F238E27FC236}">
                <a16:creationId xmlns:a16="http://schemas.microsoft.com/office/drawing/2014/main" id="{868C13DB-111B-438D-A9FA-721B0BC1A7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21222" y="3436946"/>
            <a:ext cx="430383" cy="358339"/>
          </a:xfrm>
          <a:prstGeom prst="rect">
            <a:avLst/>
          </a:prstGeom>
        </p:spPr>
      </p:pic>
      <p:pic>
        <p:nvPicPr>
          <p:cNvPr id="106" name="Picture 105">
            <a:extLst>
              <a:ext uri="{FF2B5EF4-FFF2-40B4-BE49-F238E27FC236}">
                <a16:creationId xmlns:a16="http://schemas.microsoft.com/office/drawing/2014/main" id="{F0BD0893-6C6D-4589-A9AF-292286CFCF2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9553" y="2803291"/>
            <a:ext cx="557307" cy="160199"/>
          </a:xfrm>
          <a:prstGeom prst="rect">
            <a:avLst/>
          </a:prstGeom>
        </p:spPr>
      </p:pic>
      <p:pic>
        <p:nvPicPr>
          <p:cNvPr id="107" name="Picture 106">
            <a:extLst>
              <a:ext uri="{FF2B5EF4-FFF2-40B4-BE49-F238E27FC236}">
                <a16:creationId xmlns:a16="http://schemas.microsoft.com/office/drawing/2014/main" id="{DC4A507E-A9A9-4B74-9D64-B895E9824D3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9428" y="1537208"/>
            <a:ext cx="358664" cy="255412"/>
          </a:xfrm>
          <a:prstGeom prst="rect">
            <a:avLst/>
          </a:prstGeom>
        </p:spPr>
      </p:pic>
      <p:pic>
        <p:nvPicPr>
          <p:cNvPr id="108" name="Picture 107">
            <a:extLst>
              <a:ext uri="{FF2B5EF4-FFF2-40B4-BE49-F238E27FC236}">
                <a16:creationId xmlns:a16="http://schemas.microsoft.com/office/drawing/2014/main" id="{ED62CD7A-F42E-41A4-9BEE-4C4FFA2A503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7461" y="2278454"/>
            <a:ext cx="279068" cy="377186"/>
          </a:xfrm>
          <a:prstGeom prst="rect">
            <a:avLst/>
          </a:prstGeom>
        </p:spPr>
      </p:pic>
      <p:pic>
        <p:nvPicPr>
          <p:cNvPr id="109" name="Picture 108">
            <a:extLst>
              <a:ext uri="{FF2B5EF4-FFF2-40B4-BE49-F238E27FC236}">
                <a16:creationId xmlns:a16="http://schemas.microsoft.com/office/drawing/2014/main" id="{08624D6D-F1B1-4468-9B26-A8CCE979D18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52756" y="1559313"/>
            <a:ext cx="591018" cy="201610"/>
          </a:xfrm>
          <a:prstGeom prst="rect">
            <a:avLst/>
          </a:prstGeom>
        </p:spPr>
      </p:pic>
      <p:pic>
        <p:nvPicPr>
          <p:cNvPr id="110" name="Picture 109">
            <a:extLst>
              <a:ext uri="{FF2B5EF4-FFF2-40B4-BE49-F238E27FC236}">
                <a16:creationId xmlns:a16="http://schemas.microsoft.com/office/drawing/2014/main" id="{26528137-F099-41F9-84D2-0B7E3069375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66025" y="5544065"/>
            <a:ext cx="575786" cy="187223"/>
          </a:xfrm>
          <a:prstGeom prst="rect">
            <a:avLst/>
          </a:prstGeom>
        </p:spPr>
      </p:pic>
      <p:pic>
        <p:nvPicPr>
          <p:cNvPr id="111" name="Picture 110">
            <a:extLst>
              <a:ext uri="{FF2B5EF4-FFF2-40B4-BE49-F238E27FC236}">
                <a16:creationId xmlns:a16="http://schemas.microsoft.com/office/drawing/2014/main" id="{E6723EAD-4CE3-4581-B8CC-12FD19DB1D3D}"/>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30837" y="3883794"/>
            <a:ext cx="514977" cy="299303"/>
          </a:xfrm>
          <a:prstGeom prst="rect">
            <a:avLst/>
          </a:prstGeom>
        </p:spPr>
      </p:pic>
      <p:pic>
        <p:nvPicPr>
          <p:cNvPr id="112" name="Picture 12" descr="http://www.ingenieurjobs.de/content/tinybrowser/image/transnetbw_gmbh.jpg">
            <a:extLst>
              <a:ext uri="{FF2B5EF4-FFF2-40B4-BE49-F238E27FC236}">
                <a16:creationId xmlns:a16="http://schemas.microsoft.com/office/drawing/2014/main" id="{BF6E12C3-8768-46F2-A604-DDDDAD6B99F7}"/>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355332" y="4312719"/>
            <a:ext cx="641615" cy="168959"/>
          </a:xfrm>
          <a:prstGeom prst="rect">
            <a:avLst/>
          </a:prstGeom>
          <a:noFill/>
          <a:extLst>
            <a:ext uri="{909E8E84-426E-40dd-AFC4-6F175D3DCCD1}">
              <a14:hiddenFill xmlns:a14="http://schemas.microsoft.com/office/drawing/2010/main" xmlns="">
                <a:solidFill>
                  <a:srgbClr val="FFFFFF"/>
                </a:solidFill>
              </a14:hiddenFill>
            </a:ext>
          </a:extLst>
        </p:spPr>
      </p:pic>
      <p:pic>
        <p:nvPicPr>
          <p:cNvPr id="113" name="Picture 112">
            <a:extLst>
              <a:ext uri="{FF2B5EF4-FFF2-40B4-BE49-F238E27FC236}">
                <a16:creationId xmlns:a16="http://schemas.microsoft.com/office/drawing/2014/main" id="{019C152A-3AC5-4AA1-BEF7-CAC2E7575905}"/>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r="66927"/>
          <a:stretch/>
        </p:blipFill>
        <p:spPr>
          <a:xfrm>
            <a:off x="918302" y="1907461"/>
            <a:ext cx="367620" cy="169107"/>
          </a:xfrm>
          <a:prstGeom prst="rect">
            <a:avLst/>
          </a:prstGeom>
        </p:spPr>
      </p:pic>
      <p:pic>
        <p:nvPicPr>
          <p:cNvPr id="114" name="Picture 113">
            <a:extLst>
              <a:ext uri="{FF2B5EF4-FFF2-40B4-BE49-F238E27FC236}">
                <a16:creationId xmlns:a16="http://schemas.microsoft.com/office/drawing/2014/main" id="{4B7BAA97-7554-4457-999F-3B05584A6E0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54617" y="3899684"/>
            <a:ext cx="444627" cy="196596"/>
          </a:xfrm>
          <a:prstGeom prst="rect">
            <a:avLst/>
          </a:prstGeom>
        </p:spPr>
      </p:pic>
      <p:pic>
        <p:nvPicPr>
          <p:cNvPr id="115" name="Picture 114">
            <a:extLst>
              <a:ext uri="{FF2B5EF4-FFF2-40B4-BE49-F238E27FC236}">
                <a16:creationId xmlns:a16="http://schemas.microsoft.com/office/drawing/2014/main" id="{B1EFC8F4-D5C8-487A-9E28-43C454FBF84F}"/>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15231" y="2660587"/>
            <a:ext cx="437528" cy="364607"/>
          </a:xfrm>
          <a:prstGeom prst="rect">
            <a:avLst/>
          </a:prstGeom>
        </p:spPr>
      </p:pic>
      <p:pic>
        <p:nvPicPr>
          <p:cNvPr id="116" name="Picture 115">
            <a:extLst>
              <a:ext uri="{FF2B5EF4-FFF2-40B4-BE49-F238E27FC236}">
                <a16:creationId xmlns:a16="http://schemas.microsoft.com/office/drawing/2014/main" id="{A9673FFF-32F4-46F0-931B-E075499A39F0}"/>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24323" y="4342032"/>
            <a:ext cx="281470" cy="347171"/>
          </a:xfrm>
          <a:prstGeom prst="rect">
            <a:avLst/>
          </a:prstGeom>
        </p:spPr>
      </p:pic>
      <p:pic>
        <p:nvPicPr>
          <p:cNvPr id="117" name="Picture 116">
            <a:extLst>
              <a:ext uri="{FF2B5EF4-FFF2-40B4-BE49-F238E27FC236}">
                <a16:creationId xmlns:a16="http://schemas.microsoft.com/office/drawing/2014/main" id="{DFC8B58F-375C-4E6A-BC9E-2E0FD9BBFEBB}"/>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05738" y="4772058"/>
            <a:ext cx="376720" cy="241095"/>
          </a:xfrm>
          <a:prstGeom prst="rect">
            <a:avLst/>
          </a:prstGeom>
        </p:spPr>
      </p:pic>
      <p:pic>
        <p:nvPicPr>
          <p:cNvPr id="118" name="Picture 117">
            <a:extLst>
              <a:ext uri="{FF2B5EF4-FFF2-40B4-BE49-F238E27FC236}">
                <a16:creationId xmlns:a16="http://schemas.microsoft.com/office/drawing/2014/main" id="{E4FD7A25-B1E0-4E86-AFB5-63ACB7580FB3}"/>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39428" y="2243241"/>
            <a:ext cx="410298" cy="369792"/>
          </a:xfrm>
          <a:prstGeom prst="rect">
            <a:avLst/>
          </a:prstGeom>
        </p:spPr>
      </p:pic>
      <p:pic>
        <p:nvPicPr>
          <p:cNvPr id="119" name="Imagen 10">
            <a:extLst>
              <a:ext uri="{FF2B5EF4-FFF2-40B4-BE49-F238E27FC236}">
                <a16:creationId xmlns:a16="http://schemas.microsoft.com/office/drawing/2014/main" id="{84D297FE-9B18-4286-B584-A7520F17D455}"/>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bwMode="auto">
          <a:xfrm>
            <a:off x="806050" y="3163493"/>
            <a:ext cx="528691" cy="214192"/>
          </a:xfrm>
          <a:prstGeom prst="rect">
            <a:avLst/>
          </a:prstGeom>
        </p:spPr>
      </p:pic>
      <p:pic>
        <p:nvPicPr>
          <p:cNvPr id="120" name="Picture 2">
            <a:extLst>
              <a:ext uri="{FF2B5EF4-FFF2-40B4-BE49-F238E27FC236}">
                <a16:creationId xmlns:a16="http://schemas.microsoft.com/office/drawing/2014/main" id="{939B9EE1-E5C1-4413-B34D-B16A48BA47B2}"/>
              </a:ext>
            </a:extLst>
          </p:cNvPr>
          <p:cNvPicPr>
            <a:picLocks noChangeAspect="1" noChangeArrowheads="1"/>
          </p:cNvPicPr>
          <p:nvPr userDrawn="1"/>
        </p:nvPicPr>
        <p:blipFill>
          <a:blip r:embed="rId18" cstate="email">
            <a:extLst>
              <a:ext uri="{28A0092B-C50C-407E-A947-70E740481C1C}">
                <a14:useLocalDpi xmlns:a14="http://schemas.microsoft.com/office/drawing/2010/main"/>
              </a:ext>
            </a:extLst>
          </a:blip>
          <a:stretch>
            <a:fillRect/>
          </a:stretch>
        </p:blipFill>
        <p:spPr bwMode="auto">
          <a:xfrm>
            <a:off x="406438" y="3576381"/>
            <a:ext cx="340991" cy="12565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Graphic 120">
            <a:extLst>
              <a:ext uri="{FF2B5EF4-FFF2-40B4-BE49-F238E27FC236}">
                <a16:creationId xmlns:a16="http://schemas.microsoft.com/office/drawing/2014/main" id="{DF5D545F-6D5E-42E3-A461-9BD5A9D35877}"/>
              </a:ext>
            </a:extLst>
          </p:cNvPr>
          <p:cNvPicPr>
            <a:picLocks noChangeAspect="1"/>
          </p:cNvPicPr>
          <p:nvPr userDrawn="1"/>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64090" y="4582575"/>
            <a:ext cx="482854" cy="133861"/>
          </a:xfrm>
          <a:prstGeom prst="rect">
            <a:avLst/>
          </a:prstGeom>
        </p:spPr>
      </p:pic>
      <p:pic>
        <p:nvPicPr>
          <p:cNvPr id="122" name="Graphic 121">
            <a:extLst>
              <a:ext uri="{FF2B5EF4-FFF2-40B4-BE49-F238E27FC236}">
                <a16:creationId xmlns:a16="http://schemas.microsoft.com/office/drawing/2014/main" id="{0D992D44-CABC-4F4A-A24A-CBB50A26AF10}"/>
              </a:ext>
            </a:extLst>
          </p:cNvPr>
          <p:cNvPicPr>
            <a:picLocks noChangeAspect="1"/>
          </p:cNvPicPr>
          <p:nvPr userDrawn="1"/>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49367" y="3157599"/>
            <a:ext cx="410298" cy="161483"/>
          </a:xfrm>
          <a:prstGeom prst="rect">
            <a:avLst/>
          </a:prstGeom>
        </p:spPr>
      </p:pic>
      <p:pic>
        <p:nvPicPr>
          <p:cNvPr id="123" name="Graphic 122">
            <a:extLst>
              <a:ext uri="{FF2B5EF4-FFF2-40B4-BE49-F238E27FC236}">
                <a16:creationId xmlns:a16="http://schemas.microsoft.com/office/drawing/2014/main" id="{0CA38D1A-C587-4AE4-AFFE-DBD920E4741E}"/>
              </a:ext>
            </a:extLst>
          </p:cNvPr>
          <p:cNvPicPr>
            <a:picLocks noChangeAspect="1"/>
          </p:cNvPicPr>
          <p:nvPr userDrawn="1"/>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56206" y="1934491"/>
            <a:ext cx="507641" cy="122778"/>
          </a:xfrm>
          <a:prstGeom prst="rect">
            <a:avLst/>
          </a:prstGeom>
        </p:spPr>
      </p:pic>
      <p:pic>
        <p:nvPicPr>
          <p:cNvPr id="124" name="Picture 123">
            <a:extLst>
              <a:ext uri="{FF2B5EF4-FFF2-40B4-BE49-F238E27FC236}">
                <a16:creationId xmlns:a16="http://schemas.microsoft.com/office/drawing/2014/main" id="{44C36433-CC68-4919-97B7-40226729F5E1}"/>
              </a:ext>
            </a:extLst>
          </p:cNvPr>
          <p:cNvPicPr>
            <a:picLocks noChangeAspect="1"/>
          </p:cNvPicPr>
          <p:nvPr userDrawn="1"/>
        </p:nvPicPr>
        <p:blipFill rotWithShape="1">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97383" y="5200889"/>
            <a:ext cx="445264" cy="155426"/>
          </a:xfrm>
          <a:prstGeom prst="rect">
            <a:avLst/>
          </a:prstGeom>
        </p:spPr>
      </p:pic>
      <p:pic>
        <p:nvPicPr>
          <p:cNvPr id="125" name="Graphic 124">
            <a:extLst>
              <a:ext uri="{FF2B5EF4-FFF2-40B4-BE49-F238E27FC236}">
                <a16:creationId xmlns:a16="http://schemas.microsoft.com/office/drawing/2014/main" id="{64DE8F84-40C3-49CA-A074-4859A30456B8}"/>
              </a:ext>
            </a:extLst>
          </p:cNvPr>
          <p:cNvPicPr>
            <a:picLocks noChangeAspect="1"/>
          </p:cNvPicPr>
          <p:nvPr userDrawn="1"/>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354022" y="4870330"/>
            <a:ext cx="606107" cy="97326"/>
          </a:xfrm>
          <a:prstGeom prst="rect">
            <a:avLst/>
          </a:prstGeom>
        </p:spPr>
      </p:pic>
      <p:pic>
        <p:nvPicPr>
          <p:cNvPr id="126" name="Picture 125">
            <a:extLst>
              <a:ext uri="{FF2B5EF4-FFF2-40B4-BE49-F238E27FC236}">
                <a16:creationId xmlns:a16="http://schemas.microsoft.com/office/drawing/2014/main" id="{41CFA5FF-51DD-4C43-9155-D4A62E342F55}"/>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358517" y="5567918"/>
            <a:ext cx="428424" cy="171942"/>
          </a:xfrm>
          <a:prstGeom prst="rect">
            <a:avLst/>
          </a:prstGeom>
        </p:spPr>
      </p:pic>
      <p:pic>
        <p:nvPicPr>
          <p:cNvPr id="127" name="Picture 126">
            <a:extLst>
              <a:ext uri="{FF2B5EF4-FFF2-40B4-BE49-F238E27FC236}">
                <a16:creationId xmlns:a16="http://schemas.microsoft.com/office/drawing/2014/main" id="{E41A73E7-F683-4AB1-BA28-FF4C619C90E4}"/>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a:off x="372877" y="5238241"/>
            <a:ext cx="445264" cy="148421"/>
          </a:xfrm>
          <a:prstGeom prst="rect">
            <a:avLst/>
          </a:prstGeom>
        </p:spPr>
      </p:pic>
      <p:pic>
        <p:nvPicPr>
          <p:cNvPr id="128" name="Graphic 127">
            <a:extLst>
              <a:ext uri="{FF2B5EF4-FFF2-40B4-BE49-F238E27FC236}">
                <a16:creationId xmlns:a16="http://schemas.microsoft.com/office/drawing/2014/main" id="{4BAE0626-0473-41DA-8252-0F8527A416BB}"/>
              </a:ext>
            </a:extLst>
          </p:cNvPr>
          <p:cNvPicPr>
            <a:picLocks noChangeAspect="1"/>
          </p:cNvPicPr>
          <p:nvPr userDrawn="1"/>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454076" y="5821137"/>
            <a:ext cx="247794" cy="491695"/>
          </a:xfrm>
          <a:prstGeom prst="rect">
            <a:avLst/>
          </a:prstGeom>
        </p:spPr>
      </p:pic>
      <p:pic>
        <p:nvPicPr>
          <p:cNvPr id="129" name="Picture 128">
            <a:extLst>
              <a:ext uri="{FF2B5EF4-FFF2-40B4-BE49-F238E27FC236}">
                <a16:creationId xmlns:a16="http://schemas.microsoft.com/office/drawing/2014/main" id="{6BCC5920-5845-425A-A6EF-D42EA8FB484E}"/>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377615" y="6414020"/>
            <a:ext cx="375141" cy="261395"/>
          </a:xfrm>
          <a:prstGeom prst="rect">
            <a:avLst/>
          </a:prstGeom>
        </p:spPr>
      </p:pic>
      <p:pic>
        <p:nvPicPr>
          <p:cNvPr id="130" name="Graphic 129">
            <a:extLst>
              <a:ext uri="{FF2B5EF4-FFF2-40B4-BE49-F238E27FC236}">
                <a16:creationId xmlns:a16="http://schemas.microsoft.com/office/drawing/2014/main" id="{DE103EF5-163F-4EED-80AE-0D39A11CBBE3}"/>
              </a:ext>
            </a:extLst>
          </p:cNvPr>
          <p:cNvPicPr>
            <a:picLocks noChangeAspect="1"/>
          </p:cNvPicPr>
          <p:nvPr userDrawn="1"/>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910649" y="5881623"/>
            <a:ext cx="398973" cy="183689"/>
          </a:xfrm>
          <a:prstGeom prst="rect">
            <a:avLst/>
          </a:prstGeom>
        </p:spPr>
      </p:pic>
      <p:pic>
        <p:nvPicPr>
          <p:cNvPr id="131" name="Picture 130">
            <a:extLst>
              <a:ext uri="{FF2B5EF4-FFF2-40B4-BE49-F238E27FC236}">
                <a16:creationId xmlns:a16="http://schemas.microsoft.com/office/drawing/2014/main" id="{49E3B681-355F-4C61-9500-AC7C87105AD6}"/>
              </a:ext>
            </a:extLst>
          </p:cNvPr>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46941" y="6099434"/>
            <a:ext cx="500936" cy="445276"/>
          </a:xfrm>
          <a:prstGeom prst="rect">
            <a:avLst/>
          </a:prstGeom>
        </p:spPr>
      </p:pic>
      <p:grpSp>
        <p:nvGrpSpPr>
          <p:cNvPr id="132" name="Graphic 264">
            <a:extLst>
              <a:ext uri="{FF2B5EF4-FFF2-40B4-BE49-F238E27FC236}">
                <a16:creationId xmlns:a16="http://schemas.microsoft.com/office/drawing/2014/main" id="{34972E72-B2CE-44FE-8014-CD1A72879123}"/>
              </a:ext>
            </a:extLst>
          </p:cNvPr>
          <p:cNvGrpSpPr/>
          <p:nvPr userDrawn="1"/>
        </p:nvGrpSpPr>
        <p:grpSpPr>
          <a:xfrm>
            <a:off x="4945501" y="2243241"/>
            <a:ext cx="4198499" cy="4459452"/>
            <a:chOff x="10775196" y="1653400"/>
            <a:chExt cx="5597999" cy="5171883"/>
          </a:xfrm>
          <a:scene3d>
            <a:camera prst="perspectiveRight">
              <a:rot lat="0" lon="19500000" rev="0"/>
            </a:camera>
            <a:lightRig rig="threePt" dir="t"/>
          </a:scene3d>
        </p:grpSpPr>
        <p:sp>
          <p:nvSpPr>
            <p:cNvPr id="133" name="Freeform: Shape 132">
              <a:extLst>
                <a:ext uri="{FF2B5EF4-FFF2-40B4-BE49-F238E27FC236}">
                  <a16:creationId xmlns:a16="http://schemas.microsoft.com/office/drawing/2014/main" id="{20BE7A3C-66CE-4154-944D-B213663E9C98}"/>
                </a:ext>
              </a:extLst>
            </p:cNvPr>
            <p:cNvSpPr/>
            <p:nvPr/>
          </p:nvSpPr>
          <p:spPr>
            <a:xfrm>
              <a:off x="15762595" y="5560887"/>
              <a:ext cx="417761" cy="175460"/>
            </a:xfrm>
            <a:custGeom>
              <a:avLst/>
              <a:gdLst>
                <a:gd name="connsiteX0" fmla="*/ 374147 w 417761"/>
                <a:gd name="connsiteY0" fmla="*/ 0 h 175459"/>
                <a:gd name="connsiteX1" fmla="*/ 347410 w 417761"/>
                <a:gd name="connsiteY1" fmla="*/ 0 h 175459"/>
                <a:gd name="connsiteX2" fmla="*/ 0 w 417761"/>
                <a:gd name="connsiteY2" fmla="*/ 83 h 175459"/>
                <a:gd name="connsiteX3" fmla="*/ 0 w 417761"/>
                <a:gd name="connsiteY3" fmla="*/ 172452 h 175459"/>
                <a:gd name="connsiteX4" fmla="*/ 418 w 417761"/>
                <a:gd name="connsiteY4" fmla="*/ 177966 h 175459"/>
                <a:gd name="connsiteX5" fmla="*/ 60659 w 417761"/>
                <a:gd name="connsiteY5" fmla="*/ 118644 h 175459"/>
                <a:gd name="connsiteX6" fmla="*/ 374147 w 417761"/>
                <a:gd name="connsiteY6" fmla="*/ 118728 h 175459"/>
                <a:gd name="connsiteX7" fmla="*/ 424696 w 417761"/>
                <a:gd name="connsiteY7" fmla="*/ 68178 h 175459"/>
                <a:gd name="connsiteX8" fmla="*/ 424696 w 417761"/>
                <a:gd name="connsiteY8" fmla="*/ 50633 h 175459"/>
                <a:gd name="connsiteX9" fmla="*/ 374147 w 417761"/>
                <a:gd name="connsiteY9" fmla="*/ 0 h 17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761" h="175459">
                  <a:moveTo>
                    <a:pt x="374147" y="0"/>
                  </a:moveTo>
                  <a:lnTo>
                    <a:pt x="347410" y="0"/>
                  </a:lnTo>
                  <a:cubicBezTo>
                    <a:pt x="56064" y="0"/>
                    <a:pt x="35761" y="0"/>
                    <a:pt x="0" y="83"/>
                  </a:cubicBezTo>
                  <a:lnTo>
                    <a:pt x="0" y="172452"/>
                  </a:lnTo>
                  <a:cubicBezTo>
                    <a:pt x="501" y="172786"/>
                    <a:pt x="418" y="175376"/>
                    <a:pt x="418" y="177966"/>
                  </a:cubicBezTo>
                  <a:cubicBezTo>
                    <a:pt x="418" y="149558"/>
                    <a:pt x="6434" y="118644"/>
                    <a:pt x="60659" y="118644"/>
                  </a:cubicBezTo>
                  <a:lnTo>
                    <a:pt x="374147" y="118728"/>
                  </a:lnTo>
                  <a:cubicBezTo>
                    <a:pt x="401970" y="118728"/>
                    <a:pt x="424696" y="96001"/>
                    <a:pt x="424696" y="68178"/>
                  </a:cubicBezTo>
                  <a:lnTo>
                    <a:pt x="424696" y="50633"/>
                  </a:lnTo>
                  <a:cubicBezTo>
                    <a:pt x="424696" y="22726"/>
                    <a:pt x="401887" y="0"/>
                    <a:pt x="374147" y="0"/>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4" name="Freeform: Shape 133">
              <a:extLst>
                <a:ext uri="{FF2B5EF4-FFF2-40B4-BE49-F238E27FC236}">
                  <a16:creationId xmlns:a16="http://schemas.microsoft.com/office/drawing/2014/main" id="{55AFE631-98CE-4A28-8F38-63346762B8C4}"/>
                </a:ext>
              </a:extLst>
            </p:cNvPr>
            <p:cNvSpPr/>
            <p:nvPr/>
          </p:nvSpPr>
          <p:spPr>
            <a:xfrm>
              <a:off x="15078386" y="6268825"/>
              <a:ext cx="8355" cy="8355"/>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5" name="Freeform: Shape 134">
              <a:extLst>
                <a:ext uri="{FF2B5EF4-FFF2-40B4-BE49-F238E27FC236}">
                  <a16:creationId xmlns:a16="http://schemas.microsoft.com/office/drawing/2014/main" id="{FC426B10-64A1-4A72-A31A-53364BB443F0}"/>
                </a:ext>
              </a:extLst>
            </p:cNvPr>
            <p:cNvSpPr/>
            <p:nvPr/>
          </p:nvSpPr>
          <p:spPr>
            <a:xfrm>
              <a:off x="14671069" y="5619541"/>
              <a:ext cx="8355" cy="8355"/>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6" name="Freeform: Shape 135">
              <a:extLst>
                <a:ext uri="{FF2B5EF4-FFF2-40B4-BE49-F238E27FC236}">
                  <a16:creationId xmlns:a16="http://schemas.microsoft.com/office/drawing/2014/main" id="{D0742941-34F0-4F73-82C4-4AB1E42AF7DD}"/>
                </a:ext>
              </a:extLst>
            </p:cNvPr>
            <p:cNvSpPr/>
            <p:nvPr/>
          </p:nvSpPr>
          <p:spPr>
            <a:xfrm>
              <a:off x="14804418" y="5893592"/>
              <a:ext cx="8355" cy="8355"/>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7" name="Freeform: Shape 136">
              <a:extLst>
                <a:ext uri="{FF2B5EF4-FFF2-40B4-BE49-F238E27FC236}">
                  <a16:creationId xmlns:a16="http://schemas.microsoft.com/office/drawing/2014/main" id="{E70CECFA-EE56-47C6-A8FC-EB5B40FA9D98}"/>
                </a:ext>
              </a:extLst>
            </p:cNvPr>
            <p:cNvSpPr/>
            <p:nvPr/>
          </p:nvSpPr>
          <p:spPr>
            <a:xfrm>
              <a:off x="14933089" y="6138651"/>
              <a:ext cx="8355" cy="8355"/>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8" name="Freeform: Shape 137">
              <a:extLst>
                <a:ext uri="{FF2B5EF4-FFF2-40B4-BE49-F238E27FC236}">
                  <a16:creationId xmlns:a16="http://schemas.microsoft.com/office/drawing/2014/main" id="{05D45783-8D79-4CF7-BC7F-3F5231E7F283}"/>
                </a:ext>
              </a:extLst>
            </p:cNvPr>
            <p:cNvSpPr/>
            <p:nvPr/>
          </p:nvSpPr>
          <p:spPr>
            <a:xfrm>
              <a:off x="11190952" y="3634006"/>
              <a:ext cx="125328" cy="133684"/>
            </a:xfrm>
            <a:custGeom>
              <a:avLst/>
              <a:gdLst>
                <a:gd name="connsiteX0" fmla="*/ 132681 w 125328"/>
                <a:gd name="connsiteY0" fmla="*/ 140201 h 133683"/>
                <a:gd name="connsiteX1" fmla="*/ 132681 w 125328"/>
                <a:gd name="connsiteY1" fmla="*/ 73192 h 133683"/>
                <a:gd name="connsiteX2" fmla="*/ 59489 w 125328"/>
                <a:gd name="connsiteY2" fmla="*/ 0 h 133683"/>
                <a:gd name="connsiteX3" fmla="*/ 0 w 125328"/>
                <a:gd name="connsiteY3" fmla="*/ 0 h 133683"/>
                <a:gd name="connsiteX4" fmla="*/ 0 w 125328"/>
                <a:gd name="connsiteY4" fmla="*/ 67009 h 133683"/>
                <a:gd name="connsiteX5" fmla="*/ 73192 w 125328"/>
                <a:gd name="connsiteY5" fmla="*/ 140201 h 133683"/>
                <a:gd name="connsiteX6" fmla="*/ 132681 w 125328"/>
                <a:gd name="connsiteY6" fmla="*/ 140201 h 13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328" h="133683">
                  <a:moveTo>
                    <a:pt x="132681" y="140201"/>
                  </a:moveTo>
                  <a:lnTo>
                    <a:pt x="132681" y="73192"/>
                  </a:lnTo>
                  <a:cubicBezTo>
                    <a:pt x="132681" y="32920"/>
                    <a:pt x="99761" y="0"/>
                    <a:pt x="59489" y="0"/>
                  </a:cubicBezTo>
                  <a:lnTo>
                    <a:pt x="0" y="0"/>
                  </a:lnTo>
                  <a:lnTo>
                    <a:pt x="0" y="67009"/>
                  </a:lnTo>
                  <a:cubicBezTo>
                    <a:pt x="0" y="107281"/>
                    <a:pt x="32920" y="140201"/>
                    <a:pt x="73192" y="140201"/>
                  </a:cubicBezTo>
                  <a:lnTo>
                    <a:pt x="132681" y="140201"/>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39" name="Freeform: Shape 138">
              <a:extLst>
                <a:ext uri="{FF2B5EF4-FFF2-40B4-BE49-F238E27FC236}">
                  <a16:creationId xmlns:a16="http://schemas.microsoft.com/office/drawing/2014/main" id="{81FE956E-309C-425D-AB29-CE2D4D1D3910}"/>
                </a:ext>
              </a:extLst>
            </p:cNvPr>
            <p:cNvSpPr/>
            <p:nvPr/>
          </p:nvSpPr>
          <p:spPr>
            <a:xfrm>
              <a:off x="10931104" y="3634006"/>
              <a:ext cx="384340" cy="492958"/>
            </a:xfrm>
            <a:custGeom>
              <a:avLst/>
              <a:gdLst>
                <a:gd name="connsiteX0" fmla="*/ 73108 w 384340"/>
                <a:gd name="connsiteY0" fmla="*/ 496718 h 492958"/>
                <a:gd name="connsiteX1" fmla="*/ 319337 w 384340"/>
                <a:gd name="connsiteY1" fmla="*/ 496718 h 492958"/>
                <a:gd name="connsiteX2" fmla="*/ 392528 w 384340"/>
                <a:gd name="connsiteY2" fmla="*/ 423526 h 492958"/>
                <a:gd name="connsiteX3" fmla="*/ 392528 w 384340"/>
                <a:gd name="connsiteY3" fmla="*/ 210802 h 492958"/>
                <a:gd name="connsiteX4" fmla="*/ 392528 w 384340"/>
                <a:gd name="connsiteY4" fmla="*/ 140201 h 492958"/>
                <a:gd name="connsiteX5" fmla="*/ 333039 w 384340"/>
                <a:gd name="connsiteY5" fmla="*/ 140201 h 492958"/>
                <a:gd name="connsiteX6" fmla="*/ 329781 w 384340"/>
                <a:gd name="connsiteY6" fmla="*/ 140201 h 492958"/>
                <a:gd name="connsiteX7" fmla="*/ 327191 w 384340"/>
                <a:gd name="connsiteY7" fmla="*/ 139950 h 492958"/>
                <a:gd name="connsiteX8" fmla="*/ 259847 w 384340"/>
                <a:gd name="connsiteY8" fmla="*/ 67009 h 492958"/>
                <a:gd name="connsiteX9" fmla="*/ 259847 w 384340"/>
                <a:gd name="connsiteY9" fmla="*/ 0 h 492958"/>
                <a:gd name="connsiteX10" fmla="*/ 208296 w 384340"/>
                <a:gd name="connsiteY10" fmla="*/ 0 h 492958"/>
                <a:gd name="connsiteX11" fmla="*/ 137276 w 384340"/>
                <a:gd name="connsiteY11" fmla="*/ 69014 h 492958"/>
                <a:gd name="connsiteX12" fmla="*/ 67677 w 384340"/>
                <a:gd name="connsiteY12" fmla="*/ 140033 h 492958"/>
                <a:gd name="connsiteX13" fmla="*/ 0 w 384340"/>
                <a:gd name="connsiteY13" fmla="*/ 210969 h 492958"/>
                <a:gd name="connsiteX14" fmla="*/ 0 w 384340"/>
                <a:gd name="connsiteY14" fmla="*/ 423359 h 492958"/>
                <a:gd name="connsiteX15" fmla="*/ 73108 w 384340"/>
                <a:gd name="connsiteY15" fmla="*/ 496718 h 49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4340" h="492958">
                  <a:moveTo>
                    <a:pt x="73108" y="496718"/>
                  </a:moveTo>
                  <a:lnTo>
                    <a:pt x="319337" y="496718"/>
                  </a:lnTo>
                  <a:cubicBezTo>
                    <a:pt x="359609" y="496718"/>
                    <a:pt x="392528" y="463798"/>
                    <a:pt x="392528" y="423526"/>
                  </a:cubicBezTo>
                  <a:lnTo>
                    <a:pt x="392528" y="210802"/>
                  </a:lnTo>
                  <a:lnTo>
                    <a:pt x="392528" y="140201"/>
                  </a:lnTo>
                  <a:lnTo>
                    <a:pt x="333039" y="140201"/>
                  </a:lnTo>
                  <a:cubicBezTo>
                    <a:pt x="331953" y="140201"/>
                    <a:pt x="330867" y="140201"/>
                    <a:pt x="329781" y="140201"/>
                  </a:cubicBezTo>
                  <a:cubicBezTo>
                    <a:pt x="328945" y="140117"/>
                    <a:pt x="328026" y="140033"/>
                    <a:pt x="327191" y="139950"/>
                  </a:cubicBezTo>
                  <a:cubicBezTo>
                    <a:pt x="289676" y="136942"/>
                    <a:pt x="259847" y="105276"/>
                    <a:pt x="259847" y="67009"/>
                  </a:cubicBezTo>
                  <a:lnTo>
                    <a:pt x="259847" y="0"/>
                  </a:lnTo>
                  <a:lnTo>
                    <a:pt x="208296" y="0"/>
                  </a:lnTo>
                  <a:cubicBezTo>
                    <a:pt x="169862" y="0"/>
                    <a:pt x="138363" y="30664"/>
                    <a:pt x="137276" y="69014"/>
                  </a:cubicBezTo>
                  <a:cubicBezTo>
                    <a:pt x="136190" y="107114"/>
                    <a:pt x="105610" y="138195"/>
                    <a:pt x="67677" y="140033"/>
                  </a:cubicBezTo>
                  <a:cubicBezTo>
                    <a:pt x="29745" y="141872"/>
                    <a:pt x="0" y="173037"/>
                    <a:pt x="0" y="210969"/>
                  </a:cubicBezTo>
                  <a:lnTo>
                    <a:pt x="0" y="423359"/>
                  </a:lnTo>
                  <a:cubicBezTo>
                    <a:pt x="0" y="463798"/>
                    <a:pt x="32920" y="496718"/>
                    <a:pt x="73108" y="496718"/>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0" name="Freeform: Shape 139">
              <a:extLst>
                <a:ext uri="{FF2B5EF4-FFF2-40B4-BE49-F238E27FC236}">
                  <a16:creationId xmlns:a16="http://schemas.microsoft.com/office/drawing/2014/main" id="{1D11398B-095B-4499-B2C5-F10578E44D2E}"/>
                </a:ext>
              </a:extLst>
            </p:cNvPr>
            <p:cNvSpPr/>
            <p:nvPr/>
          </p:nvSpPr>
          <p:spPr>
            <a:xfrm>
              <a:off x="11347445" y="3132859"/>
              <a:ext cx="944140" cy="1253283"/>
            </a:xfrm>
            <a:custGeom>
              <a:avLst/>
              <a:gdLst>
                <a:gd name="connsiteX0" fmla="*/ 206458 w 944140"/>
                <a:gd name="connsiteY0" fmla="*/ 620709 h 1253283"/>
                <a:gd name="connsiteX1" fmla="*/ 321593 w 944140"/>
                <a:gd name="connsiteY1" fmla="*/ 620709 h 1253283"/>
                <a:gd name="connsiteX2" fmla="*/ 327942 w 944140"/>
                <a:gd name="connsiteY2" fmla="*/ 620459 h 1253283"/>
                <a:gd name="connsiteX3" fmla="*/ 340308 w 944140"/>
                <a:gd name="connsiteY3" fmla="*/ 620459 h 1253283"/>
                <a:gd name="connsiteX4" fmla="*/ 341144 w 944140"/>
                <a:gd name="connsiteY4" fmla="*/ 620542 h 1253283"/>
                <a:gd name="connsiteX5" fmla="*/ 406816 w 944140"/>
                <a:gd name="connsiteY5" fmla="*/ 691395 h 1253283"/>
                <a:gd name="connsiteX6" fmla="*/ 406816 w 944140"/>
                <a:gd name="connsiteY6" fmla="*/ 692564 h 1253283"/>
                <a:gd name="connsiteX7" fmla="*/ 338804 w 944140"/>
                <a:gd name="connsiteY7" fmla="*/ 763584 h 1253283"/>
                <a:gd name="connsiteX8" fmla="*/ 269205 w 944140"/>
                <a:gd name="connsiteY8" fmla="*/ 829089 h 1253283"/>
                <a:gd name="connsiteX9" fmla="*/ 198520 w 944140"/>
                <a:gd name="connsiteY9" fmla="*/ 892756 h 1253283"/>
                <a:gd name="connsiteX10" fmla="*/ 181058 w 944140"/>
                <a:gd name="connsiteY10" fmla="*/ 892756 h 1253283"/>
                <a:gd name="connsiteX11" fmla="*/ 128503 w 944140"/>
                <a:gd name="connsiteY11" fmla="*/ 945310 h 1253283"/>
                <a:gd name="connsiteX12" fmla="*/ 128503 w 944140"/>
                <a:gd name="connsiteY12" fmla="*/ 950741 h 1253283"/>
                <a:gd name="connsiteX13" fmla="*/ 181058 w 944140"/>
                <a:gd name="connsiteY13" fmla="*/ 1003295 h 1253283"/>
                <a:gd name="connsiteX14" fmla="*/ 197685 w 944140"/>
                <a:gd name="connsiteY14" fmla="*/ 1003295 h 1253283"/>
                <a:gd name="connsiteX15" fmla="*/ 268704 w 944140"/>
                <a:gd name="connsiteY15" fmla="*/ 1074315 h 1253283"/>
                <a:gd name="connsiteX16" fmla="*/ 268704 w 944140"/>
                <a:gd name="connsiteY16" fmla="*/ 1078409 h 1253283"/>
                <a:gd name="connsiteX17" fmla="*/ 197685 w 944140"/>
                <a:gd name="connsiteY17" fmla="*/ 1149428 h 1253283"/>
                <a:gd name="connsiteX18" fmla="*/ 52554 w 944140"/>
                <a:gd name="connsiteY18" fmla="*/ 1149428 h 1253283"/>
                <a:gd name="connsiteX19" fmla="*/ 0 w 944140"/>
                <a:gd name="connsiteY19" fmla="*/ 1201982 h 1253283"/>
                <a:gd name="connsiteX20" fmla="*/ 0 w 944140"/>
                <a:gd name="connsiteY20" fmla="*/ 1207413 h 1253283"/>
                <a:gd name="connsiteX21" fmla="*/ 52554 w 944140"/>
                <a:gd name="connsiteY21" fmla="*/ 1259968 h 1253283"/>
                <a:gd name="connsiteX22" fmla="*/ 342063 w 944140"/>
                <a:gd name="connsiteY22" fmla="*/ 1259968 h 1253283"/>
                <a:gd name="connsiteX23" fmla="*/ 348914 w 944140"/>
                <a:gd name="connsiteY23" fmla="*/ 1259968 h 1253283"/>
                <a:gd name="connsiteX24" fmla="*/ 457198 w 944140"/>
                <a:gd name="connsiteY24" fmla="*/ 1259968 h 1253283"/>
                <a:gd name="connsiteX25" fmla="*/ 529805 w 944140"/>
                <a:gd name="connsiteY25" fmla="*/ 1195800 h 1253283"/>
                <a:gd name="connsiteX26" fmla="*/ 600323 w 944140"/>
                <a:gd name="connsiteY26" fmla="*/ 1133470 h 1253283"/>
                <a:gd name="connsiteX27" fmla="*/ 735427 w 944140"/>
                <a:gd name="connsiteY27" fmla="*/ 1133470 h 1253283"/>
                <a:gd name="connsiteX28" fmla="*/ 807699 w 944140"/>
                <a:gd name="connsiteY28" fmla="*/ 1071557 h 1253283"/>
                <a:gd name="connsiteX29" fmla="*/ 875711 w 944140"/>
                <a:gd name="connsiteY29" fmla="*/ 1011567 h 1253283"/>
                <a:gd name="connsiteX30" fmla="*/ 946563 w 944140"/>
                <a:gd name="connsiteY30" fmla="*/ 938459 h 1253283"/>
                <a:gd name="connsiteX31" fmla="*/ 946563 w 944140"/>
                <a:gd name="connsiteY31" fmla="*/ 838864 h 1253283"/>
                <a:gd name="connsiteX32" fmla="*/ 876129 w 944140"/>
                <a:gd name="connsiteY32" fmla="*/ 765756 h 1253283"/>
                <a:gd name="connsiteX33" fmla="*/ 808117 w 944140"/>
                <a:gd name="connsiteY33" fmla="*/ 702340 h 1253283"/>
                <a:gd name="connsiteX34" fmla="*/ 737348 w 944140"/>
                <a:gd name="connsiteY34" fmla="*/ 637002 h 1253283"/>
                <a:gd name="connsiteX35" fmla="*/ 668251 w 944140"/>
                <a:gd name="connsiteY35" fmla="*/ 565983 h 1253283"/>
                <a:gd name="connsiteX36" fmla="*/ 668251 w 944140"/>
                <a:gd name="connsiteY36" fmla="*/ 452602 h 1253283"/>
                <a:gd name="connsiteX37" fmla="*/ 600573 w 944140"/>
                <a:gd name="connsiteY37" fmla="*/ 379661 h 1253283"/>
                <a:gd name="connsiteX38" fmla="*/ 534818 w 944140"/>
                <a:gd name="connsiteY38" fmla="*/ 308809 h 1253283"/>
                <a:gd name="connsiteX39" fmla="*/ 534818 w 944140"/>
                <a:gd name="connsiteY39" fmla="*/ 197350 h 1253283"/>
                <a:gd name="connsiteX40" fmla="*/ 462963 w 944140"/>
                <a:gd name="connsiteY40" fmla="*/ 124158 h 1253283"/>
                <a:gd name="connsiteX41" fmla="*/ 393865 w 944140"/>
                <a:gd name="connsiteY41" fmla="*/ 62998 h 1253283"/>
                <a:gd name="connsiteX42" fmla="*/ 321425 w 944140"/>
                <a:gd name="connsiteY42" fmla="*/ 0 h 1253283"/>
                <a:gd name="connsiteX43" fmla="*/ 206458 w 944140"/>
                <a:gd name="connsiteY43" fmla="*/ 0 h 1253283"/>
                <a:gd name="connsiteX44" fmla="*/ 133266 w 944140"/>
                <a:gd name="connsiteY44" fmla="*/ 73192 h 1253283"/>
                <a:gd name="connsiteX45" fmla="*/ 133266 w 944140"/>
                <a:gd name="connsiteY45" fmla="*/ 547601 h 1253283"/>
                <a:gd name="connsiteX46" fmla="*/ 206458 w 944140"/>
                <a:gd name="connsiteY46" fmla="*/ 620709 h 12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44140" h="1253283">
                  <a:moveTo>
                    <a:pt x="206458" y="620709"/>
                  </a:moveTo>
                  <a:lnTo>
                    <a:pt x="321593" y="620709"/>
                  </a:lnTo>
                  <a:cubicBezTo>
                    <a:pt x="323765" y="620709"/>
                    <a:pt x="325854" y="620626"/>
                    <a:pt x="327942" y="620459"/>
                  </a:cubicBezTo>
                  <a:cubicBezTo>
                    <a:pt x="332287" y="620041"/>
                    <a:pt x="335964" y="620041"/>
                    <a:pt x="340308" y="620459"/>
                  </a:cubicBezTo>
                  <a:cubicBezTo>
                    <a:pt x="340559" y="620459"/>
                    <a:pt x="340893" y="620542"/>
                    <a:pt x="341144" y="620542"/>
                  </a:cubicBezTo>
                  <a:cubicBezTo>
                    <a:pt x="378324" y="623383"/>
                    <a:pt x="406816" y="654130"/>
                    <a:pt x="406816" y="691395"/>
                  </a:cubicBezTo>
                  <a:lnTo>
                    <a:pt x="406816" y="692564"/>
                  </a:lnTo>
                  <a:cubicBezTo>
                    <a:pt x="406816" y="730581"/>
                    <a:pt x="376821" y="761913"/>
                    <a:pt x="338804" y="763584"/>
                  </a:cubicBezTo>
                  <a:cubicBezTo>
                    <a:pt x="302543" y="765171"/>
                    <a:pt x="272965" y="793412"/>
                    <a:pt x="269205" y="829089"/>
                  </a:cubicBezTo>
                  <a:cubicBezTo>
                    <a:pt x="265362" y="865434"/>
                    <a:pt x="235032" y="892756"/>
                    <a:pt x="198520" y="892756"/>
                  </a:cubicBezTo>
                  <a:lnTo>
                    <a:pt x="181058" y="892756"/>
                  </a:lnTo>
                  <a:cubicBezTo>
                    <a:pt x="152149" y="892756"/>
                    <a:pt x="128503" y="916401"/>
                    <a:pt x="128503" y="945310"/>
                  </a:cubicBezTo>
                  <a:lnTo>
                    <a:pt x="128503" y="950741"/>
                  </a:lnTo>
                  <a:cubicBezTo>
                    <a:pt x="128503" y="979650"/>
                    <a:pt x="152149" y="1003295"/>
                    <a:pt x="181058" y="1003295"/>
                  </a:cubicBezTo>
                  <a:lnTo>
                    <a:pt x="197685" y="1003295"/>
                  </a:lnTo>
                  <a:cubicBezTo>
                    <a:pt x="236787" y="1003295"/>
                    <a:pt x="268704" y="1035212"/>
                    <a:pt x="268704" y="1074315"/>
                  </a:cubicBezTo>
                  <a:lnTo>
                    <a:pt x="268704" y="1078409"/>
                  </a:lnTo>
                  <a:cubicBezTo>
                    <a:pt x="268704" y="1117511"/>
                    <a:pt x="236787" y="1149428"/>
                    <a:pt x="197685" y="1149428"/>
                  </a:cubicBezTo>
                  <a:lnTo>
                    <a:pt x="52554" y="1149428"/>
                  </a:lnTo>
                  <a:cubicBezTo>
                    <a:pt x="23645" y="1149428"/>
                    <a:pt x="0" y="1173073"/>
                    <a:pt x="0" y="1201982"/>
                  </a:cubicBezTo>
                  <a:lnTo>
                    <a:pt x="0" y="1207413"/>
                  </a:lnTo>
                  <a:cubicBezTo>
                    <a:pt x="0" y="1236322"/>
                    <a:pt x="23645" y="1259968"/>
                    <a:pt x="52554" y="1259968"/>
                  </a:cubicBezTo>
                  <a:lnTo>
                    <a:pt x="342063" y="1259968"/>
                  </a:lnTo>
                  <a:lnTo>
                    <a:pt x="348914" y="1259968"/>
                  </a:lnTo>
                  <a:lnTo>
                    <a:pt x="457198" y="1259968"/>
                  </a:lnTo>
                  <a:cubicBezTo>
                    <a:pt x="494379" y="1259968"/>
                    <a:pt x="525376" y="1231811"/>
                    <a:pt x="529805" y="1195800"/>
                  </a:cubicBezTo>
                  <a:cubicBezTo>
                    <a:pt x="534233" y="1160039"/>
                    <a:pt x="564228" y="1133470"/>
                    <a:pt x="600323" y="1133470"/>
                  </a:cubicBezTo>
                  <a:lnTo>
                    <a:pt x="735427" y="1133470"/>
                  </a:lnTo>
                  <a:cubicBezTo>
                    <a:pt x="771855" y="1133470"/>
                    <a:pt x="802268" y="1106482"/>
                    <a:pt x="807699" y="1071557"/>
                  </a:cubicBezTo>
                  <a:cubicBezTo>
                    <a:pt x="813047" y="1037468"/>
                    <a:pt x="841204" y="1012570"/>
                    <a:pt x="875711" y="1011567"/>
                  </a:cubicBezTo>
                  <a:cubicBezTo>
                    <a:pt x="914897" y="1010313"/>
                    <a:pt x="946563" y="977895"/>
                    <a:pt x="946563" y="938459"/>
                  </a:cubicBezTo>
                  <a:lnTo>
                    <a:pt x="946563" y="838864"/>
                  </a:lnTo>
                  <a:cubicBezTo>
                    <a:pt x="946563" y="799511"/>
                    <a:pt x="915148" y="767177"/>
                    <a:pt x="876129" y="765756"/>
                  </a:cubicBezTo>
                  <a:cubicBezTo>
                    <a:pt x="840619" y="764419"/>
                    <a:pt x="811961" y="737682"/>
                    <a:pt x="808117" y="702340"/>
                  </a:cubicBezTo>
                  <a:cubicBezTo>
                    <a:pt x="804274" y="666329"/>
                    <a:pt x="774028" y="638005"/>
                    <a:pt x="737348" y="637002"/>
                  </a:cubicBezTo>
                  <a:cubicBezTo>
                    <a:pt x="698914" y="635916"/>
                    <a:pt x="668251" y="604417"/>
                    <a:pt x="668251" y="565983"/>
                  </a:cubicBezTo>
                  <a:lnTo>
                    <a:pt x="668251" y="452602"/>
                  </a:lnTo>
                  <a:cubicBezTo>
                    <a:pt x="668251" y="414168"/>
                    <a:pt x="638256" y="382502"/>
                    <a:pt x="600573" y="379661"/>
                  </a:cubicBezTo>
                  <a:cubicBezTo>
                    <a:pt x="563393" y="376820"/>
                    <a:pt x="534818" y="346073"/>
                    <a:pt x="534818" y="308809"/>
                  </a:cubicBezTo>
                  <a:lnTo>
                    <a:pt x="534818" y="197350"/>
                  </a:lnTo>
                  <a:cubicBezTo>
                    <a:pt x="534818" y="157579"/>
                    <a:pt x="502567" y="124911"/>
                    <a:pt x="462963" y="124158"/>
                  </a:cubicBezTo>
                  <a:cubicBezTo>
                    <a:pt x="427787" y="123574"/>
                    <a:pt x="398711" y="97840"/>
                    <a:pt x="393865" y="62998"/>
                  </a:cubicBezTo>
                  <a:cubicBezTo>
                    <a:pt x="388852" y="27489"/>
                    <a:pt x="358188" y="0"/>
                    <a:pt x="321425" y="0"/>
                  </a:cubicBezTo>
                  <a:lnTo>
                    <a:pt x="206458" y="0"/>
                  </a:lnTo>
                  <a:cubicBezTo>
                    <a:pt x="166185" y="0"/>
                    <a:pt x="133266" y="32919"/>
                    <a:pt x="133266" y="73192"/>
                  </a:cubicBezTo>
                  <a:lnTo>
                    <a:pt x="133266" y="547601"/>
                  </a:lnTo>
                  <a:cubicBezTo>
                    <a:pt x="133266" y="587790"/>
                    <a:pt x="166185" y="620709"/>
                    <a:pt x="206458" y="620709"/>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1" name="Freeform: Shape 140">
              <a:extLst>
                <a:ext uri="{FF2B5EF4-FFF2-40B4-BE49-F238E27FC236}">
                  <a16:creationId xmlns:a16="http://schemas.microsoft.com/office/drawing/2014/main" id="{8A7E485F-C932-41D7-B1C5-D77F23276AE7}"/>
                </a:ext>
              </a:extLst>
            </p:cNvPr>
            <p:cNvSpPr/>
            <p:nvPr/>
          </p:nvSpPr>
          <p:spPr>
            <a:xfrm>
              <a:off x="13559657" y="3514025"/>
              <a:ext cx="116973" cy="108618"/>
            </a:xfrm>
            <a:custGeom>
              <a:avLst/>
              <a:gdLst>
                <a:gd name="connsiteX0" fmla="*/ 50549 w 116973"/>
                <a:gd name="connsiteY0" fmla="*/ 113046 h 108617"/>
                <a:gd name="connsiteX1" fmla="*/ 68095 w 116973"/>
                <a:gd name="connsiteY1" fmla="*/ 113046 h 108617"/>
                <a:gd name="connsiteX2" fmla="*/ 118644 w 116973"/>
                <a:gd name="connsiteY2" fmla="*/ 62497 h 108617"/>
                <a:gd name="connsiteX3" fmla="*/ 118644 w 116973"/>
                <a:gd name="connsiteY3" fmla="*/ 50549 h 108617"/>
                <a:gd name="connsiteX4" fmla="*/ 68095 w 116973"/>
                <a:gd name="connsiteY4" fmla="*/ 0 h 108617"/>
                <a:gd name="connsiteX5" fmla="*/ 50549 w 116973"/>
                <a:gd name="connsiteY5" fmla="*/ 0 h 108617"/>
                <a:gd name="connsiteX6" fmla="*/ 0 w 116973"/>
                <a:gd name="connsiteY6" fmla="*/ 50549 h 108617"/>
                <a:gd name="connsiteX7" fmla="*/ 0 w 116973"/>
                <a:gd name="connsiteY7" fmla="*/ 62497 h 108617"/>
                <a:gd name="connsiteX8" fmla="*/ 50549 w 116973"/>
                <a:gd name="connsiteY8" fmla="*/ 113046 h 10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3" h="108617">
                  <a:moveTo>
                    <a:pt x="50549" y="113046"/>
                  </a:moveTo>
                  <a:lnTo>
                    <a:pt x="68095" y="113046"/>
                  </a:lnTo>
                  <a:cubicBezTo>
                    <a:pt x="95918" y="113046"/>
                    <a:pt x="118644" y="90320"/>
                    <a:pt x="118644" y="62497"/>
                  </a:cubicBezTo>
                  <a:lnTo>
                    <a:pt x="118644" y="50549"/>
                  </a:lnTo>
                  <a:cubicBezTo>
                    <a:pt x="118644" y="22726"/>
                    <a:pt x="95918" y="0"/>
                    <a:pt x="68095" y="0"/>
                  </a:cubicBezTo>
                  <a:lnTo>
                    <a:pt x="50549" y="0"/>
                  </a:lnTo>
                  <a:cubicBezTo>
                    <a:pt x="22726" y="0"/>
                    <a:pt x="0" y="22726"/>
                    <a:pt x="0" y="50549"/>
                  </a:cubicBezTo>
                  <a:lnTo>
                    <a:pt x="0" y="62497"/>
                  </a:lnTo>
                  <a:cubicBezTo>
                    <a:pt x="0" y="90320"/>
                    <a:pt x="22726" y="113046"/>
                    <a:pt x="50549" y="113046"/>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42" name="Freeform: Shape 141">
              <a:extLst>
                <a:ext uri="{FF2B5EF4-FFF2-40B4-BE49-F238E27FC236}">
                  <a16:creationId xmlns:a16="http://schemas.microsoft.com/office/drawing/2014/main" id="{A4016D42-C54A-4310-8295-C940462FB9EC}"/>
                </a:ext>
              </a:extLst>
            </p:cNvPr>
            <p:cNvSpPr/>
            <p:nvPr/>
          </p:nvSpPr>
          <p:spPr>
            <a:xfrm>
              <a:off x="15084820" y="2998591"/>
              <a:ext cx="392695" cy="250657"/>
            </a:xfrm>
            <a:custGeom>
              <a:avLst/>
              <a:gdLst>
                <a:gd name="connsiteX0" fmla="*/ 395119 w 392695"/>
                <a:gd name="connsiteY0" fmla="*/ 0 h 250656"/>
                <a:gd name="connsiteX1" fmla="*/ 61411 w 392695"/>
                <a:gd name="connsiteY1" fmla="*/ 0 h 250656"/>
                <a:gd name="connsiteX2" fmla="*/ 0 w 392695"/>
                <a:gd name="connsiteY2" fmla="*/ 61411 h 250656"/>
                <a:gd name="connsiteX3" fmla="*/ 0 w 392695"/>
                <a:gd name="connsiteY3" fmla="*/ 193006 h 250656"/>
                <a:gd name="connsiteX4" fmla="*/ 61411 w 392695"/>
                <a:gd name="connsiteY4" fmla="*/ 254417 h 250656"/>
                <a:gd name="connsiteX5" fmla="*/ 395119 w 392695"/>
                <a:gd name="connsiteY5" fmla="*/ 254417 h 250656"/>
                <a:gd name="connsiteX6" fmla="*/ 395119 w 392695"/>
                <a:gd name="connsiteY6" fmla="*/ 0 h 2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695" h="250656">
                  <a:moveTo>
                    <a:pt x="395119" y="0"/>
                  </a:moveTo>
                  <a:lnTo>
                    <a:pt x="61411" y="0"/>
                  </a:lnTo>
                  <a:cubicBezTo>
                    <a:pt x="27656" y="0"/>
                    <a:pt x="0" y="27656"/>
                    <a:pt x="0" y="61411"/>
                  </a:cubicBezTo>
                  <a:lnTo>
                    <a:pt x="0" y="193006"/>
                  </a:lnTo>
                  <a:cubicBezTo>
                    <a:pt x="0" y="226761"/>
                    <a:pt x="27656" y="254417"/>
                    <a:pt x="61411" y="254417"/>
                  </a:cubicBezTo>
                  <a:lnTo>
                    <a:pt x="395119" y="254417"/>
                  </a:lnTo>
                  <a:lnTo>
                    <a:pt x="395119" y="0"/>
                  </a:lnTo>
                  <a:close/>
                </a:path>
              </a:pathLst>
            </a:custGeom>
            <a:solidFill>
              <a:srgbClr val="B1B550"/>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3" name="Freeform: Shape 142">
              <a:extLst>
                <a:ext uri="{FF2B5EF4-FFF2-40B4-BE49-F238E27FC236}">
                  <a16:creationId xmlns:a16="http://schemas.microsoft.com/office/drawing/2014/main" id="{2C0EF32A-9ED0-42D7-9996-F21602CD387B}"/>
                </a:ext>
              </a:extLst>
            </p:cNvPr>
            <p:cNvSpPr/>
            <p:nvPr/>
          </p:nvSpPr>
          <p:spPr>
            <a:xfrm>
              <a:off x="14811103" y="3253175"/>
              <a:ext cx="668418" cy="250657"/>
            </a:xfrm>
            <a:custGeom>
              <a:avLst/>
              <a:gdLst>
                <a:gd name="connsiteX0" fmla="*/ 668836 w 668417"/>
                <a:gd name="connsiteY0" fmla="*/ 254417 h 250656"/>
                <a:gd name="connsiteX1" fmla="*/ 61411 w 668417"/>
                <a:gd name="connsiteY1" fmla="*/ 254417 h 250656"/>
                <a:gd name="connsiteX2" fmla="*/ 0 w 668417"/>
                <a:gd name="connsiteY2" fmla="*/ 193006 h 250656"/>
                <a:gd name="connsiteX3" fmla="*/ 0 w 668417"/>
                <a:gd name="connsiteY3" fmla="*/ 61411 h 250656"/>
                <a:gd name="connsiteX4" fmla="*/ 61411 w 668417"/>
                <a:gd name="connsiteY4" fmla="*/ 0 h 250656"/>
                <a:gd name="connsiteX5" fmla="*/ 182645 w 668417"/>
                <a:gd name="connsiteY5" fmla="*/ 0 h 250656"/>
                <a:gd name="connsiteX6" fmla="*/ 263023 w 668417"/>
                <a:gd name="connsiteY6" fmla="*/ 53975 h 250656"/>
                <a:gd name="connsiteX7" fmla="*/ 263023 w 668417"/>
                <a:gd name="connsiteY7" fmla="*/ 68095 h 250656"/>
                <a:gd name="connsiteX8" fmla="*/ 322846 w 668417"/>
                <a:gd name="connsiteY8" fmla="*/ 127918 h 250656"/>
                <a:gd name="connsiteX9" fmla="*/ 343650 w 668417"/>
                <a:gd name="connsiteY9" fmla="*/ 127918 h 250656"/>
                <a:gd name="connsiteX10" fmla="*/ 403474 w 668417"/>
                <a:gd name="connsiteY10" fmla="*/ 68095 h 250656"/>
                <a:gd name="connsiteX11" fmla="*/ 403474 w 668417"/>
                <a:gd name="connsiteY11" fmla="*/ 53975 h 250656"/>
                <a:gd name="connsiteX12" fmla="*/ 369301 w 668417"/>
                <a:gd name="connsiteY12" fmla="*/ 0 h 250656"/>
                <a:gd name="connsiteX13" fmla="*/ 668919 w 668417"/>
                <a:gd name="connsiteY13" fmla="*/ 0 h 250656"/>
                <a:gd name="connsiteX14" fmla="*/ 668919 w 668417"/>
                <a:gd name="connsiteY14" fmla="*/ 254417 h 25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8417" h="250656">
                  <a:moveTo>
                    <a:pt x="668836" y="254417"/>
                  </a:moveTo>
                  <a:lnTo>
                    <a:pt x="61411" y="254417"/>
                  </a:lnTo>
                  <a:cubicBezTo>
                    <a:pt x="27656" y="254417"/>
                    <a:pt x="0" y="226761"/>
                    <a:pt x="0" y="193006"/>
                  </a:cubicBezTo>
                  <a:lnTo>
                    <a:pt x="0" y="61411"/>
                  </a:lnTo>
                  <a:cubicBezTo>
                    <a:pt x="0" y="27656"/>
                    <a:pt x="27656" y="0"/>
                    <a:pt x="61411" y="0"/>
                  </a:cubicBezTo>
                  <a:lnTo>
                    <a:pt x="182645" y="0"/>
                  </a:lnTo>
                  <a:cubicBezTo>
                    <a:pt x="235283" y="1003"/>
                    <a:pt x="263023" y="30246"/>
                    <a:pt x="263023" y="53975"/>
                  </a:cubicBezTo>
                  <a:lnTo>
                    <a:pt x="263023" y="68095"/>
                  </a:lnTo>
                  <a:cubicBezTo>
                    <a:pt x="263023" y="101015"/>
                    <a:pt x="289926" y="127918"/>
                    <a:pt x="322846" y="127918"/>
                  </a:cubicBezTo>
                  <a:lnTo>
                    <a:pt x="343650" y="127918"/>
                  </a:lnTo>
                  <a:cubicBezTo>
                    <a:pt x="376570" y="127918"/>
                    <a:pt x="403474" y="101015"/>
                    <a:pt x="403474" y="68095"/>
                  </a:cubicBezTo>
                  <a:lnTo>
                    <a:pt x="403474" y="53975"/>
                  </a:lnTo>
                  <a:cubicBezTo>
                    <a:pt x="403474" y="30246"/>
                    <a:pt x="389437" y="9608"/>
                    <a:pt x="369301" y="0"/>
                  </a:cubicBezTo>
                  <a:lnTo>
                    <a:pt x="668919" y="0"/>
                  </a:lnTo>
                  <a:lnTo>
                    <a:pt x="668919" y="254417"/>
                  </a:lnTo>
                  <a:close/>
                </a:path>
              </a:pathLst>
            </a:custGeom>
            <a:solidFill>
              <a:srgbClr val="B1B550"/>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4" name="Freeform: Shape 143">
              <a:extLst>
                <a:ext uri="{FF2B5EF4-FFF2-40B4-BE49-F238E27FC236}">
                  <a16:creationId xmlns:a16="http://schemas.microsoft.com/office/drawing/2014/main" id="{C4305755-2697-4102-9781-918520D821F6}"/>
                </a:ext>
              </a:extLst>
            </p:cNvPr>
            <p:cNvSpPr/>
            <p:nvPr/>
          </p:nvSpPr>
          <p:spPr>
            <a:xfrm>
              <a:off x="14886371" y="3506923"/>
              <a:ext cx="593221" cy="242301"/>
            </a:xfrm>
            <a:custGeom>
              <a:avLst/>
              <a:gdLst>
                <a:gd name="connsiteX0" fmla="*/ 593650 w 593220"/>
                <a:gd name="connsiteY0" fmla="*/ 55312 h 242301"/>
                <a:gd name="connsiteX1" fmla="*/ 593650 w 593220"/>
                <a:gd name="connsiteY1" fmla="*/ 66591 h 242301"/>
                <a:gd name="connsiteX2" fmla="*/ 593650 w 593220"/>
                <a:gd name="connsiteY2" fmla="*/ 73777 h 242301"/>
                <a:gd name="connsiteX3" fmla="*/ 540595 w 593220"/>
                <a:gd name="connsiteY3" fmla="*/ 126832 h 242301"/>
                <a:gd name="connsiteX4" fmla="*/ 461554 w 593220"/>
                <a:gd name="connsiteY4" fmla="*/ 126832 h 242301"/>
                <a:gd name="connsiteX5" fmla="*/ 461554 w 593220"/>
                <a:gd name="connsiteY5" fmla="*/ 193256 h 242301"/>
                <a:gd name="connsiteX6" fmla="*/ 408499 w 593220"/>
                <a:gd name="connsiteY6" fmla="*/ 246312 h 242301"/>
                <a:gd name="connsiteX7" fmla="*/ 199618 w 593220"/>
                <a:gd name="connsiteY7" fmla="*/ 246312 h 242301"/>
                <a:gd name="connsiteX8" fmla="*/ 199618 w 593220"/>
                <a:gd name="connsiteY8" fmla="*/ 179888 h 242301"/>
                <a:gd name="connsiteX9" fmla="*/ 146562 w 593220"/>
                <a:gd name="connsiteY9" fmla="*/ 126832 h 242301"/>
                <a:gd name="connsiteX10" fmla="*/ 6445 w 593220"/>
                <a:gd name="connsiteY10" fmla="*/ 126832 h 242301"/>
                <a:gd name="connsiteX11" fmla="*/ 59501 w 593220"/>
                <a:gd name="connsiteY11" fmla="*/ 73777 h 242301"/>
                <a:gd name="connsiteX12" fmla="*/ 59501 w 593220"/>
                <a:gd name="connsiteY12" fmla="*/ 55312 h 242301"/>
                <a:gd name="connsiteX13" fmla="*/ 6445 w 593220"/>
                <a:gd name="connsiteY13" fmla="*/ 2256 h 242301"/>
                <a:gd name="connsiteX14" fmla="*/ 84650 w 593220"/>
                <a:gd name="connsiteY14" fmla="*/ 1671 h 242301"/>
                <a:gd name="connsiteX15" fmla="*/ 84650 w 593220"/>
                <a:gd name="connsiteY15" fmla="*/ 0 h 242301"/>
                <a:gd name="connsiteX16" fmla="*/ 408499 w 593220"/>
                <a:gd name="connsiteY16" fmla="*/ 0 h 242301"/>
                <a:gd name="connsiteX17" fmla="*/ 593650 w 593220"/>
                <a:gd name="connsiteY17" fmla="*/ 0 h 242301"/>
                <a:gd name="connsiteX18" fmla="*/ 593650 w 593220"/>
                <a:gd name="connsiteY18" fmla="*/ 55312 h 24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3220" h="242301">
                  <a:moveTo>
                    <a:pt x="593650" y="55312"/>
                  </a:moveTo>
                  <a:lnTo>
                    <a:pt x="593650" y="66591"/>
                  </a:lnTo>
                  <a:lnTo>
                    <a:pt x="593650" y="73777"/>
                  </a:lnTo>
                  <a:cubicBezTo>
                    <a:pt x="593650" y="102936"/>
                    <a:pt x="569754" y="126832"/>
                    <a:pt x="540595" y="126832"/>
                  </a:cubicBezTo>
                  <a:lnTo>
                    <a:pt x="461554" y="126832"/>
                  </a:lnTo>
                  <a:lnTo>
                    <a:pt x="461554" y="193256"/>
                  </a:lnTo>
                  <a:cubicBezTo>
                    <a:pt x="461554" y="222416"/>
                    <a:pt x="437658" y="246312"/>
                    <a:pt x="408499" y="246312"/>
                  </a:cubicBezTo>
                  <a:lnTo>
                    <a:pt x="199618" y="246312"/>
                  </a:lnTo>
                  <a:lnTo>
                    <a:pt x="199618" y="179888"/>
                  </a:lnTo>
                  <a:cubicBezTo>
                    <a:pt x="199618" y="150728"/>
                    <a:pt x="175722" y="126832"/>
                    <a:pt x="146562" y="126832"/>
                  </a:cubicBezTo>
                  <a:lnTo>
                    <a:pt x="6445" y="126832"/>
                  </a:lnTo>
                  <a:cubicBezTo>
                    <a:pt x="35605" y="126832"/>
                    <a:pt x="59501" y="103020"/>
                    <a:pt x="59501" y="73777"/>
                  </a:cubicBezTo>
                  <a:lnTo>
                    <a:pt x="59501" y="55312"/>
                  </a:lnTo>
                  <a:cubicBezTo>
                    <a:pt x="59501" y="26152"/>
                    <a:pt x="35605" y="2256"/>
                    <a:pt x="6445" y="2256"/>
                  </a:cubicBezTo>
                  <a:cubicBezTo>
                    <a:pt x="-16114" y="2256"/>
                    <a:pt x="23072" y="2005"/>
                    <a:pt x="84650" y="1671"/>
                  </a:cubicBezTo>
                  <a:lnTo>
                    <a:pt x="84650" y="0"/>
                  </a:lnTo>
                  <a:lnTo>
                    <a:pt x="408499" y="0"/>
                  </a:lnTo>
                  <a:lnTo>
                    <a:pt x="593650" y="0"/>
                  </a:lnTo>
                  <a:lnTo>
                    <a:pt x="593650" y="55312"/>
                  </a:lnTo>
                  <a:close/>
                </a:path>
              </a:pathLst>
            </a:custGeom>
            <a:solidFill>
              <a:srgbClr val="B1B550"/>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5" name="Freeform: Shape 144">
              <a:extLst>
                <a:ext uri="{FF2B5EF4-FFF2-40B4-BE49-F238E27FC236}">
                  <a16:creationId xmlns:a16="http://schemas.microsoft.com/office/drawing/2014/main" id="{DECC8BF5-F44F-4453-931F-556D543CE725}"/>
                </a:ext>
              </a:extLst>
            </p:cNvPr>
            <p:cNvSpPr/>
            <p:nvPr/>
          </p:nvSpPr>
          <p:spPr>
            <a:xfrm>
              <a:off x="14647675" y="3633671"/>
              <a:ext cx="434472" cy="116973"/>
            </a:xfrm>
            <a:custGeom>
              <a:avLst/>
              <a:gdLst>
                <a:gd name="connsiteX0" fmla="*/ 434889 w 434471"/>
                <a:gd name="connsiteY0" fmla="*/ 119480 h 116973"/>
                <a:gd name="connsiteX1" fmla="*/ 434889 w 434471"/>
                <a:gd name="connsiteY1" fmla="*/ 53056 h 116973"/>
                <a:gd name="connsiteX2" fmla="*/ 381834 w 434471"/>
                <a:gd name="connsiteY2" fmla="*/ 0 h 116973"/>
                <a:gd name="connsiteX3" fmla="*/ 78623 w 434471"/>
                <a:gd name="connsiteY3" fmla="*/ 0 h 116973"/>
                <a:gd name="connsiteX4" fmla="*/ 25567 w 434471"/>
                <a:gd name="connsiteY4" fmla="*/ 53056 h 116973"/>
                <a:gd name="connsiteX5" fmla="*/ 25567 w 434471"/>
                <a:gd name="connsiteY5" fmla="*/ 64837 h 116973"/>
                <a:gd name="connsiteX6" fmla="*/ 0 w 434471"/>
                <a:gd name="connsiteY6" fmla="*/ 119480 h 116973"/>
                <a:gd name="connsiteX7" fmla="*/ 434889 w 434471"/>
                <a:gd name="connsiteY7" fmla="*/ 119480 h 1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471" h="116973">
                  <a:moveTo>
                    <a:pt x="434889" y="119480"/>
                  </a:moveTo>
                  <a:lnTo>
                    <a:pt x="434889" y="53056"/>
                  </a:lnTo>
                  <a:cubicBezTo>
                    <a:pt x="434889" y="23896"/>
                    <a:pt x="410993" y="0"/>
                    <a:pt x="381834" y="0"/>
                  </a:cubicBezTo>
                  <a:lnTo>
                    <a:pt x="78623" y="0"/>
                  </a:lnTo>
                  <a:cubicBezTo>
                    <a:pt x="49463" y="0"/>
                    <a:pt x="25567" y="23896"/>
                    <a:pt x="25567" y="53056"/>
                  </a:cubicBezTo>
                  <a:lnTo>
                    <a:pt x="25567" y="64837"/>
                  </a:lnTo>
                  <a:cubicBezTo>
                    <a:pt x="25567" y="86727"/>
                    <a:pt x="15708" y="106362"/>
                    <a:pt x="0" y="119480"/>
                  </a:cubicBezTo>
                  <a:lnTo>
                    <a:pt x="434889" y="11948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46" name="Freeform: Shape 145">
              <a:extLst>
                <a:ext uri="{FF2B5EF4-FFF2-40B4-BE49-F238E27FC236}">
                  <a16:creationId xmlns:a16="http://schemas.microsoft.com/office/drawing/2014/main" id="{B2E53C8B-3082-4895-92F6-69EA3AF97DA0}"/>
                </a:ext>
              </a:extLst>
            </p:cNvPr>
            <p:cNvSpPr/>
            <p:nvPr/>
          </p:nvSpPr>
          <p:spPr>
            <a:xfrm>
              <a:off x="13682897" y="4264741"/>
              <a:ext cx="977561" cy="409406"/>
            </a:xfrm>
            <a:custGeom>
              <a:avLst/>
              <a:gdLst>
                <a:gd name="connsiteX0" fmla="*/ 980318 w 977561"/>
                <a:gd name="connsiteY0" fmla="*/ 183230 h 409405"/>
                <a:gd name="connsiteX1" fmla="*/ 980318 w 977561"/>
                <a:gd name="connsiteY1" fmla="*/ 266615 h 409405"/>
                <a:gd name="connsiteX2" fmla="*/ 918907 w 977561"/>
                <a:gd name="connsiteY2" fmla="*/ 266030 h 409405"/>
                <a:gd name="connsiteX3" fmla="*/ 913393 w 977561"/>
                <a:gd name="connsiteY3" fmla="*/ 266030 h 409405"/>
                <a:gd name="connsiteX4" fmla="*/ 842373 w 977561"/>
                <a:gd name="connsiteY4" fmla="*/ 337050 h 409405"/>
                <a:gd name="connsiteX5" fmla="*/ 842373 w 977561"/>
                <a:gd name="connsiteY5" fmla="*/ 349415 h 409405"/>
                <a:gd name="connsiteX6" fmla="*/ 780963 w 977561"/>
                <a:gd name="connsiteY6" fmla="*/ 410826 h 409405"/>
                <a:gd name="connsiteX7" fmla="*/ 283409 w 977561"/>
                <a:gd name="connsiteY7" fmla="*/ 410826 h 409405"/>
                <a:gd name="connsiteX8" fmla="*/ 282824 w 977561"/>
                <a:gd name="connsiteY8" fmla="*/ 349415 h 409405"/>
                <a:gd name="connsiteX9" fmla="*/ 282824 w 977561"/>
                <a:gd name="connsiteY9" fmla="*/ 337050 h 409405"/>
                <a:gd name="connsiteX10" fmla="*/ 211805 w 977561"/>
                <a:gd name="connsiteY10" fmla="*/ 266030 h 409405"/>
                <a:gd name="connsiteX11" fmla="*/ 197100 w 977561"/>
                <a:gd name="connsiteY11" fmla="*/ 266030 h 409405"/>
                <a:gd name="connsiteX12" fmla="*/ 135856 w 977561"/>
                <a:gd name="connsiteY12" fmla="*/ 209549 h 409405"/>
                <a:gd name="connsiteX13" fmla="*/ 65004 w 977561"/>
                <a:gd name="connsiteY13" fmla="*/ 144211 h 409405"/>
                <a:gd name="connsiteX14" fmla="*/ 61411 w 977561"/>
                <a:gd name="connsiteY14" fmla="*/ 144211 h 409405"/>
                <a:gd name="connsiteX15" fmla="*/ 0 w 977561"/>
                <a:gd name="connsiteY15" fmla="*/ 82800 h 409405"/>
                <a:gd name="connsiteX16" fmla="*/ 0 w 977561"/>
                <a:gd name="connsiteY16" fmla="*/ 61411 h 409405"/>
                <a:gd name="connsiteX17" fmla="*/ 61411 w 977561"/>
                <a:gd name="connsiteY17" fmla="*/ 0 h 409405"/>
                <a:gd name="connsiteX18" fmla="*/ 353509 w 977561"/>
                <a:gd name="connsiteY18" fmla="*/ 0 h 409405"/>
                <a:gd name="connsiteX19" fmla="*/ 396956 w 977561"/>
                <a:gd name="connsiteY19" fmla="*/ 0 h 409405"/>
                <a:gd name="connsiteX20" fmla="*/ 498138 w 977561"/>
                <a:gd name="connsiteY20" fmla="*/ 0 h 409405"/>
                <a:gd name="connsiteX21" fmla="*/ 559382 w 977561"/>
                <a:gd name="connsiteY21" fmla="*/ 56481 h 409405"/>
                <a:gd name="connsiteX22" fmla="*/ 630234 w 977561"/>
                <a:gd name="connsiteY22" fmla="*/ 121819 h 409405"/>
                <a:gd name="connsiteX23" fmla="*/ 918991 w 977561"/>
                <a:gd name="connsiteY23" fmla="*/ 121819 h 409405"/>
                <a:gd name="connsiteX24" fmla="*/ 980318 w 977561"/>
                <a:gd name="connsiteY24" fmla="*/ 183230 h 40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77561" h="409405">
                  <a:moveTo>
                    <a:pt x="980318" y="183230"/>
                  </a:moveTo>
                  <a:lnTo>
                    <a:pt x="980318" y="266615"/>
                  </a:lnTo>
                  <a:lnTo>
                    <a:pt x="918907" y="266030"/>
                  </a:lnTo>
                  <a:lnTo>
                    <a:pt x="913393" y="266030"/>
                  </a:lnTo>
                  <a:cubicBezTo>
                    <a:pt x="874290" y="266030"/>
                    <a:pt x="842373" y="297947"/>
                    <a:pt x="842373" y="337050"/>
                  </a:cubicBezTo>
                  <a:lnTo>
                    <a:pt x="842373" y="349415"/>
                  </a:lnTo>
                  <a:cubicBezTo>
                    <a:pt x="842373" y="383170"/>
                    <a:pt x="814718" y="410826"/>
                    <a:pt x="780963" y="410826"/>
                  </a:cubicBezTo>
                  <a:lnTo>
                    <a:pt x="283409" y="410826"/>
                  </a:lnTo>
                  <a:lnTo>
                    <a:pt x="282824" y="349415"/>
                  </a:lnTo>
                  <a:lnTo>
                    <a:pt x="282824" y="337050"/>
                  </a:lnTo>
                  <a:cubicBezTo>
                    <a:pt x="282824" y="297947"/>
                    <a:pt x="250907" y="266030"/>
                    <a:pt x="211805" y="266030"/>
                  </a:cubicBezTo>
                  <a:lnTo>
                    <a:pt x="197100" y="266030"/>
                  </a:lnTo>
                  <a:cubicBezTo>
                    <a:pt x="164932" y="266030"/>
                    <a:pt x="138362" y="241048"/>
                    <a:pt x="135856" y="209549"/>
                  </a:cubicBezTo>
                  <a:cubicBezTo>
                    <a:pt x="132848" y="172535"/>
                    <a:pt x="102184" y="144211"/>
                    <a:pt x="65004" y="144211"/>
                  </a:cubicBezTo>
                  <a:lnTo>
                    <a:pt x="61411" y="144211"/>
                  </a:lnTo>
                  <a:cubicBezTo>
                    <a:pt x="27656" y="144211"/>
                    <a:pt x="0" y="116555"/>
                    <a:pt x="0" y="82800"/>
                  </a:cubicBezTo>
                  <a:lnTo>
                    <a:pt x="0" y="61411"/>
                  </a:lnTo>
                  <a:cubicBezTo>
                    <a:pt x="0" y="27656"/>
                    <a:pt x="27656" y="0"/>
                    <a:pt x="61411" y="0"/>
                  </a:cubicBezTo>
                  <a:lnTo>
                    <a:pt x="353509" y="0"/>
                  </a:lnTo>
                  <a:lnTo>
                    <a:pt x="396956" y="0"/>
                  </a:lnTo>
                  <a:lnTo>
                    <a:pt x="498138" y="0"/>
                  </a:lnTo>
                  <a:cubicBezTo>
                    <a:pt x="530222" y="0"/>
                    <a:pt x="556876" y="24982"/>
                    <a:pt x="559382" y="56481"/>
                  </a:cubicBezTo>
                  <a:cubicBezTo>
                    <a:pt x="562390" y="93495"/>
                    <a:pt x="593054" y="121819"/>
                    <a:pt x="630234" y="121819"/>
                  </a:cubicBezTo>
                  <a:lnTo>
                    <a:pt x="918991" y="121819"/>
                  </a:lnTo>
                  <a:cubicBezTo>
                    <a:pt x="952662" y="121819"/>
                    <a:pt x="980318" y="149475"/>
                    <a:pt x="980318" y="183230"/>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47" name="Freeform: Shape 146">
              <a:extLst>
                <a:ext uri="{FF2B5EF4-FFF2-40B4-BE49-F238E27FC236}">
                  <a16:creationId xmlns:a16="http://schemas.microsoft.com/office/drawing/2014/main" id="{8458F538-E42D-43A9-A624-34508053F77E}"/>
                </a:ext>
              </a:extLst>
            </p:cNvPr>
            <p:cNvSpPr/>
            <p:nvPr/>
          </p:nvSpPr>
          <p:spPr>
            <a:xfrm>
              <a:off x="14386657" y="4531691"/>
              <a:ext cx="685128" cy="242301"/>
            </a:xfrm>
            <a:custGeom>
              <a:avLst/>
              <a:gdLst>
                <a:gd name="connsiteX0" fmla="*/ 0 w 685128"/>
                <a:gd name="connsiteY0" fmla="*/ 143961 h 242301"/>
                <a:gd name="connsiteX1" fmla="*/ 0 w 685128"/>
                <a:gd name="connsiteY1" fmla="*/ 245727 h 242301"/>
                <a:gd name="connsiteX2" fmla="*/ 211721 w 685128"/>
                <a:gd name="connsiteY2" fmla="*/ 245727 h 242301"/>
                <a:gd name="connsiteX3" fmla="*/ 255169 w 685128"/>
                <a:gd name="connsiteY3" fmla="*/ 245727 h 242301"/>
                <a:gd name="connsiteX4" fmla="*/ 356350 w 685128"/>
                <a:gd name="connsiteY4" fmla="*/ 245727 h 242301"/>
                <a:gd name="connsiteX5" fmla="*/ 417594 w 685128"/>
                <a:gd name="connsiteY5" fmla="*/ 189246 h 242301"/>
                <a:gd name="connsiteX6" fmla="*/ 488447 w 685128"/>
                <a:gd name="connsiteY6" fmla="*/ 123908 h 242301"/>
                <a:gd name="connsiteX7" fmla="*/ 685379 w 685128"/>
                <a:gd name="connsiteY7" fmla="*/ 123908 h 242301"/>
                <a:gd name="connsiteX8" fmla="*/ 685379 w 685128"/>
                <a:gd name="connsiteY8" fmla="*/ 1337 h 242301"/>
                <a:gd name="connsiteX9" fmla="*/ 465052 w 685128"/>
                <a:gd name="connsiteY9" fmla="*/ 1337 h 242301"/>
                <a:gd name="connsiteX10" fmla="*/ 196181 w 685128"/>
                <a:gd name="connsiteY10" fmla="*/ 0 h 242301"/>
                <a:gd name="connsiteX11" fmla="*/ 138530 w 685128"/>
                <a:gd name="connsiteY11" fmla="*/ 70184 h 242301"/>
                <a:gd name="connsiteX12" fmla="*/ 138530 w 685128"/>
                <a:gd name="connsiteY12" fmla="*/ 82550 h 242301"/>
                <a:gd name="connsiteX13" fmla="*/ 77119 w 685128"/>
                <a:gd name="connsiteY13" fmla="*/ 143961 h 242301"/>
                <a:gd name="connsiteX14" fmla="*/ 0 w 685128"/>
                <a:gd name="connsiteY14" fmla="*/ 143961 h 24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128" h="242301">
                  <a:moveTo>
                    <a:pt x="0" y="143961"/>
                  </a:moveTo>
                  <a:lnTo>
                    <a:pt x="0" y="245727"/>
                  </a:lnTo>
                  <a:lnTo>
                    <a:pt x="211721" y="245727"/>
                  </a:lnTo>
                  <a:lnTo>
                    <a:pt x="255169" y="245727"/>
                  </a:lnTo>
                  <a:lnTo>
                    <a:pt x="356350" y="245727"/>
                  </a:lnTo>
                  <a:cubicBezTo>
                    <a:pt x="388434" y="245727"/>
                    <a:pt x="415088" y="220745"/>
                    <a:pt x="417594" y="189246"/>
                  </a:cubicBezTo>
                  <a:cubicBezTo>
                    <a:pt x="420602" y="152232"/>
                    <a:pt x="451266" y="123908"/>
                    <a:pt x="488447" y="123908"/>
                  </a:cubicBezTo>
                  <a:lnTo>
                    <a:pt x="685379" y="123908"/>
                  </a:lnTo>
                  <a:lnTo>
                    <a:pt x="685379" y="1337"/>
                  </a:lnTo>
                  <a:lnTo>
                    <a:pt x="465052" y="1337"/>
                  </a:lnTo>
                  <a:lnTo>
                    <a:pt x="196181" y="0"/>
                  </a:lnTo>
                  <a:cubicBezTo>
                    <a:pt x="165350" y="7771"/>
                    <a:pt x="138530" y="37014"/>
                    <a:pt x="138530" y="70184"/>
                  </a:cubicBezTo>
                  <a:lnTo>
                    <a:pt x="138530" y="82550"/>
                  </a:lnTo>
                  <a:cubicBezTo>
                    <a:pt x="138530" y="116305"/>
                    <a:pt x="110874" y="143961"/>
                    <a:pt x="77119" y="143961"/>
                  </a:cubicBezTo>
                  <a:lnTo>
                    <a:pt x="0" y="143961"/>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48" name="Freeform: Shape 147">
              <a:extLst>
                <a:ext uri="{FF2B5EF4-FFF2-40B4-BE49-F238E27FC236}">
                  <a16:creationId xmlns:a16="http://schemas.microsoft.com/office/drawing/2014/main" id="{6AB99B0D-649B-4E61-8B1D-F74AEBE8B2CA}"/>
                </a:ext>
              </a:extLst>
            </p:cNvPr>
            <p:cNvSpPr/>
            <p:nvPr/>
          </p:nvSpPr>
          <p:spPr>
            <a:xfrm>
              <a:off x="13963298" y="3753318"/>
              <a:ext cx="1378612" cy="777036"/>
            </a:xfrm>
            <a:custGeom>
              <a:avLst/>
              <a:gdLst>
                <a:gd name="connsiteX0" fmla="*/ 1248855 w 1378611"/>
                <a:gd name="connsiteY0" fmla="*/ 726654 h 777035"/>
                <a:gd name="connsiteX1" fmla="*/ 1195799 w 1378611"/>
                <a:gd name="connsiteY1" fmla="*/ 779709 h 777035"/>
                <a:gd name="connsiteX2" fmla="*/ 888411 w 1378611"/>
                <a:gd name="connsiteY2" fmla="*/ 779709 h 777035"/>
                <a:gd name="connsiteX3" fmla="*/ 699917 w 1378611"/>
                <a:gd name="connsiteY3" fmla="*/ 778122 h 777035"/>
                <a:gd name="connsiteX4" fmla="*/ 699917 w 1378611"/>
                <a:gd name="connsiteY4" fmla="*/ 694737 h 777035"/>
                <a:gd name="connsiteX5" fmla="*/ 638506 w 1378611"/>
                <a:gd name="connsiteY5" fmla="*/ 633326 h 777035"/>
                <a:gd name="connsiteX6" fmla="*/ 349750 w 1378611"/>
                <a:gd name="connsiteY6" fmla="*/ 633326 h 777035"/>
                <a:gd name="connsiteX7" fmla="*/ 278897 w 1378611"/>
                <a:gd name="connsiteY7" fmla="*/ 567988 h 777035"/>
                <a:gd name="connsiteX8" fmla="*/ 217653 w 1378611"/>
                <a:gd name="connsiteY8" fmla="*/ 511507 h 777035"/>
                <a:gd name="connsiteX9" fmla="*/ 116388 w 1378611"/>
                <a:gd name="connsiteY9" fmla="*/ 511507 h 777035"/>
                <a:gd name="connsiteX10" fmla="*/ 72941 w 1378611"/>
                <a:gd name="connsiteY10" fmla="*/ 511507 h 777035"/>
                <a:gd name="connsiteX11" fmla="*/ 0 w 1378611"/>
                <a:gd name="connsiteY11" fmla="*/ 511507 h 777035"/>
                <a:gd name="connsiteX12" fmla="*/ 0 w 1378611"/>
                <a:gd name="connsiteY12" fmla="*/ 53056 h 777035"/>
                <a:gd name="connsiteX13" fmla="*/ 53056 w 1378611"/>
                <a:gd name="connsiteY13" fmla="*/ 0 h 777035"/>
                <a:gd name="connsiteX14" fmla="*/ 1246432 w 1378611"/>
                <a:gd name="connsiteY14" fmla="*/ 0 h 777035"/>
                <a:gd name="connsiteX15" fmla="*/ 1246432 w 1378611"/>
                <a:gd name="connsiteY15" fmla="*/ 296778 h 777035"/>
                <a:gd name="connsiteX16" fmla="*/ 1246432 w 1378611"/>
                <a:gd name="connsiteY16" fmla="*/ 342731 h 777035"/>
                <a:gd name="connsiteX17" fmla="*/ 1299488 w 1378611"/>
                <a:gd name="connsiteY17" fmla="*/ 395787 h 777035"/>
                <a:gd name="connsiteX18" fmla="*/ 1382204 w 1378611"/>
                <a:gd name="connsiteY18" fmla="*/ 395787 h 777035"/>
                <a:gd name="connsiteX19" fmla="*/ 1384293 w 1378611"/>
                <a:gd name="connsiteY19" fmla="*/ 640344 h 777035"/>
                <a:gd name="connsiteX20" fmla="*/ 1312522 w 1378611"/>
                <a:gd name="connsiteY20" fmla="*/ 640344 h 777035"/>
                <a:gd name="connsiteX21" fmla="*/ 1248939 w 1378611"/>
                <a:gd name="connsiteY21" fmla="*/ 699666 h 777035"/>
                <a:gd name="connsiteX22" fmla="*/ 1248855 w 1378611"/>
                <a:gd name="connsiteY22" fmla="*/ 726654 h 77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8611" h="777035">
                  <a:moveTo>
                    <a:pt x="1248855" y="726654"/>
                  </a:moveTo>
                  <a:cubicBezTo>
                    <a:pt x="1248688" y="755814"/>
                    <a:pt x="1224959" y="779709"/>
                    <a:pt x="1195799" y="779709"/>
                  </a:cubicBezTo>
                  <a:lnTo>
                    <a:pt x="888411" y="779709"/>
                  </a:lnTo>
                  <a:lnTo>
                    <a:pt x="699917" y="778122"/>
                  </a:lnTo>
                  <a:lnTo>
                    <a:pt x="699917" y="694737"/>
                  </a:lnTo>
                  <a:cubicBezTo>
                    <a:pt x="699917" y="660982"/>
                    <a:pt x="672261" y="633326"/>
                    <a:pt x="638506" y="633326"/>
                  </a:cubicBezTo>
                  <a:lnTo>
                    <a:pt x="349750" y="633326"/>
                  </a:lnTo>
                  <a:cubicBezTo>
                    <a:pt x="312652" y="633326"/>
                    <a:pt x="281905" y="605002"/>
                    <a:pt x="278897" y="567988"/>
                  </a:cubicBezTo>
                  <a:cubicBezTo>
                    <a:pt x="276391" y="536489"/>
                    <a:pt x="249821" y="511507"/>
                    <a:pt x="217653" y="511507"/>
                  </a:cubicBezTo>
                  <a:lnTo>
                    <a:pt x="116388" y="511507"/>
                  </a:lnTo>
                  <a:lnTo>
                    <a:pt x="72941" y="511507"/>
                  </a:lnTo>
                  <a:lnTo>
                    <a:pt x="0" y="511507"/>
                  </a:lnTo>
                  <a:lnTo>
                    <a:pt x="0" y="53056"/>
                  </a:lnTo>
                  <a:cubicBezTo>
                    <a:pt x="0" y="23896"/>
                    <a:pt x="23896" y="0"/>
                    <a:pt x="53056" y="0"/>
                  </a:cubicBezTo>
                  <a:lnTo>
                    <a:pt x="1246432" y="0"/>
                  </a:lnTo>
                  <a:lnTo>
                    <a:pt x="1246432" y="296778"/>
                  </a:lnTo>
                  <a:lnTo>
                    <a:pt x="1246432" y="342731"/>
                  </a:lnTo>
                  <a:cubicBezTo>
                    <a:pt x="1246432" y="371891"/>
                    <a:pt x="1270328" y="395787"/>
                    <a:pt x="1299488" y="395787"/>
                  </a:cubicBezTo>
                  <a:lnTo>
                    <a:pt x="1382204" y="395787"/>
                  </a:lnTo>
                  <a:lnTo>
                    <a:pt x="1384293" y="640344"/>
                  </a:lnTo>
                  <a:lnTo>
                    <a:pt x="1312522" y="640344"/>
                  </a:lnTo>
                  <a:cubicBezTo>
                    <a:pt x="1278767" y="640344"/>
                    <a:pt x="1249106" y="665828"/>
                    <a:pt x="1248939" y="699666"/>
                  </a:cubicBezTo>
                  <a:lnTo>
                    <a:pt x="1248855" y="726654"/>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49" name="Freeform: Shape 148">
              <a:extLst>
                <a:ext uri="{FF2B5EF4-FFF2-40B4-BE49-F238E27FC236}">
                  <a16:creationId xmlns:a16="http://schemas.microsoft.com/office/drawing/2014/main" id="{C0D24358-7CAF-47E5-8503-DEE091DD4796}"/>
                </a:ext>
              </a:extLst>
            </p:cNvPr>
            <p:cNvSpPr/>
            <p:nvPr/>
          </p:nvSpPr>
          <p:spPr>
            <a:xfrm>
              <a:off x="12988662" y="3752148"/>
              <a:ext cx="969206" cy="1027692"/>
            </a:xfrm>
            <a:custGeom>
              <a:avLst/>
              <a:gdLst>
                <a:gd name="connsiteX0" fmla="*/ 142206 w 969205"/>
                <a:gd name="connsiteY0" fmla="*/ 325854 h 1027692"/>
                <a:gd name="connsiteX1" fmla="*/ 142206 w 969205"/>
                <a:gd name="connsiteY1" fmla="*/ 144211 h 1027692"/>
                <a:gd name="connsiteX2" fmla="*/ 192838 w 969205"/>
                <a:gd name="connsiteY2" fmla="*/ 143961 h 1027692"/>
                <a:gd name="connsiteX3" fmla="*/ 216150 w 969205"/>
                <a:gd name="connsiteY3" fmla="*/ 143961 h 1027692"/>
                <a:gd name="connsiteX4" fmla="*/ 283158 w 969205"/>
                <a:gd name="connsiteY4" fmla="*/ 76952 h 1027692"/>
                <a:gd name="connsiteX5" fmla="*/ 283158 w 969205"/>
                <a:gd name="connsiteY5" fmla="*/ 61160 h 1027692"/>
                <a:gd name="connsiteX6" fmla="*/ 245476 w 969205"/>
                <a:gd name="connsiteY6" fmla="*/ 1003 h 1027692"/>
                <a:gd name="connsiteX7" fmla="*/ 769182 w 969205"/>
                <a:gd name="connsiteY7" fmla="*/ 0 h 1027692"/>
                <a:gd name="connsiteX8" fmla="*/ 831846 w 969205"/>
                <a:gd name="connsiteY8" fmla="*/ 61160 h 1027692"/>
                <a:gd name="connsiteX9" fmla="*/ 831846 w 969205"/>
                <a:gd name="connsiteY9" fmla="*/ 76952 h 1027692"/>
                <a:gd name="connsiteX10" fmla="*/ 898855 w 969205"/>
                <a:gd name="connsiteY10" fmla="*/ 143961 h 1027692"/>
                <a:gd name="connsiteX11" fmla="*/ 922166 w 969205"/>
                <a:gd name="connsiteY11" fmla="*/ 143961 h 1027692"/>
                <a:gd name="connsiteX12" fmla="*/ 975639 w 969205"/>
                <a:gd name="connsiteY12" fmla="*/ 117224 h 1027692"/>
                <a:gd name="connsiteX13" fmla="*/ 975639 w 969205"/>
                <a:gd name="connsiteY13" fmla="*/ 512509 h 1027692"/>
                <a:gd name="connsiteX14" fmla="*/ 755563 w 969205"/>
                <a:gd name="connsiteY14" fmla="*/ 512509 h 1027692"/>
                <a:gd name="connsiteX15" fmla="*/ 694152 w 969205"/>
                <a:gd name="connsiteY15" fmla="*/ 573920 h 1027692"/>
                <a:gd name="connsiteX16" fmla="*/ 694152 w 969205"/>
                <a:gd name="connsiteY16" fmla="*/ 595310 h 1027692"/>
                <a:gd name="connsiteX17" fmla="*/ 755563 w 969205"/>
                <a:gd name="connsiteY17" fmla="*/ 656721 h 1027692"/>
                <a:gd name="connsiteX18" fmla="*/ 759155 w 969205"/>
                <a:gd name="connsiteY18" fmla="*/ 656721 h 1027692"/>
                <a:gd name="connsiteX19" fmla="*/ 830008 w 969205"/>
                <a:gd name="connsiteY19" fmla="*/ 722058 h 1027692"/>
                <a:gd name="connsiteX20" fmla="*/ 891251 w 969205"/>
                <a:gd name="connsiteY20" fmla="*/ 778540 h 1027692"/>
                <a:gd name="connsiteX21" fmla="*/ 905957 w 969205"/>
                <a:gd name="connsiteY21" fmla="*/ 778540 h 1027692"/>
                <a:gd name="connsiteX22" fmla="*/ 975639 w 969205"/>
                <a:gd name="connsiteY22" fmla="*/ 835773 h 1027692"/>
                <a:gd name="connsiteX23" fmla="*/ 975639 w 969205"/>
                <a:gd name="connsiteY23" fmla="*/ 968370 h 1027692"/>
                <a:gd name="connsiteX24" fmla="*/ 914228 w 969205"/>
                <a:gd name="connsiteY24" fmla="*/ 1029781 h 1027692"/>
                <a:gd name="connsiteX25" fmla="*/ 651958 w 969205"/>
                <a:gd name="connsiteY25" fmla="*/ 1029781 h 1027692"/>
                <a:gd name="connsiteX26" fmla="*/ 645023 w 969205"/>
                <a:gd name="connsiteY26" fmla="*/ 1030116 h 1027692"/>
                <a:gd name="connsiteX27" fmla="*/ 632240 w 969205"/>
                <a:gd name="connsiteY27" fmla="*/ 1030700 h 1027692"/>
                <a:gd name="connsiteX28" fmla="*/ 142791 w 969205"/>
                <a:gd name="connsiteY28" fmla="*/ 1030700 h 1027692"/>
                <a:gd name="connsiteX29" fmla="*/ 142791 w 969205"/>
                <a:gd name="connsiteY29" fmla="*/ 975305 h 1027692"/>
                <a:gd name="connsiteX30" fmla="*/ 71771 w 969205"/>
                <a:gd name="connsiteY30" fmla="*/ 904286 h 1027692"/>
                <a:gd name="connsiteX31" fmla="*/ 61411 w 969205"/>
                <a:gd name="connsiteY31" fmla="*/ 904286 h 1027692"/>
                <a:gd name="connsiteX32" fmla="*/ 0 w 969205"/>
                <a:gd name="connsiteY32" fmla="*/ 842875 h 1027692"/>
                <a:gd name="connsiteX33" fmla="*/ 0 w 969205"/>
                <a:gd name="connsiteY33" fmla="*/ 458284 h 1027692"/>
                <a:gd name="connsiteX34" fmla="*/ 61411 w 969205"/>
                <a:gd name="connsiteY34" fmla="*/ 396873 h 1027692"/>
                <a:gd name="connsiteX35" fmla="*/ 71186 w 969205"/>
                <a:gd name="connsiteY35" fmla="*/ 396873 h 1027692"/>
                <a:gd name="connsiteX36" fmla="*/ 142206 w 969205"/>
                <a:gd name="connsiteY36" fmla="*/ 325854 h 102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69205" h="1027692">
                  <a:moveTo>
                    <a:pt x="142206" y="325854"/>
                  </a:moveTo>
                  <a:lnTo>
                    <a:pt x="142206" y="144211"/>
                  </a:lnTo>
                  <a:lnTo>
                    <a:pt x="192838" y="143961"/>
                  </a:lnTo>
                  <a:lnTo>
                    <a:pt x="216150" y="143961"/>
                  </a:lnTo>
                  <a:cubicBezTo>
                    <a:pt x="252996" y="143961"/>
                    <a:pt x="283158" y="113798"/>
                    <a:pt x="283158" y="76952"/>
                  </a:cubicBezTo>
                  <a:lnTo>
                    <a:pt x="283158" y="61160"/>
                  </a:lnTo>
                  <a:cubicBezTo>
                    <a:pt x="283158" y="34841"/>
                    <a:pt x="267701" y="11948"/>
                    <a:pt x="245476" y="1003"/>
                  </a:cubicBezTo>
                  <a:cubicBezTo>
                    <a:pt x="405646" y="1003"/>
                    <a:pt x="610433" y="0"/>
                    <a:pt x="769182" y="0"/>
                  </a:cubicBezTo>
                  <a:cubicBezTo>
                    <a:pt x="824326" y="1337"/>
                    <a:pt x="831846" y="34006"/>
                    <a:pt x="831846" y="61160"/>
                  </a:cubicBezTo>
                  <a:lnTo>
                    <a:pt x="831846" y="76952"/>
                  </a:lnTo>
                  <a:cubicBezTo>
                    <a:pt x="831846" y="113798"/>
                    <a:pt x="862008" y="143961"/>
                    <a:pt x="898855" y="143961"/>
                  </a:cubicBezTo>
                  <a:lnTo>
                    <a:pt x="922166" y="143961"/>
                  </a:lnTo>
                  <a:cubicBezTo>
                    <a:pt x="943973" y="143961"/>
                    <a:pt x="963357" y="133433"/>
                    <a:pt x="975639" y="117224"/>
                  </a:cubicBezTo>
                  <a:lnTo>
                    <a:pt x="975639" y="512509"/>
                  </a:lnTo>
                  <a:lnTo>
                    <a:pt x="755563" y="512509"/>
                  </a:lnTo>
                  <a:cubicBezTo>
                    <a:pt x="721808" y="512509"/>
                    <a:pt x="694152" y="540165"/>
                    <a:pt x="694152" y="573920"/>
                  </a:cubicBezTo>
                  <a:lnTo>
                    <a:pt x="694152" y="595310"/>
                  </a:lnTo>
                  <a:cubicBezTo>
                    <a:pt x="694152" y="629065"/>
                    <a:pt x="721808" y="656721"/>
                    <a:pt x="755563" y="656721"/>
                  </a:cubicBezTo>
                  <a:lnTo>
                    <a:pt x="759155" y="656721"/>
                  </a:lnTo>
                  <a:cubicBezTo>
                    <a:pt x="796336" y="656721"/>
                    <a:pt x="827000" y="685045"/>
                    <a:pt x="830008" y="722058"/>
                  </a:cubicBezTo>
                  <a:cubicBezTo>
                    <a:pt x="832514" y="753558"/>
                    <a:pt x="859084" y="778540"/>
                    <a:pt x="891251" y="778540"/>
                  </a:cubicBezTo>
                  <a:lnTo>
                    <a:pt x="905957" y="778540"/>
                  </a:lnTo>
                  <a:cubicBezTo>
                    <a:pt x="940380" y="778540"/>
                    <a:pt x="969206" y="803188"/>
                    <a:pt x="975639" y="835773"/>
                  </a:cubicBezTo>
                  <a:lnTo>
                    <a:pt x="975639" y="968370"/>
                  </a:lnTo>
                  <a:cubicBezTo>
                    <a:pt x="975639" y="1002125"/>
                    <a:pt x="947983" y="1029781"/>
                    <a:pt x="914228" y="1029781"/>
                  </a:cubicBezTo>
                  <a:lnTo>
                    <a:pt x="651958" y="1029781"/>
                  </a:lnTo>
                  <a:cubicBezTo>
                    <a:pt x="649535" y="1029781"/>
                    <a:pt x="647446" y="1029865"/>
                    <a:pt x="645023" y="1030116"/>
                  </a:cubicBezTo>
                  <a:cubicBezTo>
                    <a:pt x="640845" y="1030533"/>
                    <a:pt x="636584" y="1030700"/>
                    <a:pt x="632240" y="1030700"/>
                  </a:cubicBezTo>
                  <a:lnTo>
                    <a:pt x="142791" y="1030700"/>
                  </a:lnTo>
                  <a:lnTo>
                    <a:pt x="142791" y="975305"/>
                  </a:lnTo>
                  <a:cubicBezTo>
                    <a:pt x="142791" y="936203"/>
                    <a:pt x="110874" y="904286"/>
                    <a:pt x="71771" y="904286"/>
                  </a:cubicBezTo>
                  <a:lnTo>
                    <a:pt x="61411" y="904286"/>
                  </a:lnTo>
                  <a:cubicBezTo>
                    <a:pt x="27656" y="904286"/>
                    <a:pt x="0" y="876630"/>
                    <a:pt x="0" y="842875"/>
                  </a:cubicBezTo>
                  <a:lnTo>
                    <a:pt x="0" y="458284"/>
                  </a:lnTo>
                  <a:cubicBezTo>
                    <a:pt x="0" y="424529"/>
                    <a:pt x="27656" y="396873"/>
                    <a:pt x="61411" y="396873"/>
                  </a:cubicBezTo>
                  <a:lnTo>
                    <a:pt x="71186" y="396873"/>
                  </a:lnTo>
                  <a:cubicBezTo>
                    <a:pt x="110289" y="396873"/>
                    <a:pt x="142206" y="364956"/>
                    <a:pt x="142206" y="325854"/>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0" name="Freeform: Shape 149">
              <a:extLst>
                <a:ext uri="{FF2B5EF4-FFF2-40B4-BE49-F238E27FC236}">
                  <a16:creationId xmlns:a16="http://schemas.microsoft.com/office/drawing/2014/main" id="{22FC78A3-5FDE-4019-A8ED-531086ACEB01}"/>
                </a:ext>
              </a:extLst>
            </p:cNvPr>
            <p:cNvSpPr/>
            <p:nvPr/>
          </p:nvSpPr>
          <p:spPr>
            <a:xfrm>
              <a:off x="13141061" y="3254428"/>
              <a:ext cx="259012" cy="492958"/>
            </a:xfrm>
            <a:custGeom>
              <a:avLst/>
              <a:gdLst>
                <a:gd name="connsiteX0" fmla="*/ 267283 w 259011"/>
                <a:gd name="connsiteY0" fmla="*/ 498473 h 492958"/>
                <a:gd name="connsiteX1" fmla="*/ 267283 w 259011"/>
                <a:gd name="connsiteY1" fmla="*/ 50549 h 492958"/>
                <a:gd name="connsiteX2" fmla="*/ 216734 w 259011"/>
                <a:gd name="connsiteY2" fmla="*/ 0 h 492958"/>
                <a:gd name="connsiteX3" fmla="*/ 199188 w 259011"/>
                <a:gd name="connsiteY3" fmla="*/ 0 h 492958"/>
                <a:gd name="connsiteX4" fmla="*/ 148639 w 259011"/>
                <a:gd name="connsiteY4" fmla="*/ 50549 h 492958"/>
                <a:gd name="connsiteX5" fmla="*/ 148639 w 259011"/>
                <a:gd name="connsiteY5" fmla="*/ 58654 h 492958"/>
                <a:gd name="connsiteX6" fmla="*/ 77620 w 259011"/>
                <a:gd name="connsiteY6" fmla="*/ 129673 h 492958"/>
                <a:gd name="connsiteX7" fmla="*/ 67009 w 259011"/>
                <a:gd name="connsiteY7" fmla="*/ 129673 h 492958"/>
                <a:gd name="connsiteX8" fmla="*/ 0 w 259011"/>
                <a:gd name="connsiteY8" fmla="*/ 196682 h 492958"/>
                <a:gd name="connsiteX9" fmla="*/ 0 w 259011"/>
                <a:gd name="connsiteY9" fmla="*/ 404309 h 492958"/>
                <a:gd name="connsiteX10" fmla="*/ 0 w 259011"/>
                <a:gd name="connsiteY10" fmla="*/ 406231 h 492958"/>
                <a:gd name="connsiteX11" fmla="*/ 0 w 259011"/>
                <a:gd name="connsiteY11" fmla="*/ 410659 h 492958"/>
                <a:gd name="connsiteX12" fmla="*/ 0 w 259011"/>
                <a:gd name="connsiteY12" fmla="*/ 412581 h 492958"/>
                <a:gd name="connsiteX13" fmla="*/ 0 w 259011"/>
                <a:gd name="connsiteY13" fmla="*/ 428372 h 492958"/>
                <a:gd name="connsiteX14" fmla="*/ 67009 w 259011"/>
                <a:gd name="connsiteY14" fmla="*/ 495381 h 492958"/>
                <a:gd name="connsiteX15" fmla="*/ 82550 w 259011"/>
                <a:gd name="connsiteY15" fmla="*/ 495381 h 492958"/>
                <a:gd name="connsiteX16" fmla="*/ 104357 w 259011"/>
                <a:gd name="connsiteY16" fmla="*/ 498723 h 492958"/>
                <a:gd name="connsiteX17" fmla="*/ 267283 w 259011"/>
                <a:gd name="connsiteY17" fmla="*/ 498473 h 49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011" h="492958">
                  <a:moveTo>
                    <a:pt x="267283" y="498473"/>
                  </a:moveTo>
                  <a:lnTo>
                    <a:pt x="267283" y="50549"/>
                  </a:lnTo>
                  <a:cubicBezTo>
                    <a:pt x="267283" y="22726"/>
                    <a:pt x="244557" y="0"/>
                    <a:pt x="216734" y="0"/>
                  </a:cubicBezTo>
                  <a:lnTo>
                    <a:pt x="199188" y="0"/>
                  </a:lnTo>
                  <a:cubicBezTo>
                    <a:pt x="171366" y="0"/>
                    <a:pt x="148639" y="22726"/>
                    <a:pt x="148639" y="50549"/>
                  </a:cubicBezTo>
                  <a:lnTo>
                    <a:pt x="148639" y="58654"/>
                  </a:lnTo>
                  <a:cubicBezTo>
                    <a:pt x="148639" y="97756"/>
                    <a:pt x="116722" y="129673"/>
                    <a:pt x="77620" y="129673"/>
                  </a:cubicBezTo>
                  <a:lnTo>
                    <a:pt x="67009" y="129673"/>
                  </a:lnTo>
                  <a:cubicBezTo>
                    <a:pt x="30162" y="129673"/>
                    <a:pt x="0" y="159835"/>
                    <a:pt x="0" y="196682"/>
                  </a:cubicBezTo>
                  <a:lnTo>
                    <a:pt x="0" y="404309"/>
                  </a:lnTo>
                  <a:cubicBezTo>
                    <a:pt x="0" y="404978"/>
                    <a:pt x="0" y="405646"/>
                    <a:pt x="0" y="406231"/>
                  </a:cubicBezTo>
                  <a:cubicBezTo>
                    <a:pt x="84" y="407818"/>
                    <a:pt x="84" y="409155"/>
                    <a:pt x="0" y="410659"/>
                  </a:cubicBezTo>
                  <a:cubicBezTo>
                    <a:pt x="0" y="411328"/>
                    <a:pt x="0" y="411913"/>
                    <a:pt x="0" y="412581"/>
                  </a:cubicBezTo>
                  <a:lnTo>
                    <a:pt x="0" y="428372"/>
                  </a:lnTo>
                  <a:cubicBezTo>
                    <a:pt x="0" y="465219"/>
                    <a:pt x="30162" y="495381"/>
                    <a:pt x="67009" y="495381"/>
                  </a:cubicBezTo>
                  <a:lnTo>
                    <a:pt x="82550" y="495381"/>
                  </a:lnTo>
                  <a:cubicBezTo>
                    <a:pt x="90153" y="495381"/>
                    <a:pt x="97505" y="496551"/>
                    <a:pt x="104357" y="498723"/>
                  </a:cubicBezTo>
                  <a:cubicBezTo>
                    <a:pt x="155407" y="498723"/>
                    <a:pt x="210635" y="498640"/>
                    <a:pt x="267283" y="498473"/>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1" name="Freeform: Shape 150">
              <a:extLst>
                <a:ext uri="{FF2B5EF4-FFF2-40B4-BE49-F238E27FC236}">
                  <a16:creationId xmlns:a16="http://schemas.microsoft.com/office/drawing/2014/main" id="{3A288052-176D-4C78-BD06-C97416DAE2FC}"/>
                </a:ext>
              </a:extLst>
            </p:cNvPr>
            <p:cNvSpPr/>
            <p:nvPr/>
          </p:nvSpPr>
          <p:spPr>
            <a:xfrm>
              <a:off x="13284102" y="5430044"/>
              <a:ext cx="116973" cy="233946"/>
            </a:xfrm>
            <a:custGeom>
              <a:avLst/>
              <a:gdLst>
                <a:gd name="connsiteX0" fmla="*/ 50549 w 116973"/>
                <a:gd name="connsiteY0" fmla="*/ 240714 h 233946"/>
                <a:gd name="connsiteX1" fmla="*/ 68095 w 116973"/>
                <a:gd name="connsiteY1" fmla="*/ 240714 h 233946"/>
                <a:gd name="connsiteX2" fmla="*/ 118644 w 116973"/>
                <a:gd name="connsiteY2" fmla="*/ 190165 h 233946"/>
                <a:gd name="connsiteX3" fmla="*/ 118644 w 116973"/>
                <a:gd name="connsiteY3" fmla="*/ 50549 h 233946"/>
                <a:gd name="connsiteX4" fmla="*/ 68095 w 116973"/>
                <a:gd name="connsiteY4" fmla="*/ 0 h 233946"/>
                <a:gd name="connsiteX5" fmla="*/ 50549 w 116973"/>
                <a:gd name="connsiteY5" fmla="*/ 0 h 233946"/>
                <a:gd name="connsiteX6" fmla="*/ 0 w 116973"/>
                <a:gd name="connsiteY6" fmla="*/ 50549 h 233946"/>
                <a:gd name="connsiteX7" fmla="*/ 0 w 116973"/>
                <a:gd name="connsiteY7" fmla="*/ 190165 h 233946"/>
                <a:gd name="connsiteX8" fmla="*/ 50549 w 116973"/>
                <a:gd name="connsiteY8" fmla="*/ 240714 h 2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3" h="233946">
                  <a:moveTo>
                    <a:pt x="50549" y="240714"/>
                  </a:moveTo>
                  <a:lnTo>
                    <a:pt x="68095" y="240714"/>
                  </a:lnTo>
                  <a:cubicBezTo>
                    <a:pt x="95918" y="240714"/>
                    <a:pt x="118644" y="217988"/>
                    <a:pt x="118644" y="190165"/>
                  </a:cubicBezTo>
                  <a:lnTo>
                    <a:pt x="118644" y="50549"/>
                  </a:lnTo>
                  <a:cubicBezTo>
                    <a:pt x="118644" y="22726"/>
                    <a:pt x="95918" y="0"/>
                    <a:pt x="68095" y="0"/>
                  </a:cubicBezTo>
                  <a:lnTo>
                    <a:pt x="50549" y="0"/>
                  </a:lnTo>
                  <a:cubicBezTo>
                    <a:pt x="22726" y="0"/>
                    <a:pt x="0" y="22726"/>
                    <a:pt x="0" y="50549"/>
                  </a:cubicBezTo>
                  <a:lnTo>
                    <a:pt x="0" y="190165"/>
                  </a:lnTo>
                  <a:cubicBezTo>
                    <a:pt x="0" y="217904"/>
                    <a:pt x="22726" y="240714"/>
                    <a:pt x="50549" y="240714"/>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2" name="Freeform: Shape 151">
              <a:extLst>
                <a:ext uri="{FF2B5EF4-FFF2-40B4-BE49-F238E27FC236}">
                  <a16:creationId xmlns:a16="http://schemas.microsoft.com/office/drawing/2014/main" id="{CED1F1EC-F700-4165-B5EF-2D2F80D308B3}"/>
                </a:ext>
              </a:extLst>
            </p:cNvPr>
            <p:cNvSpPr/>
            <p:nvPr/>
          </p:nvSpPr>
          <p:spPr>
            <a:xfrm>
              <a:off x="12585271" y="3894687"/>
              <a:ext cx="543089" cy="375985"/>
            </a:xfrm>
            <a:custGeom>
              <a:avLst/>
              <a:gdLst>
                <a:gd name="connsiteX0" fmla="*/ 290595 w 543089"/>
                <a:gd name="connsiteY0" fmla="*/ 1 h 375985"/>
                <a:gd name="connsiteX1" fmla="*/ 217403 w 543089"/>
                <a:gd name="connsiteY1" fmla="*/ 73193 h 375985"/>
                <a:gd name="connsiteX2" fmla="*/ 217403 w 543089"/>
                <a:gd name="connsiteY2" fmla="*/ 128588 h 375985"/>
                <a:gd name="connsiteX3" fmla="*/ 73192 w 543089"/>
                <a:gd name="connsiteY3" fmla="*/ 128588 h 375985"/>
                <a:gd name="connsiteX4" fmla="*/ 0 w 543089"/>
                <a:gd name="connsiteY4" fmla="*/ 201780 h 375985"/>
                <a:gd name="connsiteX5" fmla="*/ 0 w 543089"/>
                <a:gd name="connsiteY5" fmla="*/ 248904 h 375985"/>
                <a:gd name="connsiteX6" fmla="*/ 203867 w 543089"/>
                <a:gd name="connsiteY6" fmla="*/ 248904 h 375985"/>
                <a:gd name="connsiteX7" fmla="*/ 277059 w 543089"/>
                <a:gd name="connsiteY7" fmla="*/ 322095 h 375985"/>
                <a:gd name="connsiteX8" fmla="*/ 344736 w 543089"/>
                <a:gd name="connsiteY8" fmla="*/ 381585 h 375985"/>
                <a:gd name="connsiteX9" fmla="*/ 403390 w 543089"/>
                <a:gd name="connsiteY9" fmla="*/ 381083 h 375985"/>
                <a:gd name="connsiteX10" fmla="*/ 403390 w 543089"/>
                <a:gd name="connsiteY10" fmla="*/ 315912 h 375985"/>
                <a:gd name="connsiteX11" fmla="*/ 464801 w 543089"/>
                <a:gd name="connsiteY11" fmla="*/ 254501 h 375985"/>
                <a:gd name="connsiteX12" fmla="*/ 474577 w 543089"/>
                <a:gd name="connsiteY12" fmla="*/ 254501 h 375985"/>
                <a:gd name="connsiteX13" fmla="*/ 545596 w 543089"/>
                <a:gd name="connsiteY13" fmla="*/ 183482 h 375985"/>
                <a:gd name="connsiteX14" fmla="*/ 545596 w 543089"/>
                <a:gd name="connsiteY14" fmla="*/ 1840 h 375985"/>
                <a:gd name="connsiteX15" fmla="*/ 290595 w 543089"/>
                <a:gd name="connsiteY15" fmla="*/ 1 h 3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089" h="375985">
                  <a:moveTo>
                    <a:pt x="290595" y="1"/>
                  </a:moveTo>
                  <a:cubicBezTo>
                    <a:pt x="250323" y="-249"/>
                    <a:pt x="217403" y="32921"/>
                    <a:pt x="217403" y="73193"/>
                  </a:cubicBezTo>
                  <a:lnTo>
                    <a:pt x="217403" y="128588"/>
                  </a:lnTo>
                  <a:lnTo>
                    <a:pt x="73192" y="128588"/>
                  </a:lnTo>
                  <a:cubicBezTo>
                    <a:pt x="32920" y="128588"/>
                    <a:pt x="0" y="161508"/>
                    <a:pt x="0" y="201780"/>
                  </a:cubicBezTo>
                  <a:lnTo>
                    <a:pt x="0" y="248904"/>
                  </a:lnTo>
                  <a:lnTo>
                    <a:pt x="203867" y="248904"/>
                  </a:lnTo>
                  <a:cubicBezTo>
                    <a:pt x="244140" y="248904"/>
                    <a:pt x="277059" y="281823"/>
                    <a:pt x="277059" y="322095"/>
                  </a:cubicBezTo>
                  <a:cubicBezTo>
                    <a:pt x="274302" y="356185"/>
                    <a:pt x="298198" y="374650"/>
                    <a:pt x="344736" y="381585"/>
                  </a:cubicBezTo>
                  <a:lnTo>
                    <a:pt x="403390" y="381083"/>
                  </a:lnTo>
                  <a:lnTo>
                    <a:pt x="403390" y="315912"/>
                  </a:lnTo>
                  <a:cubicBezTo>
                    <a:pt x="403390" y="282157"/>
                    <a:pt x="431046" y="254501"/>
                    <a:pt x="464801" y="254501"/>
                  </a:cubicBezTo>
                  <a:lnTo>
                    <a:pt x="474577" y="254501"/>
                  </a:lnTo>
                  <a:cubicBezTo>
                    <a:pt x="513679" y="254501"/>
                    <a:pt x="545596" y="222585"/>
                    <a:pt x="545596" y="183482"/>
                  </a:cubicBezTo>
                  <a:lnTo>
                    <a:pt x="545596" y="1840"/>
                  </a:lnTo>
                  <a:lnTo>
                    <a:pt x="290595" y="1"/>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3" name="Freeform: Shape 152">
              <a:extLst>
                <a:ext uri="{FF2B5EF4-FFF2-40B4-BE49-F238E27FC236}">
                  <a16:creationId xmlns:a16="http://schemas.microsoft.com/office/drawing/2014/main" id="{76E9941B-9946-4DE3-8415-D4AFD5F440D9}"/>
                </a:ext>
              </a:extLst>
            </p:cNvPr>
            <p:cNvSpPr/>
            <p:nvPr/>
          </p:nvSpPr>
          <p:spPr>
            <a:xfrm>
              <a:off x="12438554" y="4143507"/>
              <a:ext cx="543089" cy="384340"/>
            </a:xfrm>
            <a:custGeom>
              <a:avLst/>
              <a:gdLst>
                <a:gd name="connsiteX0" fmla="*/ 550108 w 543089"/>
                <a:gd name="connsiteY0" fmla="*/ 392528 h 384340"/>
                <a:gd name="connsiteX1" fmla="*/ 550108 w 543089"/>
                <a:gd name="connsiteY1" fmla="*/ 132180 h 384340"/>
                <a:gd name="connsiteX2" fmla="*/ 491454 w 543089"/>
                <a:gd name="connsiteY2" fmla="*/ 132681 h 384340"/>
                <a:gd name="connsiteX3" fmla="*/ 423777 w 543089"/>
                <a:gd name="connsiteY3" fmla="*/ 73192 h 384340"/>
                <a:gd name="connsiteX4" fmla="*/ 350585 w 543089"/>
                <a:gd name="connsiteY4" fmla="*/ 0 h 384340"/>
                <a:gd name="connsiteX5" fmla="*/ 147553 w 543089"/>
                <a:gd name="connsiteY5" fmla="*/ 0 h 384340"/>
                <a:gd name="connsiteX6" fmla="*/ 147553 w 543089"/>
                <a:gd name="connsiteY6" fmla="*/ 60910 h 384340"/>
                <a:gd name="connsiteX7" fmla="*/ 73777 w 543089"/>
                <a:gd name="connsiteY7" fmla="*/ 138947 h 384340"/>
                <a:gd name="connsiteX8" fmla="*/ 0 w 543089"/>
                <a:gd name="connsiteY8" fmla="*/ 138947 h 384340"/>
                <a:gd name="connsiteX9" fmla="*/ 334 w 543089"/>
                <a:gd name="connsiteY9" fmla="*/ 186656 h 384340"/>
                <a:gd name="connsiteX10" fmla="*/ 73526 w 543089"/>
                <a:gd name="connsiteY10" fmla="*/ 259847 h 384340"/>
                <a:gd name="connsiteX11" fmla="*/ 197768 w 543089"/>
                <a:gd name="connsiteY11" fmla="*/ 259847 h 384340"/>
                <a:gd name="connsiteX12" fmla="*/ 279315 w 543089"/>
                <a:gd name="connsiteY12" fmla="*/ 319337 h 384340"/>
                <a:gd name="connsiteX13" fmla="*/ 352507 w 543089"/>
                <a:gd name="connsiteY13" fmla="*/ 392528 h 384340"/>
                <a:gd name="connsiteX14" fmla="*/ 550108 w 543089"/>
                <a:gd name="connsiteY14" fmla="*/ 392528 h 38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9" h="384340">
                  <a:moveTo>
                    <a:pt x="550108" y="392528"/>
                  </a:moveTo>
                  <a:lnTo>
                    <a:pt x="550108" y="132180"/>
                  </a:lnTo>
                  <a:lnTo>
                    <a:pt x="491454" y="132681"/>
                  </a:lnTo>
                  <a:cubicBezTo>
                    <a:pt x="444999" y="125746"/>
                    <a:pt x="421020" y="107281"/>
                    <a:pt x="423777" y="73192"/>
                  </a:cubicBezTo>
                  <a:cubicBezTo>
                    <a:pt x="423777" y="32920"/>
                    <a:pt x="390857" y="0"/>
                    <a:pt x="350585" y="0"/>
                  </a:cubicBezTo>
                  <a:lnTo>
                    <a:pt x="147553" y="0"/>
                  </a:lnTo>
                  <a:lnTo>
                    <a:pt x="147553" y="60910"/>
                  </a:lnTo>
                  <a:cubicBezTo>
                    <a:pt x="147553" y="101182"/>
                    <a:pt x="114049" y="138947"/>
                    <a:pt x="73777" y="138947"/>
                  </a:cubicBezTo>
                  <a:lnTo>
                    <a:pt x="0" y="138947"/>
                  </a:lnTo>
                  <a:lnTo>
                    <a:pt x="334" y="186656"/>
                  </a:lnTo>
                  <a:cubicBezTo>
                    <a:pt x="585" y="226928"/>
                    <a:pt x="33254" y="259847"/>
                    <a:pt x="73526" y="259847"/>
                  </a:cubicBezTo>
                  <a:lnTo>
                    <a:pt x="197768" y="259847"/>
                  </a:lnTo>
                  <a:cubicBezTo>
                    <a:pt x="269957" y="257174"/>
                    <a:pt x="280986" y="285080"/>
                    <a:pt x="279315" y="319337"/>
                  </a:cubicBezTo>
                  <a:cubicBezTo>
                    <a:pt x="279315" y="359609"/>
                    <a:pt x="312235" y="392528"/>
                    <a:pt x="352507" y="392528"/>
                  </a:cubicBezTo>
                  <a:lnTo>
                    <a:pt x="550108" y="392528"/>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4" name="Freeform: Shape 153">
              <a:extLst>
                <a:ext uri="{FF2B5EF4-FFF2-40B4-BE49-F238E27FC236}">
                  <a16:creationId xmlns:a16="http://schemas.microsoft.com/office/drawing/2014/main" id="{0C8D9291-3826-4EFF-A972-9374A9A658F8}"/>
                </a:ext>
              </a:extLst>
            </p:cNvPr>
            <p:cNvSpPr/>
            <p:nvPr/>
          </p:nvSpPr>
          <p:spPr>
            <a:xfrm>
              <a:off x="12855312" y="4399261"/>
              <a:ext cx="125328" cy="133684"/>
            </a:xfrm>
            <a:custGeom>
              <a:avLst/>
              <a:gdLst>
                <a:gd name="connsiteX0" fmla="*/ 133349 w 125328"/>
                <a:gd name="connsiteY0" fmla="*/ 0 h 133683"/>
                <a:gd name="connsiteX1" fmla="*/ 50549 w 125328"/>
                <a:gd name="connsiteY1" fmla="*/ 0 h 133683"/>
                <a:gd name="connsiteX2" fmla="*/ 0 w 125328"/>
                <a:gd name="connsiteY2" fmla="*/ 50549 h 133683"/>
                <a:gd name="connsiteX3" fmla="*/ 0 w 125328"/>
                <a:gd name="connsiteY3" fmla="*/ 136858 h 133683"/>
                <a:gd name="connsiteX4" fmla="*/ 133349 w 125328"/>
                <a:gd name="connsiteY4" fmla="*/ 136858 h 133683"/>
                <a:gd name="connsiteX5" fmla="*/ 133349 w 125328"/>
                <a:gd name="connsiteY5" fmla="*/ 0 h 13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28" h="133683">
                  <a:moveTo>
                    <a:pt x="133349" y="0"/>
                  </a:moveTo>
                  <a:lnTo>
                    <a:pt x="50549" y="0"/>
                  </a:lnTo>
                  <a:cubicBezTo>
                    <a:pt x="22726" y="0"/>
                    <a:pt x="0" y="22726"/>
                    <a:pt x="0" y="50549"/>
                  </a:cubicBezTo>
                  <a:lnTo>
                    <a:pt x="0" y="136858"/>
                  </a:lnTo>
                  <a:lnTo>
                    <a:pt x="133349" y="136858"/>
                  </a:lnTo>
                  <a:lnTo>
                    <a:pt x="133349" y="0"/>
                  </a:lnTo>
                  <a:close/>
                </a:path>
              </a:pathLst>
            </a:custGeom>
            <a:solidFill>
              <a:srgbClr val="5A5E1B"/>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55" name="Freeform: Shape 154">
              <a:extLst>
                <a:ext uri="{FF2B5EF4-FFF2-40B4-BE49-F238E27FC236}">
                  <a16:creationId xmlns:a16="http://schemas.microsoft.com/office/drawing/2014/main" id="{E3BB90D6-CFE8-469F-9E2F-C493550666F5}"/>
                </a:ext>
              </a:extLst>
            </p:cNvPr>
            <p:cNvSpPr/>
            <p:nvPr/>
          </p:nvSpPr>
          <p:spPr>
            <a:xfrm>
              <a:off x="11476951" y="4281703"/>
              <a:ext cx="1645979" cy="1261639"/>
            </a:xfrm>
            <a:custGeom>
              <a:avLst/>
              <a:gdLst>
                <a:gd name="connsiteX0" fmla="*/ 829339 w 1645978"/>
                <a:gd name="connsiteY0" fmla="*/ 100680 h 1261638"/>
                <a:gd name="connsiteX1" fmla="*/ 829339 w 1645978"/>
                <a:gd name="connsiteY1" fmla="*/ 180556 h 1261638"/>
                <a:gd name="connsiteX2" fmla="*/ 758320 w 1645978"/>
                <a:gd name="connsiteY2" fmla="*/ 251576 h 1261638"/>
                <a:gd name="connsiteX3" fmla="*/ 489616 w 1645978"/>
                <a:gd name="connsiteY3" fmla="*/ 251576 h 1261638"/>
                <a:gd name="connsiteX4" fmla="*/ 417009 w 1645978"/>
                <a:gd name="connsiteY4" fmla="*/ 315577 h 1261638"/>
                <a:gd name="connsiteX5" fmla="*/ 346491 w 1645978"/>
                <a:gd name="connsiteY5" fmla="*/ 377656 h 1261638"/>
                <a:gd name="connsiteX6" fmla="*/ 50549 w 1645978"/>
                <a:gd name="connsiteY6" fmla="*/ 377656 h 1261638"/>
                <a:gd name="connsiteX7" fmla="*/ 0 w 1645978"/>
                <a:gd name="connsiteY7" fmla="*/ 428205 h 1261638"/>
                <a:gd name="connsiteX8" fmla="*/ 0 w 1645978"/>
                <a:gd name="connsiteY8" fmla="*/ 445751 h 1261638"/>
                <a:gd name="connsiteX9" fmla="*/ 50549 w 1645978"/>
                <a:gd name="connsiteY9" fmla="*/ 496300 h 1261638"/>
                <a:gd name="connsiteX10" fmla="*/ 195512 w 1645978"/>
                <a:gd name="connsiteY10" fmla="*/ 496300 h 1261638"/>
                <a:gd name="connsiteX11" fmla="*/ 266532 w 1645978"/>
                <a:gd name="connsiteY11" fmla="*/ 566568 h 1261638"/>
                <a:gd name="connsiteX12" fmla="*/ 317081 w 1645978"/>
                <a:gd name="connsiteY12" fmla="*/ 616532 h 1261638"/>
                <a:gd name="connsiteX13" fmla="*/ 483099 w 1645978"/>
                <a:gd name="connsiteY13" fmla="*/ 616532 h 1261638"/>
                <a:gd name="connsiteX14" fmla="*/ 554118 w 1645978"/>
                <a:gd name="connsiteY14" fmla="*/ 687551 h 1261638"/>
                <a:gd name="connsiteX15" fmla="*/ 554118 w 1645978"/>
                <a:gd name="connsiteY15" fmla="*/ 811125 h 1261638"/>
                <a:gd name="connsiteX16" fmla="*/ 483099 w 1645978"/>
                <a:gd name="connsiteY16" fmla="*/ 882144 h 1261638"/>
                <a:gd name="connsiteX17" fmla="*/ 470399 w 1645978"/>
                <a:gd name="connsiteY17" fmla="*/ 882144 h 1261638"/>
                <a:gd name="connsiteX18" fmla="*/ 419850 w 1645978"/>
                <a:gd name="connsiteY18" fmla="*/ 932694 h 1261638"/>
                <a:gd name="connsiteX19" fmla="*/ 419850 w 1645978"/>
                <a:gd name="connsiteY19" fmla="*/ 1070972 h 1261638"/>
                <a:gd name="connsiteX20" fmla="*/ 348831 w 1645978"/>
                <a:gd name="connsiteY20" fmla="*/ 1141992 h 1261638"/>
                <a:gd name="connsiteX21" fmla="*/ 775114 w 1645978"/>
                <a:gd name="connsiteY21" fmla="*/ 1141992 h 1261638"/>
                <a:gd name="connsiteX22" fmla="*/ 825663 w 1645978"/>
                <a:gd name="connsiteY22" fmla="*/ 1192541 h 1261638"/>
                <a:gd name="connsiteX23" fmla="*/ 825663 w 1645978"/>
                <a:gd name="connsiteY23" fmla="*/ 1210839 h 1261638"/>
                <a:gd name="connsiteX24" fmla="*/ 825914 w 1645978"/>
                <a:gd name="connsiteY24" fmla="*/ 1210839 h 1261638"/>
                <a:gd name="connsiteX25" fmla="*/ 825914 w 1645978"/>
                <a:gd name="connsiteY25" fmla="*/ 1211424 h 1261638"/>
                <a:gd name="connsiteX26" fmla="*/ 876463 w 1645978"/>
                <a:gd name="connsiteY26" fmla="*/ 1261973 h 1261638"/>
                <a:gd name="connsiteX27" fmla="*/ 1106232 w 1645978"/>
                <a:gd name="connsiteY27" fmla="*/ 1261973 h 1261638"/>
                <a:gd name="connsiteX28" fmla="*/ 1106232 w 1645978"/>
                <a:gd name="connsiteY28" fmla="*/ 1195298 h 1261638"/>
                <a:gd name="connsiteX29" fmla="*/ 1156781 w 1645978"/>
                <a:gd name="connsiteY29" fmla="*/ 1144749 h 1261638"/>
                <a:gd name="connsiteX30" fmla="*/ 1548641 w 1645978"/>
                <a:gd name="connsiteY30" fmla="*/ 1144749 h 1261638"/>
                <a:gd name="connsiteX31" fmla="*/ 1566270 w 1645978"/>
                <a:gd name="connsiteY31" fmla="*/ 1144331 h 1261638"/>
                <a:gd name="connsiteX32" fmla="*/ 1602782 w 1645978"/>
                <a:gd name="connsiteY32" fmla="*/ 1143078 h 1261638"/>
                <a:gd name="connsiteX33" fmla="*/ 1653331 w 1645978"/>
                <a:gd name="connsiteY33" fmla="*/ 1092529 h 1261638"/>
                <a:gd name="connsiteX34" fmla="*/ 1653582 w 1645978"/>
                <a:gd name="connsiteY34" fmla="*/ 758988 h 1261638"/>
                <a:gd name="connsiteX35" fmla="*/ 1569612 w 1645978"/>
                <a:gd name="connsiteY35" fmla="*/ 758988 h 1261638"/>
                <a:gd name="connsiteX36" fmla="*/ 1519063 w 1645978"/>
                <a:gd name="connsiteY36" fmla="*/ 708439 h 1261638"/>
                <a:gd name="connsiteX37" fmla="*/ 1519063 w 1645978"/>
                <a:gd name="connsiteY37" fmla="*/ 552614 h 1261638"/>
                <a:gd name="connsiteX38" fmla="*/ 1569612 w 1645978"/>
                <a:gd name="connsiteY38" fmla="*/ 502065 h 1261638"/>
                <a:gd name="connsiteX39" fmla="*/ 1653916 w 1645978"/>
                <a:gd name="connsiteY39" fmla="*/ 502065 h 1261638"/>
                <a:gd name="connsiteX40" fmla="*/ 1654000 w 1645978"/>
                <a:gd name="connsiteY40" fmla="*/ 435057 h 1261638"/>
                <a:gd name="connsiteX41" fmla="*/ 1583733 w 1645978"/>
                <a:gd name="connsiteY41" fmla="*/ 374648 h 1261638"/>
                <a:gd name="connsiteX42" fmla="*/ 1573372 w 1645978"/>
                <a:gd name="connsiteY42" fmla="*/ 374648 h 1261638"/>
                <a:gd name="connsiteX43" fmla="*/ 1511961 w 1645978"/>
                <a:gd name="connsiteY43" fmla="*/ 313237 h 1261638"/>
                <a:gd name="connsiteX44" fmla="*/ 1511961 w 1645978"/>
                <a:gd name="connsiteY44" fmla="*/ 254166 h 1261638"/>
                <a:gd name="connsiteX45" fmla="*/ 1314360 w 1645978"/>
                <a:gd name="connsiteY45" fmla="*/ 254166 h 1261638"/>
                <a:gd name="connsiteX46" fmla="*/ 1243174 w 1645978"/>
                <a:gd name="connsiteY46" fmla="*/ 198019 h 1261638"/>
                <a:gd name="connsiteX47" fmla="*/ 1241252 w 1645978"/>
                <a:gd name="connsiteY47" fmla="*/ 178969 h 1261638"/>
                <a:gd name="connsiteX48" fmla="*/ 1160791 w 1645978"/>
                <a:gd name="connsiteY48" fmla="*/ 121401 h 1261638"/>
                <a:gd name="connsiteX49" fmla="*/ 1158452 w 1645978"/>
                <a:gd name="connsiteY49" fmla="*/ 121401 h 1261638"/>
                <a:gd name="connsiteX50" fmla="*/ 1035379 w 1645978"/>
                <a:gd name="connsiteY50" fmla="*/ 121401 h 1261638"/>
                <a:gd name="connsiteX51" fmla="*/ 984162 w 1645978"/>
                <a:gd name="connsiteY51" fmla="*/ 100430 h 1261638"/>
                <a:gd name="connsiteX52" fmla="*/ 984162 w 1645978"/>
                <a:gd name="connsiteY52" fmla="*/ 100430 h 1261638"/>
                <a:gd name="connsiteX53" fmla="*/ 978146 w 1645978"/>
                <a:gd name="connsiteY53" fmla="*/ 93829 h 1261638"/>
                <a:gd name="connsiteX54" fmla="*/ 977728 w 1645978"/>
                <a:gd name="connsiteY54" fmla="*/ 93244 h 1261638"/>
                <a:gd name="connsiteX55" fmla="*/ 977645 w 1645978"/>
                <a:gd name="connsiteY55" fmla="*/ 93161 h 1261638"/>
                <a:gd name="connsiteX56" fmla="*/ 977561 w 1645978"/>
                <a:gd name="connsiteY56" fmla="*/ 93077 h 1261638"/>
                <a:gd name="connsiteX57" fmla="*/ 973551 w 1645978"/>
                <a:gd name="connsiteY57" fmla="*/ 87396 h 1261638"/>
                <a:gd name="connsiteX58" fmla="*/ 973551 w 1645978"/>
                <a:gd name="connsiteY58" fmla="*/ 87396 h 1261638"/>
                <a:gd name="connsiteX59" fmla="*/ 972631 w 1645978"/>
                <a:gd name="connsiteY59" fmla="*/ 85892 h 1261638"/>
                <a:gd name="connsiteX60" fmla="*/ 972631 w 1645978"/>
                <a:gd name="connsiteY60" fmla="*/ 85808 h 1261638"/>
                <a:gd name="connsiteX61" fmla="*/ 972297 w 1645978"/>
                <a:gd name="connsiteY61" fmla="*/ 85223 h 1261638"/>
                <a:gd name="connsiteX62" fmla="*/ 972214 w 1645978"/>
                <a:gd name="connsiteY62" fmla="*/ 85056 h 1261638"/>
                <a:gd name="connsiteX63" fmla="*/ 971796 w 1645978"/>
                <a:gd name="connsiteY63" fmla="*/ 84304 h 1261638"/>
                <a:gd name="connsiteX64" fmla="*/ 971796 w 1645978"/>
                <a:gd name="connsiteY64" fmla="*/ 84304 h 1261638"/>
                <a:gd name="connsiteX65" fmla="*/ 971378 w 1645978"/>
                <a:gd name="connsiteY65" fmla="*/ 83552 h 1261638"/>
                <a:gd name="connsiteX66" fmla="*/ 971378 w 1645978"/>
                <a:gd name="connsiteY66" fmla="*/ 83552 h 1261638"/>
                <a:gd name="connsiteX67" fmla="*/ 971044 w 1645978"/>
                <a:gd name="connsiteY67" fmla="*/ 82884 h 1261638"/>
                <a:gd name="connsiteX68" fmla="*/ 970960 w 1645978"/>
                <a:gd name="connsiteY68" fmla="*/ 82800 h 1261638"/>
                <a:gd name="connsiteX69" fmla="*/ 970543 w 1645978"/>
                <a:gd name="connsiteY69" fmla="*/ 82048 h 1261638"/>
                <a:gd name="connsiteX70" fmla="*/ 970543 w 1645978"/>
                <a:gd name="connsiteY70" fmla="*/ 81965 h 1261638"/>
                <a:gd name="connsiteX71" fmla="*/ 970459 w 1645978"/>
                <a:gd name="connsiteY71" fmla="*/ 81714 h 1261638"/>
                <a:gd name="connsiteX72" fmla="*/ 970125 w 1645978"/>
                <a:gd name="connsiteY72" fmla="*/ 81046 h 1261638"/>
                <a:gd name="connsiteX73" fmla="*/ 969791 w 1645978"/>
                <a:gd name="connsiteY73" fmla="*/ 80377 h 1261638"/>
                <a:gd name="connsiteX74" fmla="*/ 969373 w 1645978"/>
                <a:gd name="connsiteY74" fmla="*/ 79542 h 1261638"/>
                <a:gd name="connsiteX75" fmla="*/ 969289 w 1645978"/>
                <a:gd name="connsiteY75" fmla="*/ 79458 h 1261638"/>
                <a:gd name="connsiteX76" fmla="*/ 968955 w 1645978"/>
                <a:gd name="connsiteY76" fmla="*/ 78790 h 1261638"/>
                <a:gd name="connsiteX77" fmla="*/ 968955 w 1645978"/>
                <a:gd name="connsiteY77" fmla="*/ 78790 h 1261638"/>
                <a:gd name="connsiteX78" fmla="*/ 968621 w 1645978"/>
                <a:gd name="connsiteY78" fmla="*/ 78038 h 1261638"/>
                <a:gd name="connsiteX79" fmla="*/ 968621 w 1645978"/>
                <a:gd name="connsiteY79" fmla="*/ 78038 h 1261638"/>
                <a:gd name="connsiteX80" fmla="*/ 968287 w 1645978"/>
                <a:gd name="connsiteY80" fmla="*/ 77202 h 1261638"/>
                <a:gd name="connsiteX81" fmla="*/ 968120 w 1645978"/>
                <a:gd name="connsiteY81" fmla="*/ 76785 h 1261638"/>
                <a:gd name="connsiteX82" fmla="*/ 967786 w 1645978"/>
                <a:gd name="connsiteY82" fmla="*/ 75949 h 1261638"/>
                <a:gd name="connsiteX83" fmla="*/ 967702 w 1645978"/>
                <a:gd name="connsiteY83" fmla="*/ 75782 h 1261638"/>
                <a:gd name="connsiteX84" fmla="*/ 967201 w 1645978"/>
                <a:gd name="connsiteY84" fmla="*/ 74528 h 1261638"/>
                <a:gd name="connsiteX85" fmla="*/ 967033 w 1645978"/>
                <a:gd name="connsiteY85" fmla="*/ 74194 h 1261638"/>
                <a:gd name="connsiteX86" fmla="*/ 962355 w 1645978"/>
                <a:gd name="connsiteY86" fmla="*/ 48460 h 1261638"/>
                <a:gd name="connsiteX87" fmla="*/ 962355 w 1645978"/>
                <a:gd name="connsiteY87" fmla="*/ 0 h 1261638"/>
                <a:gd name="connsiteX88" fmla="*/ 902949 w 1645978"/>
                <a:gd name="connsiteY88" fmla="*/ 0 h 1261638"/>
                <a:gd name="connsiteX89" fmla="*/ 829757 w 1645978"/>
                <a:gd name="connsiteY89" fmla="*/ 73192 h 1261638"/>
                <a:gd name="connsiteX90" fmla="*/ 829339 w 1645978"/>
                <a:gd name="connsiteY90" fmla="*/ 100680 h 1261638"/>
                <a:gd name="connsiteX91" fmla="*/ 829339 w 1645978"/>
                <a:gd name="connsiteY91" fmla="*/ 100680 h 126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45978" h="1261638">
                  <a:moveTo>
                    <a:pt x="829339" y="100680"/>
                  </a:moveTo>
                  <a:lnTo>
                    <a:pt x="829339" y="180556"/>
                  </a:lnTo>
                  <a:cubicBezTo>
                    <a:pt x="829339" y="219659"/>
                    <a:pt x="797422" y="251576"/>
                    <a:pt x="758320" y="251576"/>
                  </a:cubicBezTo>
                  <a:lnTo>
                    <a:pt x="489616" y="251576"/>
                  </a:lnTo>
                  <a:cubicBezTo>
                    <a:pt x="452519" y="251576"/>
                    <a:pt x="421605" y="279566"/>
                    <a:pt x="417009" y="315577"/>
                  </a:cubicBezTo>
                  <a:cubicBezTo>
                    <a:pt x="412497" y="351253"/>
                    <a:pt x="382502" y="377656"/>
                    <a:pt x="346491" y="377656"/>
                  </a:cubicBezTo>
                  <a:lnTo>
                    <a:pt x="50549" y="377656"/>
                  </a:lnTo>
                  <a:cubicBezTo>
                    <a:pt x="22726" y="377656"/>
                    <a:pt x="0" y="400382"/>
                    <a:pt x="0" y="428205"/>
                  </a:cubicBezTo>
                  <a:lnTo>
                    <a:pt x="0" y="445751"/>
                  </a:lnTo>
                  <a:cubicBezTo>
                    <a:pt x="0" y="473574"/>
                    <a:pt x="22726" y="496300"/>
                    <a:pt x="50549" y="496300"/>
                  </a:cubicBezTo>
                  <a:lnTo>
                    <a:pt x="195512" y="496300"/>
                  </a:lnTo>
                  <a:cubicBezTo>
                    <a:pt x="234364" y="496300"/>
                    <a:pt x="266114" y="527716"/>
                    <a:pt x="266532" y="566568"/>
                  </a:cubicBezTo>
                  <a:cubicBezTo>
                    <a:pt x="266866" y="594140"/>
                    <a:pt x="289425" y="616532"/>
                    <a:pt x="317081" y="616532"/>
                  </a:cubicBezTo>
                  <a:lnTo>
                    <a:pt x="483099" y="616532"/>
                  </a:lnTo>
                  <a:cubicBezTo>
                    <a:pt x="522201" y="616532"/>
                    <a:pt x="554118" y="648449"/>
                    <a:pt x="554118" y="687551"/>
                  </a:cubicBezTo>
                  <a:lnTo>
                    <a:pt x="554118" y="811125"/>
                  </a:lnTo>
                  <a:cubicBezTo>
                    <a:pt x="554118" y="850227"/>
                    <a:pt x="522201" y="882144"/>
                    <a:pt x="483099" y="882144"/>
                  </a:cubicBezTo>
                  <a:lnTo>
                    <a:pt x="470399" y="882144"/>
                  </a:lnTo>
                  <a:cubicBezTo>
                    <a:pt x="442576" y="882144"/>
                    <a:pt x="419850" y="904871"/>
                    <a:pt x="419850" y="932694"/>
                  </a:cubicBezTo>
                  <a:lnTo>
                    <a:pt x="419850" y="1070972"/>
                  </a:lnTo>
                  <a:cubicBezTo>
                    <a:pt x="419850" y="1110075"/>
                    <a:pt x="387933" y="1141992"/>
                    <a:pt x="348831" y="1141992"/>
                  </a:cubicBezTo>
                  <a:lnTo>
                    <a:pt x="775114" y="1141992"/>
                  </a:lnTo>
                  <a:cubicBezTo>
                    <a:pt x="802937" y="1141992"/>
                    <a:pt x="825663" y="1164718"/>
                    <a:pt x="825663" y="1192541"/>
                  </a:cubicBezTo>
                  <a:lnTo>
                    <a:pt x="825663" y="1210839"/>
                  </a:lnTo>
                  <a:lnTo>
                    <a:pt x="825914" y="1210839"/>
                  </a:lnTo>
                  <a:lnTo>
                    <a:pt x="825914" y="1211424"/>
                  </a:lnTo>
                  <a:cubicBezTo>
                    <a:pt x="825914" y="1239247"/>
                    <a:pt x="848640" y="1261973"/>
                    <a:pt x="876463" y="1261973"/>
                  </a:cubicBezTo>
                  <a:lnTo>
                    <a:pt x="1106232" y="1261973"/>
                  </a:lnTo>
                  <a:lnTo>
                    <a:pt x="1106232" y="1195298"/>
                  </a:lnTo>
                  <a:cubicBezTo>
                    <a:pt x="1106232" y="1167475"/>
                    <a:pt x="1128958" y="1144749"/>
                    <a:pt x="1156781" y="1144749"/>
                  </a:cubicBezTo>
                  <a:lnTo>
                    <a:pt x="1548641" y="1144749"/>
                  </a:lnTo>
                  <a:lnTo>
                    <a:pt x="1566270" y="1144331"/>
                  </a:lnTo>
                  <a:lnTo>
                    <a:pt x="1602782" y="1143078"/>
                  </a:lnTo>
                  <a:cubicBezTo>
                    <a:pt x="1630522" y="1142159"/>
                    <a:pt x="1653331" y="1120352"/>
                    <a:pt x="1653331" y="1092529"/>
                  </a:cubicBezTo>
                  <a:cubicBezTo>
                    <a:pt x="1653331" y="981404"/>
                    <a:pt x="1653415" y="870113"/>
                    <a:pt x="1653582" y="758988"/>
                  </a:cubicBezTo>
                  <a:lnTo>
                    <a:pt x="1569612" y="758988"/>
                  </a:lnTo>
                  <a:cubicBezTo>
                    <a:pt x="1541789" y="758988"/>
                    <a:pt x="1519063" y="736262"/>
                    <a:pt x="1519063" y="708439"/>
                  </a:cubicBezTo>
                  <a:lnTo>
                    <a:pt x="1519063" y="552614"/>
                  </a:lnTo>
                  <a:cubicBezTo>
                    <a:pt x="1519063" y="524792"/>
                    <a:pt x="1541789" y="502065"/>
                    <a:pt x="1569612" y="502065"/>
                  </a:cubicBezTo>
                  <a:lnTo>
                    <a:pt x="1653916" y="502065"/>
                  </a:lnTo>
                  <a:lnTo>
                    <a:pt x="1654000" y="435057"/>
                  </a:lnTo>
                  <a:cubicBezTo>
                    <a:pt x="1648820" y="400883"/>
                    <a:pt x="1619242" y="374648"/>
                    <a:pt x="1583733" y="374648"/>
                  </a:cubicBezTo>
                  <a:lnTo>
                    <a:pt x="1573372" y="374648"/>
                  </a:lnTo>
                  <a:cubicBezTo>
                    <a:pt x="1539617" y="374648"/>
                    <a:pt x="1511961" y="346992"/>
                    <a:pt x="1511961" y="313237"/>
                  </a:cubicBezTo>
                  <a:lnTo>
                    <a:pt x="1511961" y="254166"/>
                  </a:lnTo>
                  <a:lnTo>
                    <a:pt x="1314360" y="254166"/>
                  </a:lnTo>
                  <a:cubicBezTo>
                    <a:pt x="1279937" y="254166"/>
                    <a:pt x="1250944" y="230103"/>
                    <a:pt x="1243174" y="198019"/>
                  </a:cubicBezTo>
                  <a:cubicBezTo>
                    <a:pt x="1241586" y="191502"/>
                    <a:pt x="1241001" y="185736"/>
                    <a:pt x="1241252" y="178969"/>
                  </a:cubicBezTo>
                  <a:cubicBezTo>
                    <a:pt x="1242338" y="145798"/>
                    <a:pt x="1230557" y="119145"/>
                    <a:pt x="1160791" y="121401"/>
                  </a:cubicBezTo>
                  <a:cubicBezTo>
                    <a:pt x="1159956" y="121401"/>
                    <a:pt x="1159287" y="121401"/>
                    <a:pt x="1158452" y="121401"/>
                  </a:cubicBezTo>
                  <a:lnTo>
                    <a:pt x="1035379" y="121401"/>
                  </a:lnTo>
                  <a:cubicBezTo>
                    <a:pt x="1015494" y="121401"/>
                    <a:pt x="997446" y="113380"/>
                    <a:pt x="984162" y="100430"/>
                  </a:cubicBezTo>
                  <a:lnTo>
                    <a:pt x="984162" y="100430"/>
                  </a:lnTo>
                  <a:cubicBezTo>
                    <a:pt x="982073" y="98341"/>
                    <a:pt x="980068" y="96168"/>
                    <a:pt x="978146" y="93829"/>
                  </a:cubicBezTo>
                  <a:lnTo>
                    <a:pt x="977728" y="93244"/>
                  </a:lnTo>
                  <a:lnTo>
                    <a:pt x="977645" y="93161"/>
                  </a:lnTo>
                  <a:lnTo>
                    <a:pt x="977561" y="93077"/>
                  </a:lnTo>
                  <a:cubicBezTo>
                    <a:pt x="976141" y="91239"/>
                    <a:pt x="974804" y="89317"/>
                    <a:pt x="973551" y="87396"/>
                  </a:cubicBezTo>
                  <a:lnTo>
                    <a:pt x="973551" y="87396"/>
                  </a:lnTo>
                  <a:cubicBezTo>
                    <a:pt x="973216" y="86894"/>
                    <a:pt x="972966" y="86393"/>
                    <a:pt x="972631" y="85892"/>
                  </a:cubicBezTo>
                  <a:lnTo>
                    <a:pt x="972631" y="85808"/>
                  </a:lnTo>
                  <a:lnTo>
                    <a:pt x="972297" y="85223"/>
                  </a:lnTo>
                  <a:lnTo>
                    <a:pt x="972214" y="85056"/>
                  </a:lnTo>
                  <a:lnTo>
                    <a:pt x="971796" y="84304"/>
                  </a:lnTo>
                  <a:lnTo>
                    <a:pt x="971796" y="84304"/>
                  </a:lnTo>
                  <a:lnTo>
                    <a:pt x="971378" y="83552"/>
                  </a:lnTo>
                  <a:lnTo>
                    <a:pt x="971378" y="83552"/>
                  </a:lnTo>
                  <a:lnTo>
                    <a:pt x="971044" y="82884"/>
                  </a:lnTo>
                  <a:lnTo>
                    <a:pt x="970960" y="82800"/>
                  </a:lnTo>
                  <a:lnTo>
                    <a:pt x="970543" y="82048"/>
                  </a:lnTo>
                  <a:lnTo>
                    <a:pt x="970543" y="81965"/>
                  </a:lnTo>
                  <a:lnTo>
                    <a:pt x="970459" y="81714"/>
                  </a:lnTo>
                  <a:lnTo>
                    <a:pt x="970125" y="81046"/>
                  </a:lnTo>
                  <a:lnTo>
                    <a:pt x="969791" y="80377"/>
                  </a:lnTo>
                  <a:lnTo>
                    <a:pt x="969373" y="79542"/>
                  </a:lnTo>
                  <a:lnTo>
                    <a:pt x="969289" y="79458"/>
                  </a:lnTo>
                  <a:lnTo>
                    <a:pt x="968955" y="78790"/>
                  </a:lnTo>
                  <a:lnTo>
                    <a:pt x="968955" y="78790"/>
                  </a:lnTo>
                  <a:lnTo>
                    <a:pt x="968621" y="78038"/>
                  </a:lnTo>
                  <a:lnTo>
                    <a:pt x="968621" y="78038"/>
                  </a:lnTo>
                  <a:lnTo>
                    <a:pt x="968287" y="77202"/>
                  </a:lnTo>
                  <a:lnTo>
                    <a:pt x="968120" y="76785"/>
                  </a:lnTo>
                  <a:lnTo>
                    <a:pt x="967786" y="75949"/>
                  </a:lnTo>
                  <a:lnTo>
                    <a:pt x="967702" y="75782"/>
                  </a:lnTo>
                  <a:lnTo>
                    <a:pt x="967201" y="74528"/>
                  </a:lnTo>
                  <a:lnTo>
                    <a:pt x="967033" y="74194"/>
                  </a:lnTo>
                  <a:cubicBezTo>
                    <a:pt x="964026" y="66173"/>
                    <a:pt x="962355" y="57484"/>
                    <a:pt x="962355" y="48460"/>
                  </a:cubicBezTo>
                  <a:lnTo>
                    <a:pt x="962355" y="0"/>
                  </a:lnTo>
                  <a:lnTo>
                    <a:pt x="902949" y="0"/>
                  </a:lnTo>
                  <a:cubicBezTo>
                    <a:pt x="862677" y="0"/>
                    <a:pt x="829757" y="32920"/>
                    <a:pt x="829757" y="73192"/>
                  </a:cubicBezTo>
                  <a:lnTo>
                    <a:pt x="829339" y="100680"/>
                  </a:lnTo>
                  <a:lnTo>
                    <a:pt x="829339" y="100680"/>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6" name="Freeform: Shape 155">
              <a:extLst>
                <a:ext uri="{FF2B5EF4-FFF2-40B4-BE49-F238E27FC236}">
                  <a16:creationId xmlns:a16="http://schemas.microsoft.com/office/drawing/2014/main" id="{C0981F33-3E9D-44D1-A249-A7269F93D425}"/>
                </a:ext>
              </a:extLst>
            </p:cNvPr>
            <p:cNvSpPr/>
            <p:nvPr/>
          </p:nvSpPr>
          <p:spPr>
            <a:xfrm>
              <a:off x="12447577" y="5934783"/>
              <a:ext cx="116973" cy="108618"/>
            </a:xfrm>
            <a:custGeom>
              <a:avLst/>
              <a:gdLst>
                <a:gd name="connsiteX0" fmla="*/ 50549 w 116973"/>
                <a:gd name="connsiteY0" fmla="*/ 113046 h 108617"/>
                <a:gd name="connsiteX1" fmla="*/ 68095 w 116973"/>
                <a:gd name="connsiteY1" fmla="*/ 113046 h 108617"/>
                <a:gd name="connsiteX2" fmla="*/ 118644 w 116973"/>
                <a:gd name="connsiteY2" fmla="*/ 62497 h 108617"/>
                <a:gd name="connsiteX3" fmla="*/ 118644 w 116973"/>
                <a:gd name="connsiteY3" fmla="*/ 50549 h 108617"/>
                <a:gd name="connsiteX4" fmla="*/ 68095 w 116973"/>
                <a:gd name="connsiteY4" fmla="*/ 0 h 108617"/>
                <a:gd name="connsiteX5" fmla="*/ 50549 w 116973"/>
                <a:gd name="connsiteY5" fmla="*/ 0 h 108617"/>
                <a:gd name="connsiteX6" fmla="*/ 0 w 116973"/>
                <a:gd name="connsiteY6" fmla="*/ 50549 h 108617"/>
                <a:gd name="connsiteX7" fmla="*/ 0 w 116973"/>
                <a:gd name="connsiteY7" fmla="*/ 62497 h 108617"/>
                <a:gd name="connsiteX8" fmla="*/ 50549 w 116973"/>
                <a:gd name="connsiteY8" fmla="*/ 113046 h 10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973" h="108617">
                  <a:moveTo>
                    <a:pt x="50549" y="113046"/>
                  </a:moveTo>
                  <a:lnTo>
                    <a:pt x="68095" y="113046"/>
                  </a:lnTo>
                  <a:cubicBezTo>
                    <a:pt x="95918" y="113046"/>
                    <a:pt x="118644" y="90320"/>
                    <a:pt x="118644" y="62497"/>
                  </a:cubicBezTo>
                  <a:lnTo>
                    <a:pt x="118644" y="50549"/>
                  </a:lnTo>
                  <a:cubicBezTo>
                    <a:pt x="118644" y="22726"/>
                    <a:pt x="95918" y="0"/>
                    <a:pt x="68095" y="0"/>
                  </a:cubicBezTo>
                  <a:lnTo>
                    <a:pt x="50549" y="0"/>
                  </a:lnTo>
                  <a:cubicBezTo>
                    <a:pt x="22726" y="0"/>
                    <a:pt x="0" y="22726"/>
                    <a:pt x="0" y="50549"/>
                  </a:cubicBezTo>
                  <a:lnTo>
                    <a:pt x="0" y="62497"/>
                  </a:lnTo>
                  <a:cubicBezTo>
                    <a:pt x="0" y="90320"/>
                    <a:pt x="22726" y="113046"/>
                    <a:pt x="50549" y="113046"/>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7" name="Freeform: Shape 156">
              <a:extLst>
                <a:ext uri="{FF2B5EF4-FFF2-40B4-BE49-F238E27FC236}">
                  <a16:creationId xmlns:a16="http://schemas.microsoft.com/office/drawing/2014/main" id="{56BF0817-3EE5-471B-B8D8-490BDD60C9A0}"/>
                </a:ext>
              </a:extLst>
            </p:cNvPr>
            <p:cNvSpPr/>
            <p:nvPr/>
          </p:nvSpPr>
          <p:spPr>
            <a:xfrm>
              <a:off x="13284102" y="5815722"/>
              <a:ext cx="259012" cy="359275"/>
            </a:xfrm>
            <a:custGeom>
              <a:avLst/>
              <a:gdLst>
                <a:gd name="connsiteX0" fmla="*/ 50549 w 259011"/>
                <a:gd name="connsiteY0" fmla="*/ 366460 h 359274"/>
                <a:gd name="connsiteX1" fmla="*/ 68095 w 259011"/>
                <a:gd name="connsiteY1" fmla="*/ 366460 h 359274"/>
                <a:gd name="connsiteX2" fmla="*/ 118644 w 259011"/>
                <a:gd name="connsiteY2" fmla="*/ 315911 h 359274"/>
                <a:gd name="connsiteX3" fmla="*/ 118644 w 259011"/>
                <a:gd name="connsiteY3" fmla="*/ 189663 h 359274"/>
                <a:gd name="connsiteX4" fmla="*/ 189664 w 259011"/>
                <a:gd name="connsiteY4" fmla="*/ 118644 h 359274"/>
                <a:gd name="connsiteX5" fmla="*/ 212306 w 259011"/>
                <a:gd name="connsiteY5" fmla="*/ 118644 h 359274"/>
                <a:gd name="connsiteX6" fmla="*/ 262855 w 259011"/>
                <a:gd name="connsiteY6" fmla="*/ 68095 h 359274"/>
                <a:gd name="connsiteX7" fmla="*/ 262855 w 259011"/>
                <a:gd name="connsiteY7" fmla="*/ 50549 h 359274"/>
                <a:gd name="connsiteX8" fmla="*/ 212306 w 259011"/>
                <a:gd name="connsiteY8" fmla="*/ 0 h 359274"/>
                <a:gd name="connsiteX9" fmla="*/ 68095 w 259011"/>
                <a:gd name="connsiteY9" fmla="*/ 0 h 359274"/>
                <a:gd name="connsiteX10" fmla="*/ 50549 w 259011"/>
                <a:gd name="connsiteY10" fmla="*/ 0 h 359274"/>
                <a:gd name="connsiteX11" fmla="*/ 49296 w 259011"/>
                <a:gd name="connsiteY11" fmla="*/ 0 h 359274"/>
                <a:gd name="connsiteX12" fmla="*/ 49296 w 259011"/>
                <a:gd name="connsiteY12" fmla="*/ 0 h 359274"/>
                <a:gd name="connsiteX13" fmla="*/ 48043 w 259011"/>
                <a:gd name="connsiteY13" fmla="*/ 83 h 359274"/>
                <a:gd name="connsiteX14" fmla="*/ 48043 w 259011"/>
                <a:gd name="connsiteY14" fmla="*/ 83 h 359274"/>
                <a:gd name="connsiteX15" fmla="*/ 46789 w 259011"/>
                <a:gd name="connsiteY15" fmla="*/ 167 h 359274"/>
                <a:gd name="connsiteX16" fmla="*/ 46789 w 259011"/>
                <a:gd name="connsiteY16" fmla="*/ 167 h 359274"/>
                <a:gd name="connsiteX17" fmla="*/ 45536 w 259011"/>
                <a:gd name="connsiteY17" fmla="*/ 251 h 359274"/>
                <a:gd name="connsiteX18" fmla="*/ 45536 w 259011"/>
                <a:gd name="connsiteY18" fmla="*/ 251 h 359274"/>
                <a:gd name="connsiteX19" fmla="*/ 44283 w 259011"/>
                <a:gd name="connsiteY19" fmla="*/ 418 h 359274"/>
                <a:gd name="connsiteX20" fmla="*/ 44283 w 259011"/>
                <a:gd name="connsiteY20" fmla="*/ 418 h 359274"/>
                <a:gd name="connsiteX21" fmla="*/ 43029 w 259011"/>
                <a:gd name="connsiteY21" fmla="*/ 585 h 359274"/>
                <a:gd name="connsiteX22" fmla="*/ 43029 w 259011"/>
                <a:gd name="connsiteY22" fmla="*/ 585 h 359274"/>
                <a:gd name="connsiteX23" fmla="*/ 41776 w 259011"/>
                <a:gd name="connsiteY23" fmla="*/ 752 h 359274"/>
                <a:gd name="connsiteX24" fmla="*/ 41776 w 259011"/>
                <a:gd name="connsiteY24" fmla="*/ 752 h 359274"/>
                <a:gd name="connsiteX25" fmla="*/ 40523 w 259011"/>
                <a:gd name="connsiteY25" fmla="*/ 1003 h 359274"/>
                <a:gd name="connsiteX26" fmla="*/ 40523 w 259011"/>
                <a:gd name="connsiteY26" fmla="*/ 1003 h 359274"/>
                <a:gd name="connsiteX27" fmla="*/ 39270 w 259011"/>
                <a:gd name="connsiteY27" fmla="*/ 1253 h 359274"/>
                <a:gd name="connsiteX28" fmla="*/ 39270 w 259011"/>
                <a:gd name="connsiteY28" fmla="*/ 1253 h 359274"/>
                <a:gd name="connsiteX29" fmla="*/ 38016 w 259011"/>
                <a:gd name="connsiteY29" fmla="*/ 1587 h 359274"/>
                <a:gd name="connsiteX30" fmla="*/ 38016 w 259011"/>
                <a:gd name="connsiteY30" fmla="*/ 1587 h 359274"/>
                <a:gd name="connsiteX31" fmla="*/ 36847 w 259011"/>
                <a:gd name="connsiteY31" fmla="*/ 1922 h 359274"/>
                <a:gd name="connsiteX32" fmla="*/ 36847 w 259011"/>
                <a:gd name="connsiteY32" fmla="*/ 1922 h 359274"/>
                <a:gd name="connsiteX33" fmla="*/ 35677 w 259011"/>
                <a:gd name="connsiteY33" fmla="*/ 2256 h 359274"/>
                <a:gd name="connsiteX34" fmla="*/ 35677 w 259011"/>
                <a:gd name="connsiteY34" fmla="*/ 2256 h 359274"/>
                <a:gd name="connsiteX35" fmla="*/ 34507 w 259011"/>
                <a:gd name="connsiteY35" fmla="*/ 2673 h 359274"/>
                <a:gd name="connsiteX36" fmla="*/ 34507 w 259011"/>
                <a:gd name="connsiteY36" fmla="*/ 2673 h 359274"/>
                <a:gd name="connsiteX37" fmla="*/ 33337 w 259011"/>
                <a:gd name="connsiteY37" fmla="*/ 3091 h 359274"/>
                <a:gd name="connsiteX38" fmla="*/ 33337 w 259011"/>
                <a:gd name="connsiteY38" fmla="*/ 3091 h 359274"/>
                <a:gd name="connsiteX39" fmla="*/ 32168 w 259011"/>
                <a:gd name="connsiteY39" fmla="*/ 3509 h 359274"/>
                <a:gd name="connsiteX40" fmla="*/ 32168 w 259011"/>
                <a:gd name="connsiteY40" fmla="*/ 3509 h 359274"/>
                <a:gd name="connsiteX41" fmla="*/ 30998 w 259011"/>
                <a:gd name="connsiteY41" fmla="*/ 4010 h 359274"/>
                <a:gd name="connsiteX42" fmla="*/ 30998 w 259011"/>
                <a:gd name="connsiteY42" fmla="*/ 4010 h 359274"/>
                <a:gd name="connsiteX43" fmla="*/ 29912 w 259011"/>
                <a:gd name="connsiteY43" fmla="*/ 4512 h 359274"/>
                <a:gd name="connsiteX44" fmla="*/ 29912 w 259011"/>
                <a:gd name="connsiteY44" fmla="*/ 4512 h 359274"/>
                <a:gd name="connsiteX45" fmla="*/ 28826 w 259011"/>
                <a:gd name="connsiteY45" fmla="*/ 5013 h 359274"/>
                <a:gd name="connsiteX46" fmla="*/ 28826 w 259011"/>
                <a:gd name="connsiteY46" fmla="*/ 5013 h 359274"/>
                <a:gd name="connsiteX47" fmla="*/ 27739 w 259011"/>
                <a:gd name="connsiteY47" fmla="*/ 5598 h 359274"/>
                <a:gd name="connsiteX48" fmla="*/ 27739 w 259011"/>
                <a:gd name="connsiteY48" fmla="*/ 5598 h 359274"/>
                <a:gd name="connsiteX49" fmla="*/ 26653 w 259011"/>
                <a:gd name="connsiteY49" fmla="*/ 6183 h 359274"/>
                <a:gd name="connsiteX50" fmla="*/ 26653 w 259011"/>
                <a:gd name="connsiteY50" fmla="*/ 6183 h 359274"/>
                <a:gd name="connsiteX51" fmla="*/ 25567 w 259011"/>
                <a:gd name="connsiteY51" fmla="*/ 6768 h 359274"/>
                <a:gd name="connsiteX52" fmla="*/ 25567 w 259011"/>
                <a:gd name="connsiteY52" fmla="*/ 6768 h 359274"/>
                <a:gd name="connsiteX53" fmla="*/ 24481 w 259011"/>
                <a:gd name="connsiteY53" fmla="*/ 7352 h 359274"/>
                <a:gd name="connsiteX54" fmla="*/ 24481 w 259011"/>
                <a:gd name="connsiteY54" fmla="*/ 7352 h 359274"/>
                <a:gd name="connsiteX55" fmla="*/ 23478 w 259011"/>
                <a:gd name="connsiteY55" fmla="*/ 8021 h 359274"/>
                <a:gd name="connsiteX56" fmla="*/ 23478 w 259011"/>
                <a:gd name="connsiteY56" fmla="*/ 8021 h 359274"/>
                <a:gd name="connsiteX57" fmla="*/ 22476 w 259011"/>
                <a:gd name="connsiteY57" fmla="*/ 8689 h 359274"/>
                <a:gd name="connsiteX58" fmla="*/ 22476 w 259011"/>
                <a:gd name="connsiteY58" fmla="*/ 8689 h 359274"/>
                <a:gd name="connsiteX59" fmla="*/ 21473 w 259011"/>
                <a:gd name="connsiteY59" fmla="*/ 9358 h 359274"/>
                <a:gd name="connsiteX60" fmla="*/ 21473 w 259011"/>
                <a:gd name="connsiteY60" fmla="*/ 9358 h 359274"/>
                <a:gd name="connsiteX61" fmla="*/ 20470 w 259011"/>
                <a:gd name="connsiteY61" fmla="*/ 10110 h 359274"/>
                <a:gd name="connsiteX62" fmla="*/ 20470 w 259011"/>
                <a:gd name="connsiteY62" fmla="*/ 10110 h 359274"/>
                <a:gd name="connsiteX63" fmla="*/ 19468 w 259011"/>
                <a:gd name="connsiteY63" fmla="*/ 10862 h 359274"/>
                <a:gd name="connsiteX64" fmla="*/ 19468 w 259011"/>
                <a:gd name="connsiteY64" fmla="*/ 10862 h 359274"/>
                <a:gd name="connsiteX65" fmla="*/ 18549 w 259011"/>
                <a:gd name="connsiteY65" fmla="*/ 11614 h 359274"/>
                <a:gd name="connsiteX66" fmla="*/ 18549 w 259011"/>
                <a:gd name="connsiteY66" fmla="*/ 11614 h 359274"/>
                <a:gd name="connsiteX67" fmla="*/ 17630 w 259011"/>
                <a:gd name="connsiteY67" fmla="*/ 12366 h 359274"/>
                <a:gd name="connsiteX68" fmla="*/ 17630 w 259011"/>
                <a:gd name="connsiteY68" fmla="*/ 12366 h 359274"/>
                <a:gd name="connsiteX69" fmla="*/ 16710 w 259011"/>
                <a:gd name="connsiteY69" fmla="*/ 13201 h 359274"/>
                <a:gd name="connsiteX70" fmla="*/ 16710 w 259011"/>
                <a:gd name="connsiteY70" fmla="*/ 13201 h 359274"/>
                <a:gd name="connsiteX71" fmla="*/ 15791 w 259011"/>
                <a:gd name="connsiteY71" fmla="*/ 14037 h 359274"/>
                <a:gd name="connsiteX72" fmla="*/ 15791 w 259011"/>
                <a:gd name="connsiteY72" fmla="*/ 14037 h 359274"/>
                <a:gd name="connsiteX73" fmla="*/ 14956 w 259011"/>
                <a:gd name="connsiteY73" fmla="*/ 14872 h 359274"/>
                <a:gd name="connsiteX74" fmla="*/ 14956 w 259011"/>
                <a:gd name="connsiteY74" fmla="*/ 14872 h 359274"/>
                <a:gd name="connsiteX75" fmla="*/ 14120 w 259011"/>
                <a:gd name="connsiteY75" fmla="*/ 15708 h 359274"/>
                <a:gd name="connsiteX76" fmla="*/ 14120 w 259011"/>
                <a:gd name="connsiteY76" fmla="*/ 15708 h 359274"/>
                <a:gd name="connsiteX77" fmla="*/ 13285 w 259011"/>
                <a:gd name="connsiteY77" fmla="*/ 16627 h 359274"/>
                <a:gd name="connsiteX78" fmla="*/ 13285 w 259011"/>
                <a:gd name="connsiteY78" fmla="*/ 16627 h 359274"/>
                <a:gd name="connsiteX79" fmla="*/ 12449 w 259011"/>
                <a:gd name="connsiteY79" fmla="*/ 17546 h 359274"/>
                <a:gd name="connsiteX80" fmla="*/ 12449 w 259011"/>
                <a:gd name="connsiteY80" fmla="*/ 17546 h 359274"/>
                <a:gd name="connsiteX81" fmla="*/ 11697 w 259011"/>
                <a:gd name="connsiteY81" fmla="*/ 18465 h 359274"/>
                <a:gd name="connsiteX82" fmla="*/ 11697 w 259011"/>
                <a:gd name="connsiteY82" fmla="*/ 18465 h 359274"/>
                <a:gd name="connsiteX83" fmla="*/ 10945 w 259011"/>
                <a:gd name="connsiteY83" fmla="*/ 19384 h 359274"/>
                <a:gd name="connsiteX84" fmla="*/ 10945 w 259011"/>
                <a:gd name="connsiteY84" fmla="*/ 19384 h 359274"/>
                <a:gd name="connsiteX85" fmla="*/ 10193 w 259011"/>
                <a:gd name="connsiteY85" fmla="*/ 20303 h 359274"/>
                <a:gd name="connsiteX86" fmla="*/ 10193 w 259011"/>
                <a:gd name="connsiteY86" fmla="*/ 20303 h 359274"/>
                <a:gd name="connsiteX87" fmla="*/ 9441 w 259011"/>
                <a:gd name="connsiteY87" fmla="*/ 21306 h 359274"/>
                <a:gd name="connsiteX88" fmla="*/ 9441 w 259011"/>
                <a:gd name="connsiteY88" fmla="*/ 21306 h 359274"/>
                <a:gd name="connsiteX89" fmla="*/ 8773 w 259011"/>
                <a:gd name="connsiteY89" fmla="*/ 22308 h 359274"/>
                <a:gd name="connsiteX90" fmla="*/ 8773 w 259011"/>
                <a:gd name="connsiteY90" fmla="*/ 22308 h 359274"/>
                <a:gd name="connsiteX91" fmla="*/ 8105 w 259011"/>
                <a:gd name="connsiteY91" fmla="*/ 23311 h 359274"/>
                <a:gd name="connsiteX92" fmla="*/ 8105 w 259011"/>
                <a:gd name="connsiteY92" fmla="*/ 23311 h 359274"/>
                <a:gd name="connsiteX93" fmla="*/ 7436 w 259011"/>
                <a:gd name="connsiteY93" fmla="*/ 24313 h 359274"/>
                <a:gd name="connsiteX94" fmla="*/ 7436 w 259011"/>
                <a:gd name="connsiteY94" fmla="*/ 24313 h 359274"/>
                <a:gd name="connsiteX95" fmla="*/ 6851 w 259011"/>
                <a:gd name="connsiteY95" fmla="*/ 25400 h 359274"/>
                <a:gd name="connsiteX96" fmla="*/ 6851 w 259011"/>
                <a:gd name="connsiteY96" fmla="*/ 25400 h 359274"/>
                <a:gd name="connsiteX97" fmla="*/ 6266 w 259011"/>
                <a:gd name="connsiteY97" fmla="*/ 26486 h 359274"/>
                <a:gd name="connsiteX98" fmla="*/ 6266 w 259011"/>
                <a:gd name="connsiteY98" fmla="*/ 26486 h 359274"/>
                <a:gd name="connsiteX99" fmla="*/ 5681 w 259011"/>
                <a:gd name="connsiteY99" fmla="*/ 27572 h 359274"/>
                <a:gd name="connsiteX100" fmla="*/ 5681 w 259011"/>
                <a:gd name="connsiteY100" fmla="*/ 27572 h 359274"/>
                <a:gd name="connsiteX101" fmla="*/ 5097 w 259011"/>
                <a:gd name="connsiteY101" fmla="*/ 28658 h 359274"/>
                <a:gd name="connsiteX102" fmla="*/ 5097 w 259011"/>
                <a:gd name="connsiteY102" fmla="*/ 28658 h 359274"/>
                <a:gd name="connsiteX103" fmla="*/ 4595 w 259011"/>
                <a:gd name="connsiteY103" fmla="*/ 29745 h 359274"/>
                <a:gd name="connsiteX104" fmla="*/ 4595 w 259011"/>
                <a:gd name="connsiteY104" fmla="*/ 29745 h 359274"/>
                <a:gd name="connsiteX105" fmla="*/ 4094 w 259011"/>
                <a:gd name="connsiteY105" fmla="*/ 30831 h 359274"/>
                <a:gd name="connsiteX106" fmla="*/ 4094 w 259011"/>
                <a:gd name="connsiteY106" fmla="*/ 30831 h 359274"/>
                <a:gd name="connsiteX107" fmla="*/ 3593 w 259011"/>
                <a:gd name="connsiteY107" fmla="*/ 32000 h 359274"/>
                <a:gd name="connsiteX108" fmla="*/ 3593 w 259011"/>
                <a:gd name="connsiteY108" fmla="*/ 32000 h 359274"/>
                <a:gd name="connsiteX109" fmla="*/ 3175 w 259011"/>
                <a:gd name="connsiteY109" fmla="*/ 33170 h 359274"/>
                <a:gd name="connsiteX110" fmla="*/ 3175 w 259011"/>
                <a:gd name="connsiteY110" fmla="*/ 33170 h 359274"/>
                <a:gd name="connsiteX111" fmla="*/ 2757 w 259011"/>
                <a:gd name="connsiteY111" fmla="*/ 34340 h 359274"/>
                <a:gd name="connsiteX112" fmla="*/ 2757 w 259011"/>
                <a:gd name="connsiteY112" fmla="*/ 34340 h 359274"/>
                <a:gd name="connsiteX113" fmla="*/ 2339 w 259011"/>
                <a:gd name="connsiteY113" fmla="*/ 35510 h 359274"/>
                <a:gd name="connsiteX114" fmla="*/ 2339 w 259011"/>
                <a:gd name="connsiteY114" fmla="*/ 35510 h 359274"/>
                <a:gd name="connsiteX115" fmla="*/ 2005 w 259011"/>
                <a:gd name="connsiteY115" fmla="*/ 36679 h 359274"/>
                <a:gd name="connsiteX116" fmla="*/ 2005 w 259011"/>
                <a:gd name="connsiteY116" fmla="*/ 36679 h 359274"/>
                <a:gd name="connsiteX117" fmla="*/ 1671 w 259011"/>
                <a:gd name="connsiteY117" fmla="*/ 37849 h 359274"/>
                <a:gd name="connsiteX118" fmla="*/ 1671 w 259011"/>
                <a:gd name="connsiteY118" fmla="*/ 37849 h 359274"/>
                <a:gd name="connsiteX119" fmla="*/ 1337 w 259011"/>
                <a:gd name="connsiteY119" fmla="*/ 39019 h 359274"/>
                <a:gd name="connsiteX120" fmla="*/ 1337 w 259011"/>
                <a:gd name="connsiteY120" fmla="*/ 39019 h 359274"/>
                <a:gd name="connsiteX121" fmla="*/ 1086 w 259011"/>
                <a:gd name="connsiteY121" fmla="*/ 40272 h 359274"/>
                <a:gd name="connsiteX122" fmla="*/ 1086 w 259011"/>
                <a:gd name="connsiteY122" fmla="*/ 40272 h 359274"/>
                <a:gd name="connsiteX123" fmla="*/ 836 w 259011"/>
                <a:gd name="connsiteY123" fmla="*/ 41525 h 359274"/>
                <a:gd name="connsiteX124" fmla="*/ 836 w 259011"/>
                <a:gd name="connsiteY124" fmla="*/ 41525 h 359274"/>
                <a:gd name="connsiteX125" fmla="*/ 585 w 259011"/>
                <a:gd name="connsiteY125" fmla="*/ 42779 h 359274"/>
                <a:gd name="connsiteX126" fmla="*/ 585 w 259011"/>
                <a:gd name="connsiteY126" fmla="*/ 42779 h 359274"/>
                <a:gd name="connsiteX127" fmla="*/ 418 w 259011"/>
                <a:gd name="connsiteY127" fmla="*/ 44032 h 359274"/>
                <a:gd name="connsiteX128" fmla="*/ 418 w 259011"/>
                <a:gd name="connsiteY128" fmla="*/ 44032 h 359274"/>
                <a:gd name="connsiteX129" fmla="*/ 251 w 259011"/>
                <a:gd name="connsiteY129" fmla="*/ 45285 h 359274"/>
                <a:gd name="connsiteX130" fmla="*/ 251 w 259011"/>
                <a:gd name="connsiteY130" fmla="*/ 45285 h 359274"/>
                <a:gd name="connsiteX131" fmla="*/ 167 w 259011"/>
                <a:gd name="connsiteY131" fmla="*/ 46538 h 359274"/>
                <a:gd name="connsiteX132" fmla="*/ 167 w 259011"/>
                <a:gd name="connsiteY132" fmla="*/ 46538 h 359274"/>
                <a:gd name="connsiteX133" fmla="*/ 84 w 259011"/>
                <a:gd name="connsiteY133" fmla="*/ 47792 h 359274"/>
                <a:gd name="connsiteX134" fmla="*/ 84 w 259011"/>
                <a:gd name="connsiteY134" fmla="*/ 47792 h 359274"/>
                <a:gd name="connsiteX135" fmla="*/ 84 w 259011"/>
                <a:gd name="connsiteY135" fmla="*/ 48210 h 359274"/>
                <a:gd name="connsiteX136" fmla="*/ 0 w 259011"/>
                <a:gd name="connsiteY136" fmla="*/ 49881 h 359274"/>
                <a:gd name="connsiteX137" fmla="*/ 0 w 259011"/>
                <a:gd name="connsiteY137" fmla="*/ 50298 h 359274"/>
                <a:gd name="connsiteX138" fmla="*/ 0 w 259011"/>
                <a:gd name="connsiteY138" fmla="*/ 50298 h 359274"/>
                <a:gd name="connsiteX139" fmla="*/ 0 w 259011"/>
                <a:gd name="connsiteY139" fmla="*/ 67844 h 359274"/>
                <a:gd name="connsiteX140" fmla="*/ 0 w 259011"/>
                <a:gd name="connsiteY140" fmla="*/ 315660 h 359274"/>
                <a:gd name="connsiteX141" fmla="*/ 50549 w 259011"/>
                <a:gd name="connsiteY141" fmla="*/ 366460 h 359274"/>
                <a:gd name="connsiteX142" fmla="*/ 50549 w 259011"/>
                <a:gd name="connsiteY142" fmla="*/ 366460 h 359274"/>
                <a:gd name="connsiteX143" fmla="*/ 50549 w 259011"/>
                <a:gd name="connsiteY143" fmla="*/ 0 h 359274"/>
                <a:gd name="connsiteX144" fmla="*/ 50549 w 259011"/>
                <a:gd name="connsiteY144" fmla="*/ 0 h 359274"/>
                <a:gd name="connsiteX145" fmla="*/ 50549 w 259011"/>
                <a:gd name="connsiteY145" fmla="*/ 0 h 35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59011" h="359274">
                  <a:moveTo>
                    <a:pt x="50549" y="366460"/>
                  </a:moveTo>
                  <a:lnTo>
                    <a:pt x="68095" y="366460"/>
                  </a:lnTo>
                  <a:cubicBezTo>
                    <a:pt x="95918" y="366460"/>
                    <a:pt x="118644" y="343734"/>
                    <a:pt x="118644" y="315911"/>
                  </a:cubicBezTo>
                  <a:lnTo>
                    <a:pt x="118644" y="189663"/>
                  </a:lnTo>
                  <a:cubicBezTo>
                    <a:pt x="118644" y="150561"/>
                    <a:pt x="150561" y="118644"/>
                    <a:pt x="189664" y="118644"/>
                  </a:cubicBezTo>
                  <a:lnTo>
                    <a:pt x="212306" y="118644"/>
                  </a:lnTo>
                  <a:cubicBezTo>
                    <a:pt x="240129" y="118644"/>
                    <a:pt x="262855" y="95918"/>
                    <a:pt x="262855" y="68095"/>
                  </a:cubicBezTo>
                  <a:lnTo>
                    <a:pt x="262855" y="50549"/>
                  </a:lnTo>
                  <a:cubicBezTo>
                    <a:pt x="262855" y="22726"/>
                    <a:pt x="240129" y="0"/>
                    <a:pt x="212306" y="0"/>
                  </a:cubicBezTo>
                  <a:lnTo>
                    <a:pt x="68095" y="0"/>
                  </a:lnTo>
                  <a:lnTo>
                    <a:pt x="50549" y="0"/>
                  </a:lnTo>
                  <a:lnTo>
                    <a:pt x="49296" y="0"/>
                  </a:lnTo>
                  <a:lnTo>
                    <a:pt x="49296" y="0"/>
                  </a:lnTo>
                  <a:lnTo>
                    <a:pt x="48043" y="83"/>
                  </a:lnTo>
                  <a:lnTo>
                    <a:pt x="48043" y="83"/>
                  </a:lnTo>
                  <a:lnTo>
                    <a:pt x="46789" y="167"/>
                  </a:lnTo>
                  <a:lnTo>
                    <a:pt x="46789" y="167"/>
                  </a:lnTo>
                  <a:lnTo>
                    <a:pt x="45536" y="251"/>
                  </a:lnTo>
                  <a:lnTo>
                    <a:pt x="45536" y="251"/>
                  </a:lnTo>
                  <a:lnTo>
                    <a:pt x="44283" y="418"/>
                  </a:lnTo>
                  <a:lnTo>
                    <a:pt x="44283" y="418"/>
                  </a:lnTo>
                  <a:lnTo>
                    <a:pt x="43029" y="585"/>
                  </a:lnTo>
                  <a:lnTo>
                    <a:pt x="43029" y="585"/>
                  </a:lnTo>
                  <a:lnTo>
                    <a:pt x="41776" y="752"/>
                  </a:lnTo>
                  <a:lnTo>
                    <a:pt x="41776" y="752"/>
                  </a:lnTo>
                  <a:cubicBezTo>
                    <a:pt x="41358" y="835"/>
                    <a:pt x="40941" y="919"/>
                    <a:pt x="40523" y="1003"/>
                  </a:cubicBezTo>
                  <a:lnTo>
                    <a:pt x="40523" y="1003"/>
                  </a:lnTo>
                  <a:lnTo>
                    <a:pt x="39270" y="1253"/>
                  </a:lnTo>
                  <a:lnTo>
                    <a:pt x="39270" y="1253"/>
                  </a:lnTo>
                  <a:lnTo>
                    <a:pt x="38016" y="1587"/>
                  </a:lnTo>
                  <a:lnTo>
                    <a:pt x="38016" y="1587"/>
                  </a:lnTo>
                  <a:lnTo>
                    <a:pt x="36847" y="1922"/>
                  </a:lnTo>
                  <a:lnTo>
                    <a:pt x="36847" y="1922"/>
                  </a:lnTo>
                  <a:lnTo>
                    <a:pt x="35677" y="2256"/>
                  </a:lnTo>
                  <a:lnTo>
                    <a:pt x="35677" y="2256"/>
                  </a:lnTo>
                  <a:lnTo>
                    <a:pt x="34507" y="2673"/>
                  </a:lnTo>
                  <a:lnTo>
                    <a:pt x="34507" y="2673"/>
                  </a:lnTo>
                  <a:lnTo>
                    <a:pt x="33337" y="3091"/>
                  </a:lnTo>
                  <a:lnTo>
                    <a:pt x="33337" y="3091"/>
                  </a:lnTo>
                  <a:lnTo>
                    <a:pt x="32168" y="3509"/>
                  </a:lnTo>
                  <a:lnTo>
                    <a:pt x="32168" y="3509"/>
                  </a:lnTo>
                  <a:lnTo>
                    <a:pt x="30998" y="4010"/>
                  </a:lnTo>
                  <a:lnTo>
                    <a:pt x="30998" y="4010"/>
                  </a:lnTo>
                  <a:lnTo>
                    <a:pt x="29912" y="4512"/>
                  </a:lnTo>
                  <a:lnTo>
                    <a:pt x="29912" y="4512"/>
                  </a:lnTo>
                  <a:lnTo>
                    <a:pt x="28826" y="5013"/>
                  </a:lnTo>
                  <a:lnTo>
                    <a:pt x="28826" y="5013"/>
                  </a:lnTo>
                  <a:lnTo>
                    <a:pt x="27739" y="5598"/>
                  </a:lnTo>
                  <a:lnTo>
                    <a:pt x="27739" y="5598"/>
                  </a:lnTo>
                  <a:cubicBezTo>
                    <a:pt x="27405" y="5765"/>
                    <a:pt x="26987" y="5932"/>
                    <a:pt x="26653" y="6183"/>
                  </a:cubicBezTo>
                  <a:lnTo>
                    <a:pt x="26653" y="6183"/>
                  </a:lnTo>
                  <a:lnTo>
                    <a:pt x="25567" y="6768"/>
                  </a:lnTo>
                  <a:lnTo>
                    <a:pt x="25567" y="6768"/>
                  </a:lnTo>
                  <a:cubicBezTo>
                    <a:pt x="25233" y="6935"/>
                    <a:pt x="24899" y="7185"/>
                    <a:pt x="24481" y="7352"/>
                  </a:cubicBezTo>
                  <a:lnTo>
                    <a:pt x="24481" y="7352"/>
                  </a:lnTo>
                  <a:lnTo>
                    <a:pt x="23478" y="8021"/>
                  </a:lnTo>
                  <a:lnTo>
                    <a:pt x="23478" y="8021"/>
                  </a:lnTo>
                  <a:lnTo>
                    <a:pt x="22476" y="8689"/>
                  </a:lnTo>
                  <a:lnTo>
                    <a:pt x="22476" y="8689"/>
                  </a:lnTo>
                  <a:lnTo>
                    <a:pt x="21473" y="9358"/>
                  </a:lnTo>
                  <a:lnTo>
                    <a:pt x="21473" y="9358"/>
                  </a:lnTo>
                  <a:lnTo>
                    <a:pt x="20470" y="10110"/>
                  </a:lnTo>
                  <a:lnTo>
                    <a:pt x="20470" y="10110"/>
                  </a:lnTo>
                  <a:lnTo>
                    <a:pt x="19468" y="10862"/>
                  </a:lnTo>
                  <a:lnTo>
                    <a:pt x="19468" y="10862"/>
                  </a:lnTo>
                  <a:cubicBezTo>
                    <a:pt x="19134" y="11112"/>
                    <a:pt x="18799" y="11363"/>
                    <a:pt x="18549" y="11614"/>
                  </a:cubicBezTo>
                  <a:lnTo>
                    <a:pt x="18549" y="11614"/>
                  </a:lnTo>
                  <a:lnTo>
                    <a:pt x="17630" y="12366"/>
                  </a:lnTo>
                  <a:lnTo>
                    <a:pt x="17630" y="12366"/>
                  </a:lnTo>
                  <a:lnTo>
                    <a:pt x="16710" y="13201"/>
                  </a:lnTo>
                  <a:lnTo>
                    <a:pt x="16710" y="13201"/>
                  </a:lnTo>
                  <a:lnTo>
                    <a:pt x="15791" y="14037"/>
                  </a:lnTo>
                  <a:lnTo>
                    <a:pt x="15791" y="14037"/>
                  </a:lnTo>
                  <a:lnTo>
                    <a:pt x="14956" y="14872"/>
                  </a:lnTo>
                  <a:lnTo>
                    <a:pt x="14956" y="14872"/>
                  </a:lnTo>
                  <a:lnTo>
                    <a:pt x="14120" y="15708"/>
                  </a:lnTo>
                  <a:lnTo>
                    <a:pt x="14120" y="15708"/>
                  </a:lnTo>
                  <a:lnTo>
                    <a:pt x="13285" y="16627"/>
                  </a:lnTo>
                  <a:lnTo>
                    <a:pt x="13285" y="16627"/>
                  </a:lnTo>
                  <a:lnTo>
                    <a:pt x="12449" y="17546"/>
                  </a:lnTo>
                  <a:lnTo>
                    <a:pt x="12449" y="17546"/>
                  </a:lnTo>
                  <a:lnTo>
                    <a:pt x="11697" y="18465"/>
                  </a:lnTo>
                  <a:lnTo>
                    <a:pt x="11697" y="18465"/>
                  </a:lnTo>
                  <a:cubicBezTo>
                    <a:pt x="11447" y="18799"/>
                    <a:pt x="11196" y="19133"/>
                    <a:pt x="10945" y="19384"/>
                  </a:cubicBezTo>
                  <a:lnTo>
                    <a:pt x="10945" y="19384"/>
                  </a:lnTo>
                  <a:cubicBezTo>
                    <a:pt x="10695" y="19718"/>
                    <a:pt x="10444" y="20052"/>
                    <a:pt x="10193" y="20303"/>
                  </a:cubicBezTo>
                  <a:lnTo>
                    <a:pt x="10193" y="20303"/>
                  </a:lnTo>
                  <a:lnTo>
                    <a:pt x="9441" y="21306"/>
                  </a:lnTo>
                  <a:lnTo>
                    <a:pt x="9441" y="21306"/>
                  </a:lnTo>
                  <a:lnTo>
                    <a:pt x="8773" y="22308"/>
                  </a:lnTo>
                  <a:lnTo>
                    <a:pt x="8773" y="22308"/>
                  </a:lnTo>
                  <a:lnTo>
                    <a:pt x="8105" y="23311"/>
                  </a:lnTo>
                  <a:lnTo>
                    <a:pt x="8105" y="23311"/>
                  </a:lnTo>
                  <a:lnTo>
                    <a:pt x="7436" y="24313"/>
                  </a:lnTo>
                  <a:lnTo>
                    <a:pt x="7436" y="24313"/>
                  </a:lnTo>
                  <a:lnTo>
                    <a:pt x="6851" y="25400"/>
                  </a:lnTo>
                  <a:lnTo>
                    <a:pt x="6851" y="25400"/>
                  </a:lnTo>
                  <a:lnTo>
                    <a:pt x="6266" y="26486"/>
                  </a:lnTo>
                  <a:lnTo>
                    <a:pt x="6266" y="26486"/>
                  </a:lnTo>
                  <a:lnTo>
                    <a:pt x="5681" y="27572"/>
                  </a:lnTo>
                  <a:lnTo>
                    <a:pt x="5681" y="27572"/>
                  </a:lnTo>
                  <a:lnTo>
                    <a:pt x="5097" y="28658"/>
                  </a:lnTo>
                  <a:lnTo>
                    <a:pt x="5097" y="28658"/>
                  </a:lnTo>
                  <a:lnTo>
                    <a:pt x="4595" y="29745"/>
                  </a:lnTo>
                  <a:lnTo>
                    <a:pt x="4595" y="29745"/>
                  </a:lnTo>
                  <a:cubicBezTo>
                    <a:pt x="4428" y="30079"/>
                    <a:pt x="4261" y="30497"/>
                    <a:pt x="4094" y="30831"/>
                  </a:cubicBezTo>
                  <a:lnTo>
                    <a:pt x="4094" y="30831"/>
                  </a:lnTo>
                  <a:lnTo>
                    <a:pt x="3593" y="32000"/>
                  </a:lnTo>
                  <a:lnTo>
                    <a:pt x="3593" y="32000"/>
                  </a:lnTo>
                  <a:lnTo>
                    <a:pt x="3175" y="33170"/>
                  </a:lnTo>
                  <a:lnTo>
                    <a:pt x="3175" y="33170"/>
                  </a:lnTo>
                  <a:lnTo>
                    <a:pt x="2757" y="34340"/>
                  </a:lnTo>
                  <a:lnTo>
                    <a:pt x="2757" y="34340"/>
                  </a:lnTo>
                  <a:lnTo>
                    <a:pt x="2339" y="35510"/>
                  </a:lnTo>
                  <a:lnTo>
                    <a:pt x="2339" y="35510"/>
                  </a:lnTo>
                  <a:lnTo>
                    <a:pt x="2005" y="36679"/>
                  </a:lnTo>
                  <a:lnTo>
                    <a:pt x="2005" y="36679"/>
                  </a:lnTo>
                  <a:lnTo>
                    <a:pt x="1671" y="37849"/>
                  </a:lnTo>
                  <a:lnTo>
                    <a:pt x="1671" y="37849"/>
                  </a:lnTo>
                  <a:lnTo>
                    <a:pt x="1337" y="39019"/>
                  </a:lnTo>
                  <a:lnTo>
                    <a:pt x="1337" y="39019"/>
                  </a:lnTo>
                  <a:lnTo>
                    <a:pt x="1086" y="40272"/>
                  </a:lnTo>
                  <a:lnTo>
                    <a:pt x="1086" y="40272"/>
                  </a:lnTo>
                  <a:cubicBezTo>
                    <a:pt x="1003" y="40690"/>
                    <a:pt x="919" y="41108"/>
                    <a:pt x="836" y="41525"/>
                  </a:cubicBezTo>
                  <a:lnTo>
                    <a:pt x="836" y="41525"/>
                  </a:lnTo>
                  <a:lnTo>
                    <a:pt x="585" y="42779"/>
                  </a:lnTo>
                  <a:lnTo>
                    <a:pt x="585" y="42779"/>
                  </a:lnTo>
                  <a:lnTo>
                    <a:pt x="418" y="44032"/>
                  </a:lnTo>
                  <a:lnTo>
                    <a:pt x="418" y="44032"/>
                  </a:lnTo>
                  <a:lnTo>
                    <a:pt x="251" y="45285"/>
                  </a:lnTo>
                  <a:lnTo>
                    <a:pt x="251" y="45285"/>
                  </a:lnTo>
                  <a:lnTo>
                    <a:pt x="167" y="46538"/>
                  </a:lnTo>
                  <a:lnTo>
                    <a:pt x="167" y="46538"/>
                  </a:lnTo>
                  <a:lnTo>
                    <a:pt x="84" y="47792"/>
                  </a:lnTo>
                  <a:lnTo>
                    <a:pt x="84" y="47792"/>
                  </a:lnTo>
                  <a:lnTo>
                    <a:pt x="84" y="48210"/>
                  </a:lnTo>
                  <a:cubicBezTo>
                    <a:pt x="84" y="48794"/>
                    <a:pt x="84" y="49296"/>
                    <a:pt x="0" y="49881"/>
                  </a:cubicBezTo>
                  <a:lnTo>
                    <a:pt x="0" y="50298"/>
                  </a:lnTo>
                  <a:lnTo>
                    <a:pt x="0" y="50298"/>
                  </a:lnTo>
                  <a:lnTo>
                    <a:pt x="0" y="67844"/>
                  </a:lnTo>
                  <a:lnTo>
                    <a:pt x="0" y="315660"/>
                  </a:lnTo>
                  <a:cubicBezTo>
                    <a:pt x="0" y="343734"/>
                    <a:pt x="22726" y="366460"/>
                    <a:pt x="50549" y="366460"/>
                  </a:cubicBezTo>
                  <a:lnTo>
                    <a:pt x="50549" y="366460"/>
                  </a:lnTo>
                  <a:close/>
                  <a:moveTo>
                    <a:pt x="50549" y="0"/>
                  </a:moveTo>
                  <a:lnTo>
                    <a:pt x="50549" y="0"/>
                  </a:lnTo>
                  <a:lnTo>
                    <a:pt x="50549" y="0"/>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8" name="Freeform: Shape 157">
              <a:extLst>
                <a:ext uri="{FF2B5EF4-FFF2-40B4-BE49-F238E27FC236}">
                  <a16:creationId xmlns:a16="http://schemas.microsoft.com/office/drawing/2014/main" id="{42BCAD15-090A-44A3-BE55-4FB212F69B57}"/>
                </a:ext>
              </a:extLst>
            </p:cNvPr>
            <p:cNvSpPr/>
            <p:nvPr/>
          </p:nvSpPr>
          <p:spPr>
            <a:xfrm>
              <a:off x="10783468" y="5677693"/>
              <a:ext cx="543089" cy="760325"/>
            </a:xfrm>
            <a:custGeom>
              <a:avLst/>
              <a:gdLst>
                <a:gd name="connsiteX0" fmla="*/ 482514 w 543089"/>
                <a:gd name="connsiteY0" fmla="*/ 263691 h 760325"/>
                <a:gd name="connsiteX1" fmla="*/ 500394 w 543089"/>
                <a:gd name="connsiteY1" fmla="*/ 263691 h 760325"/>
                <a:gd name="connsiteX2" fmla="*/ 550943 w 543089"/>
                <a:gd name="connsiteY2" fmla="*/ 213142 h 760325"/>
                <a:gd name="connsiteX3" fmla="*/ 550943 w 543089"/>
                <a:gd name="connsiteY3" fmla="*/ 50549 h 760325"/>
                <a:gd name="connsiteX4" fmla="*/ 500394 w 543089"/>
                <a:gd name="connsiteY4" fmla="*/ 0 h 760325"/>
                <a:gd name="connsiteX5" fmla="*/ 189998 w 543089"/>
                <a:gd name="connsiteY5" fmla="*/ 0 h 760325"/>
                <a:gd name="connsiteX6" fmla="*/ 139449 w 543089"/>
                <a:gd name="connsiteY6" fmla="*/ 752 h 760325"/>
                <a:gd name="connsiteX7" fmla="*/ 139449 w 543089"/>
                <a:gd name="connsiteY7" fmla="*/ 186739 h 760325"/>
                <a:gd name="connsiteX8" fmla="*/ 68429 w 543089"/>
                <a:gd name="connsiteY8" fmla="*/ 257759 h 760325"/>
                <a:gd name="connsiteX9" fmla="*/ 50549 w 543089"/>
                <a:gd name="connsiteY9" fmla="*/ 257759 h 760325"/>
                <a:gd name="connsiteX10" fmla="*/ 0 w 543089"/>
                <a:gd name="connsiteY10" fmla="*/ 309561 h 760325"/>
                <a:gd name="connsiteX11" fmla="*/ 0 w 543089"/>
                <a:gd name="connsiteY11" fmla="*/ 407150 h 760325"/>
                <a:gd name="connsiteX12" fmla="*/ 0 w 543089"/>
                <a:gd name="connsiteY12" fmla="*/ 456446 h 760325"/>
                <a:gd name="connsiteX13" fmla="*/ 0 w 543089"/>
                <a:gd name="connsiteY13" fmla="*/ 710696 h 760325"/>
                <a:gd name="connsiteX14" fmla="*/ 50549 w 543089"/>
                <a:gd name="connsiteY14" fmla="*/ 761245 h 760325"/>
                <a:gd name="connsiteX15" fmla="*/ 221413 w 543089"/>
                <a:gd name="connsiteY15" fmla="*/ 761245 h 760325"/>
                <a:gd name="connsiteX16" fmla="*/ 271963 w 543089"/>
                <a:gd name="connsiteY16" fmla="*/ 760492 h 760325"/>
                <a:gd name="connsiteX17" fmla="*/ 271963 w 543089"/>
                <a:gd name="connsiteY17" fmla="*/ 579435 h 760325"/>
                <a:gd name="connsiteX18" fmla="*/ 342982 w 543089"/>
                <a:gd name="connsiteY18" fmla="*/ 508415 h 760325"/>
                <a:gd name="connsiteX19" fmla="*/ 360862 w 543089"/>
                <a:gd name="connsiteY19" fmla="*/ 508415 h 760325"/>
                <a:gd name="connsiteX20" fmla="*/ 411411 w 543089"/>
                <a:gd name="connsiteY20" fmla="*/ 456613 h 760325"/>
                <a:gd name="connsiteX21" fmla="*/ 411411 w 543089"/>
                <a:gd name="connsiteY21" fmla="*/ 334794 h 760325"/>
                <a:gd name="connsiteX22" fmla="*/ 482514 w 543089"/>
                <a:gd name="connsiteY22" fmla="*/ 263691 h 76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3089" h="760325">
                  <a:moveTo>
                    <a:pt x="482514" y="263691"/>
                  </a:moveTo>
                  <a:lnTo>
                    <a:pt x="500394" y="263691"/>
                  </a:lnTo>
                  <a:cubicBezTo>
                    <a:pt x="528217" y="263691"/>
                    <a:pt x="550943" y="240965"/>
                    <a:pt x="550943" y="213142"/>
                  </a:cubicBezTo>
                  <a:lnTo>
                    <a:pt x="550943" y="50549"/>
                  </a:lnTo>
                  <a:cubicBezTo>
                    <a:pt x="550943" y="22726"/>
                    <a:pt x="528217" y="0"/>
                    <a:pt x="500394" y="0"/>
                  </a:cubicBezTo>
                  <a:lnTo>
                    <a:pt x="189998" y="0"/>
                  </a:lnTo>
                  <a:lnTo>
                    <a:pt x="139449" y="752"/>
                  </a:lnTo>
                  <a:lnTo>
                    <a:pt x="139449" y="186739"/>
                  </a:lnTo>
                  <a:cubicBezTo>
                    <a:pt x="139449" y="225842"/>
                    <a:pt x="107532" y="257759"/>
                    <a:pt x="68429" y="257759"/>
                  </a:cubicBezTo>
                  <a:lnTo>
                    <a:pt x="50549" y="257759"/>
                  </a:lnTo>
                  <a:cubicBezTo>
                    <a:pt x="22726" y="257759"/>
                    <a:pt x="0" y="281070"/>
                    <a:pt x="0" y="309561"/>
                  </a:cubicBezTo>
                  <a:lnTo>
                    <a:pt x="0" y="407150"/>
                  </a:lnTo>
                  <a:lnTo>
                    <a:pt x="0" y="456446"/>
                  </a:lnTo>
                  <a:lnTo>
                    <a:pt x="0" y="710696"/>
                  </a:lnTo>
                  <a:cubicBezTo>
                    <a:pt x="0" y="738518"/>
                    <a:pt x="22726" y="761245"/>
                    <a:pt x="50549" y="761245"/>
                  </a:cubicBezTo>
                  <a:lnTo>
                    <a:pt x="221413" y="761245"/>
                  </a:lnTo>
                  <a:lnTo>
                    <a:pt x="271963" y="760492"/>
                  </a:lnTo>
                  <a:lnTo>
                    <a:pt x="271963" y="579435"/>
                  </a:lnTo>
                  <a:cubicBezTo>
                    <a:pt x="271963" y="540332"/>
                    <a:pt x="303879" y="508415"/>
                    <a:pt x="342982" y="508415"/>
                  </a:cubicBezTo>
                  <a:lnTo>
                    <a:pt x="360862" y="508415"/>
                  </a:lnTo>
                  <a:cubicBezTo>
                    <a:pt x="388685" y="508415"/>
                    <a:pt x="411411" y="485104"/>
                    <a:pt x="411411" y="456613"/>
                  </a:cubicBezTo>
                  <a:lnTo>
                    <a:pt x="411411" y="334794"/>
                  </a:lnTo>
                  <a:cubicBezTo>
                    <a:pt x="411411" y="295608"/>
                    <a:pt x="443328" y="263691"/>
                    <a:pt x="482514" y="263691"/>
                  </a:cubicBez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59" name="Freeform: Shape 158">
              <a:extLst>
                <a:ext uri="{FF2B5EF4-FFF2-40B4-BE49-F238E27FC236}">
                  <a16:creationId xmlns:a16="http://schemas.microsoft.com/office/drawing/2014/main" id="{F2C698FC-5E82-4697-AEFB-E0A523800C1A}"/>
                </a:ext>
              </a:extLst>
            </p:cNvPr>
            <p:cNvSpPr/>
            <p:nvPr/>
          </p:nvSpPr>
          <p:spPr>
            <a:xfrm>
              <a:off x="10923167" y="5303630"/>
              <a:ext cx="1654334" cy="1253283"/>
            </a:xfrm>
            <a:custGeom>
              <a:avLst/>
              <a:gdLst>
                <a:gd name="connsiteX0" fmla="*/ 341144 w 1654334"/>
                <a:gd name="connsiteY0" fmla="*/ 1256375 h 1253283"/>
                <a:gd name="connsiteX1" fmla="*/ 475496 w 1654334"/>
                <a:gd name="connsiteY1" fmla="*/ 1256375 h 1253283"/>
                <a:gd name="connsiteX2" fmla="*/ 547685 w 1654334"/>
                <a:gd name="connsiteY2" fmla="*/ 1194964 h 1253283"/>
                <a:gd name="connsiteX3" fmla="*/ 617785 w 1654334"/>
                <a:gd name="connsiteY3" fmla="*/ 1135391 h 1253283"/>
                <a:gd name="connsiteX4" fmla="*/ 892505 w 1654334"/>
                <a:gd name="connsiteY4" fmla="*/ 1135391 h 1253283"/>
                <a:gd name="connsiteX5" fmla="*/ 964945 w 1654334"/>
                <a:gd name="connsiteY5" fmla="*/ 1072560 h 1253283"/>
                <a:gd name="connsiteX6" fmla="*/ 1032956 w 1654334"/>
                <a:gd name="connsiteY6" fmla="*/ 1011651 h 1253283"/>
                <a:gd name="connsiteX7" fmla="*/ 1103725 w 1654334"/>
                <a:gd name="connsiteY7" fmla="*/ 938542 h 1253283"/>
                <a:gd name="connsiteX8" fmla="*/ 1103725 w 1654334"/>
                <a:gd name="connsiteY8" fmla="*/ 698413 h 1253283"/>
                <a:gd name="connsiteX9" fmla="*/ 1173157 w 1654334"/>
                <a:gd name="connsiteY9" fmla="*/ 627394 h 1253283"/>
                <a:gd name="connsiteX10" fmla="*/ 1243591 w 1654334"/>
                <a:gd name="connsiteY10" fmla="*/ 566317 h 1253283"/>
                <a:gd name="connsiteX11" fmla="*/ 1311603 w 1654334"/>
                <a:gd name="connsiteY11" fmla="*/ 507079 h 1253283"/>
                <a:gd name="connsiteX12" fmla="*/ 1382706 w 1654334"/>
                <a:gd name="connsiteY12" fmla="*/ 434806 h 1253283"/>
                <a:gd name="connsiteX13" fmla="*/ 1453725 w 1654334"/>
                <a:gd name="connsiteY13" fmla="*/ 364622 h 1253283"/>
                <a:gd name="connsiteX14" fmla="*/ 1608464 w 1654334"/>
                <a:gd name="connsiteY14" fmla="*/ 364622 h 1253283"/>
                <a:gd name="connsiteX15" fmla="*/ 1659681 w 1654334"/>
                <a:gd name="connsiteY15" fmla="*/ 318585 h 1253283"/>
                <a:gd name="connsiteX16" fmla="*/ 1659598 w 1654334"/>
                <a:gd name="connsiteY16" fmla="*/ 239628 h 1253283"/>
                <a:gd name="connsiteX17" fmla="*/ 1430080 w 1654334"/>
                <a:gd name="connsiteY17" fmla="*/ 240213 h 1253283"/>
                <a:gd name="connsiteX18" fmla="*/ 1379531 w 1654334"/>
                <a:gd name="connsiteY18" fmla="*/ 189663 h 1253283"/>
                <a:gd name="connsiteX19" fmla="*/ 1379531 w 1654334"/>
                <a:gd name="connsiteY19" fmla="*/ 189079 h 1253283"/>
                <a:gd name="connsiteX20" fmla="*/ 1379280 w 1654334"/>
                <a:gd name="connsiteY20" fmla="*/ 189079 h 1253283"/>
                <a:gd name="connsiteX21" fmla="*/ 1379280 w 1654334"/>
                <a:gd name="connsiteY21" fmla="*/ 170781 h 1253283"/>
                <a:gd name="connsiteX22" fmla="*/ 1328731 w 1654334"/>
                <a:gd name="connsiteY22" fmla="*/ 120232 h 1253283"/>
                <a:gd name="connsiteX23" fmla="*/ 902448 w 1654334"/>
                <a:gd name="connsiteY23" fmla="*/ 120232 h 1253283"/>
                <a:gd name="connsiteX24" fmla="*/ 902615 w 1654334"/>
                <a:gd name="connsiteY24" fmla="*/ 120232 h 1253283"/>
                <a:gd name="connsiteX25" fmla="*/ 748127 w 1654334"/>
                <a:gd name="connsiteY25" fmla="*/ 120232 h 1253283"/>
                <a:gd name="connsiteX26" fmla="*/ 677107 w 1654334"/>
                <a:gd name="connsiteY26" fmla="*/ 49964 h 1253283"/>
                <a:gd name="connsiteX27" fmla="*/ 626558 w 1654334"/>
                <a:gd name="connsiteY27" fmla="*/ 0 h 1253283"/>
                <a:gd name="connsiteX28" fmla="*/ 50549 w 1654334"/>
                <a:gd name="connsiteY28" fmla="*/ 0 h 1253283"/>
                <a:gd name="connsiteX29" fmla="*/ 0 w 1654334"/>
                <a:gd name="connsiteY29" fmla="*/ 50549 h 1253283"/>
                <a:gd name="connsiteX30" fmla="*/ 0 w 1654334"/>
                <a:gd name="connsiteY30" fmla="*/ 253330 h 1253283"/>
                <a:gd name="connsiteX31" fmla="*/ 84 w 1654334"/>
                <a:gd name="connsiteY31" fmla="*/ 255837 h 1253283"/>
                <a:gd name="connsiteX32" fmla="*/ 84 w 1654334"/>
                <a:gd name="connsiteY32" fmla="*/ 262855 h 1253283"/>
                <a:gd name="connsiteX33" fmla="*/ 0 w 1654334"/>
                <a:gd name="connsiteY33" fmla="*/ 266197 h 1253283"/>
                <a:gd name="connsiteX34" fmla="*/ 0 w 1654334"/>
                <a:gd name="connsiteY34" fmla="*/ 374899 h 1253283"/>
                <a:gd name="connsiteX35" fmla="*/ 50298 w 1654334"/>
                <a:gd name="connsiteY35" fmla="*/ 374147 h 1253283"/>
                <a:gd name="connsiteX36" fmla="*/ 360611 w 1654334"/>
                <a:gd name="connsiteY36" fmla="*/ 374147 h 1253283"/>
                <a:gd name="connsiteX37" fmla="*/ 411161 w 1654334"/>
                <a:gd name="connsiteY37" fmla="*/ 424696 h 1253283"/>
                <a:gd name="connsiteX38" fmla="*/ 411161 w 1654334"/>
                <a:gd name="connsiteY38" fmla="*/ 587289 h 1253283"/>
                <a:gd name="connsiteX39" fmla="*/ 360611 w 1654334"/>
                <a:gd name="connsiteY39" fmla="*/ 637837 h 1253283"/>
                <a:gd name="connsiteX40" fmla="*/ 342731 w 1654334"/>
                <a:gd name="connsiteY40" fmla="*/ 637837 h 1253283"/>
                <a:gd name="connsiteX41" fmla="*/ 271712 w 1654334"/>
                <a:gd name="connsiteY41" fmla="*/ 708857 h 1253283"/>
                <a:gd name="connsiteX42" fmla="*/ 271712 w 1654334"/>
                <a:gd name="connsiteY42" fmla="*/ 830676 h 1253283"/>
                <a:gd name="connsiteX43" fmla="*/ 221163 w 1654334"/>
                <a:gd name="connsiteY43" fmla="*/ 882479 h 1253283"/>
                <a:gd name="connsiteX44" fmla="*/ 203283 w 1654334"/>
                <a:gd name="connsiteY44" fmla="*/ 882479 h 1253283"/>
                <a:gd name="connsiteX45" fmla="*/ 132263 w 1654334"/>
                <a:gd name="connsiteY45" fmla="*/ 953498 h 1253283"/>
                <a:gd name="connsiteX46" fmla="*/ 132263 w 1654334"/>
                <a:gd name="connsiteY46" fmla="*/ 1134639 h 1253283"/>
                <a:gd name="connsiteX47" fmla="*/ 94163 w 1654334"/>
                <a:gd name="connsiteY47" fmla="*/ 1135224 h 1253283"/>
                <a:gd name="connsiteX48" fmla="*/ 99427 w 1654334"/>
                <a:gd name="connsiteY48" fmla="*/ 1135391 h 1253283"/>
                <a:gd name="connsiteX49" fmla="*/ 198771 w 1654334"/>
                <a:gd name="connsiteY49" fmla="*/ 1135391 h 1253283"/>
                <a:gd name="connsiteX50" fmla="*/ 268871 w 1654334"/>
                <a:gd name="connsiteY50" fmla="*/ 1194964 h 1253283"/>
                <a:gd name="connsiteX51" fmla="*/ 341144 w 1654334"/>
                <a:gd name="connsiteY51" fmla="*/ 1256375 h 125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654334" h="1253283">
                  <a:moveTo>
                    <a:pt x="341144" y="1256375"/>
                  </a:moveTo>
                  <a:lnTo>
                    <a:pt x="475496" y="1256375"/>
                  </a:lnTo>
                  <a:cubicBezTo>
                    <a:pt x="511757" y="1256375"/>
                    <a:pt x="542087" y="1229638"/>
                    <a:pt x="547685" y="1194964"/>
                  </a:cubicBezTo>
                  <a:cubicBezTo>
                    <a:pt x="553366" y="1160290"/>
                    <a:pt x="582693" y="1135391"/>
                    <a:pt x="617785" y="1135391"/>
                  </a:cubicBezTo>
                  <a:lnTo>
                    <a:pt x="892505" y="1135391"/>
                  </a:lnTo>
                  <a:cubicBezTo>
                    <a:pt x="929268" y="1135391"/>
                    <a:pt x="959848" y="1107986"/>
                    <a:pt x="964945" y="1072560"/>
                  </a:cubicBezTo>
                  <a:cubicBezTo>
                    <a:pt x="969874" y="1038136"/>
                    <a:pt x="998198" y="1012737"/>
                    <a:pt x="1032956" y="1011651"/>
                  </a:cubicBezTo>
                  <a:cubicBezTo>
                    <a:pt x="1072142" y="1010397"/>
                    <a:pt x="1103725" y="977979"/>
                    <a:pt x="1103725" y="938542"/>
                  </a:cubicBezTo>
                  <a:lnTo>
                    <a:pt x="1103725" y="698413"/>
                  </a:lnTo>
                  <a:cubicBezTo>
                    <a:pt x="1103725" y="659895"/>
                    <a:pt x="1134556" y="628313"/>
                    <a:pt x="1173157" y="627394"/>
                  </a:cubicBezTo>
                  <a:cubicBezTo>
                    <a:pt x="1208499" y="626558"/>
                    <a:pt x="1237910" y="600323"/>
                    <a:pt x="1243591" y="566317"/>
                  </a:cubicBezTo>
                  <a:cubicBezTo>
                    <a:pt x="1249273" y="532562"/>
                    <a:pt x="1277346" y="508081"/>
                    <a:pt x="1311603" y="507079"/>
                  </a:cubicBezTo>
                  <a:cubicBezTo>
                    <a:pt x="1350622" y="505992"/>
                    <a:pt x="1382205" y="473992"/>
                    <a:pt x="1382706" y="434806"/>
                  </a:cubicBezTo>
                  <a:cubicBezTo>
                    <a:pt x="1383207" y="395954"/>
                    <a:pt x="1414957" y="364622"/>
                    <a:pt x="1453725" y="364622"/>
                  </a:cubicBezTo>
                  <a:lnTo>
                    <a:pt x="1608464" y="364622"/>
                  </a:lnTo>
                  <a:cubicBezTo>
                    <a:pt x="1636287" y="364622"/>
                    <a:pt x="1659765" y="346491"/>
                    <a:pt x="1659681" y="318585"/>
                  </a:cubicBezTo>
                  <a:lnTo>
                    <a:pt x="1659598" y="239628"/>
                  </a:lnTo>
                  <a:cubicBezTo>
                    <a:pt x="1582563" y="239628"/>
                    <a:pt x="1507199" y="240213"/>
                    <a:pt x="1430080" y="240213"/>
                  </a:cubicBezTo>
                  <a:cubicBezTo>
                    <a:pt x="1402257" y="240213"/>
                    <a:pt x="1379531" y="217486"/>
                    <a:pt x="1379531" y="189663"/>
                  </a:cubicBezTo>
                  <a:lnTo>
                    <a:pt x="1379531" y="189079"/>
                  </a:lnTo>
                  <a:lnTo>
                    <a:pt x="1379280" y="189079"/>
                  </a:lnTo>
                  <a:lnTo>
                    <a:pt x="1379280" y="170781"/>
                  </a:lnTo>
                  <a:cubicBezTo>
                    <a:pt x="1379280" y="142958"/>
                    <a:pt x="1356554" y="120232"/>
                    <a:pt x="1328731" y="120232"/>
                  </a:cubicBezTo>
                  <a:lnTo>
                    <a:pt x="902448" y="120232"/>
                  </a:lnTo>
                  <a:lnTo>
                    <a:pt x="902615" y="120232"/>
                  </a:lnTo>
                  <a:lnTo>
                    <a:pt x="748127" y="120232"/>
                  </a:lnTo>
                  <a:cubicBezTo>
                    <a:pt x="709275" y="120232"/>
                    <a:pt x="677525" y="88816"/>
                    <a:pt x="677107" y="49964"/>
                  </a:cubicBezTo>
                  <a:cubicBezTo>
                    <a:pt x="676773" y="22476"/>
                    <a:pt x="654130" y="0"/>
                    <a:pt x="626558" y="0"/>
                  </a:cubicBezTo>
                  <a:lnTo>
                    <a:pt x="50549" y="0"/>
                  </a:lnTo>
                  <a:cubicBezTo>
                    <a:pt x="22726" y="0"/>
                    <a:pt x="0" y="22726"/>
                    <a:pt x="0" y="50549"/>
                  </a:cubicBezTo>
                  <a:lnTo>
                    <a:pt x="0" y="253330"/>
                  </a:lnTo>
                  <a:cubicBezTo>
                    <a:pt x="0" y="254166"/>
                    <a:pt x="0" y="255001"/>
                    <a:pt x="84" y="255837"/>
                  </a:cubicBezTo>
                  <a:cubicBezTo>
                    <a:pt x="251" y="258260"/>
                    <a:pt x="251" y="260349"/>
                    <a:pt x="84" y="262855"/>
                  </a:cubicBezTo>
                  <a:cubicBezTo>
                    <a:pt x="0" y="263941"/>
                    <a:pt x="0" y="265111"/>
                    <a:pt x="0" y="266197"/>
                  </a:cubicBezTo>
                  <a:lnTo>
                    <a:pt x="0" y="374899"/>
                  </a:lnTo>
                  <a:lnTo>
                    <a:pt x="50298" y="374147"/>
                  </a:lnTo>
                  <a:lnTo>
                    <a:pt x="360611" y="374147"/>
                  </a:lnTo>
                  <a:cubicBezTo>
                    <a:pt x="388434" y="374147"/>
                    <a:pt x="411161" y="396873"/>
                    <a:pt x="411161" y="424696"/>
                  </a:cubicBezTo>
                  <a:lnTo>
                    <a:pt x="411161" y="587289"/>
                  </a:lnTo>
                  <a:cubicBezTo>
                    <a:pt x="411161" y="615112"/>
                    <a:pt x="388434" y="637837"/>
                    <a:pt x="360611" y="637837"/>
                  </a:cubicBezTo>
                  <a:lnTo>
                    <a:pt x="342731" y="637837"/>
                  </a:lnTo>
                  <a:cubicBezTo>
                    <a:pt x="303629" y="637837"/>
                    <a:pt x="271712" y="669754"/>
                    <a:pt x="271712" y="708857"/>
                  </a:cubicBezTo>
                  <a:lnTo>
                    <a:pt x="271712" y="830676"/>
                  </a:lnTo>
                  <a:cubicBezTo>
                    <a:pt x="271712" y="859168"/>
                    <a:pt x="248986" y="882479"/>
                    <a:pt x="221163" y="882479"/>
                  </a:cubicBezTo>
                  <a:lnTo>
                    <a:pt x="203283" y="882479"/>
                  </a:lnTo>
                  <a:cubicBezTo>
                    <a:pt x="164180" y="882479"/>
                    <a:pt x="132263" y="914396"/>
                    <a:pt x="132263" y="953498"/>
                  </a:cubicBezTo>
                  <a:lnTo>
                    <a:pt x="132263" y="1134639"/>
                  </a:lnTo>
                  <a:lnTo>
                    <a:pt x="94163" y="1135224"/>
                  </a:lnTo>
                  <a:cubicBezTo>
                    <a:pt x="95918" y="1135391"/>
                    <a:pt x="97673" y="1135391"/>
                    <a:pt x="99427" y="1135391"/>
                  </a:cubicBezTo>
                  <a:lnTo>
                    <a:pt x="198771" y="1135391"/>
                  </a:lnTo>
                  <a:cubicBezTo>
                    <a:pt x="233863" y="1135391"/>
                    <a:pt x="263190" y="1160373"/>
                    <a:pt x="268871" y="1194964"/>
                  </a:cubicBezTo>
                  <a:cubicBezTo>
                    <a:pt x="274553" y="1229722"/>
                    <a:pt x="304882" y="1256375"/>
                    <a:pt x="341144" y="1256375"/>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0" name="Freeform: Shape 159">
              <a:extLst>
                <a:ext uri="{FF2B5EF4-FFF2-40B4-BE49-F238E27FC236}">
                  <a16:creationId xmlns:a16="http://schemas.microsoft.com/office/drawing/2014/main" id="{EF8A14AC-4535-4352-8F68-498F4BB1EA53}"/>
                </a:ext>
              </a:extLst>
            </p:cNvPr>
            <p:cNvSpPr/>
            <p:nvPr/>
          </p:nvSpPr>
          <p:spPr>
            <a:xfrm>
              <a:off x="13850920" y="6320461"/>
              <a:ext cx="359275" cy="259012"/>
            </a:xfrm>
            <a:custGeom>
              <a:avLst/>
              <a:gdLst>
                <a:gd name="connsiteX0" fmla="*/ 0 w 359274"/>
                <a:gd name="connsiteY0" fmla="*/ 50549 h 259011"/>
                <a:gd name="connsiteX1" fmla="*/ 0 w 359274"/>
                <a:gd name="connsiteY1" fmla="*/ 68095 h 259011"/>
                <a:gd name="connsiteX2" fmla="*/ 50549 w 359274"/>
                <a:gd name="connsiteY2" fmla="*/ 118644 h 259011"/>
                <a:gd name="connsiteX3" fmla="*/ 176797 w 359274"/>
                <a:gd name="connsiteY3" fmla="*/ 118644 h 259011"/>
                <a:gd name="connsiteX4" fmla="*/ 247816 w 359274"/>
                <a:gd name="connsiteY4" fmla="*/ 189664 h 259011"/>
                <a:gd name="connsiteX5" fmla="*/ 247816 w 359274"/>
                <a:gd name="connsiteY5" fmla="*/ 212306 h 259011"/>
                <a:gd name="connsiteX6" fmla="*/ 298365 w 359274"/>
                <a:gd name="connsiteY6" fmla="*/ 262855 h 259011"/>
                <a:gd name="connsiteX7" fmla="*/ 315911 w 359274"/>
                <a:gd name="connsiteY7" fmla="*/ 262855 h 259011"/>
                <a:gd name="connsiteX8" fmla="*/ 366460 w 359274"/>
                <a:gd name="connsiteY8" fmla="*/ 212306 h 259011"/>
                <a:gd name="connsiteX9" fmla="*/ 366460 w 359274"/>
                <a:gd name="connsiteY9" fmla="*/ 68095 h 259011"/>
                <a:gd name="connsiteX10" fmla="*/ 366460 w 359274"/>
                <a:gd name="connsiteY10" fmla="*/ 50549 h 259011"/>
                <a:gd name="connsiteX11" fmla="*/ 366460 w 359274"/>
                <a:gd name="connsiteY11" fmla="*/ 49212 h 259011"/>
                <a:gd name="connsiteX12" fmla="*/ 366460 w 359274"/>
                <a:gd name="connsiteY12" fmla="*/ 49212 h 259011"/>
                <a:gd name="connsiteX13" fmla="*/ 366377 w 359274"/>
                <a:gd name="connsiteY13" fmla="*/ 47959 h 259011"/>
                <a:gd name="connsiteX14" fmla="*/ 366377 w 359274"/>
                <a:gd name="connsiteY14" fmla="*/ 47959 h 259011"/>
                <a:gd name="connsiteX15" fmla="*/ 366293 w 359274"/>
                <a:gd name="connsiteY15" fmla="*/ 46705 h 259011"/>
                <a:gd name="connsiteX16" fmla="*/ 366293 w 359274"/>
                <a:gd name="connsiteY16" fmla="*/ 46705 h 259011"/>
                <a:gd name="connsiteX17" fmla="*/ 366210 w 359274"/>
                <a:gd name="connsiteY17" fmla="*/ 45452 h 259011"/>
                <a:gd name="connsiteX18" fmla="*/ 366210 w 359274"/>
                <a:gd name="connsiteY18" fmla="*/ 45452 h 259011"/>
                <a:gd name="connsiteX19" fmla="*/ 366042 w 359274"/>
                <a:gd name="connsiteY19" fmla="*/ 44199 h 259011"/>
                <a:gd name="connsiteX20" fmla="*/ 366042 w 359274"/>
                <a:gd name="connsiteY20" fmla="*/ 44199 h 259011"/>
                <a:gd name="connsiteX21" fmla="*/ 365875 w 359274"/>
                <a:gd name="connsiteY21" fmla="*/ 42945 h 259011"/>
                <a:gd name="connsiteX22" fmla="*/ 365875 w 359274"/>
                <a:gd name="connsiteY22" fmla="*/ 42945 h 259011"/>
                <a:gd name="connsiteX23" fmla="*/ 365708 w 359274"/>
                <a:gd name="connsiteY23" fmla="*/ 41692 h 259011"/>
                <a:gd name="connsiteX24" fmla="*/ 365708 w 359274"/>
                <a:gd name="connsiteY24" fmla="*/ 41692 h 259011"/>
                <a:gd name="connsiteX25" fmla="*/ 365457 w 359274"/>
                <a:gd name="connsiteY25" fmla="*/ 40439 h 259011"/>
                <a:gd name="connsiteX26" fmla="*/ 365457 w 359274"/>
                <a:gd name="connsiteY26" fmla="*/ 40439 h 259011"/>
                <a:gd name="connsiteX27" fmla="*/ 365207 w 359274"/>
                <a:gd name="connsiteY27" fmla="*/ 39186 h 259011"/>
                <a:gd name="connsiteX28" fmla="*/ 365207 w 359274"/>
                <a:gd name="connsiteY28" fmla="*/ 39186 h 259011"/>
                <a:gd name="connsiteX29" fmla="*/ 364873 w 359274"/>
                <a:gd name="connsiteY29" fmla="*/ 37933 h 259011"/>
                <a:gd name="connsiteX30" fmla="*/ 364873 w 359274"/>
                <a:gd name="connsiteY30" fmla="*/ 37933 h 259011"/>
                <a:gd name="connsiteX31" fmla="*/ 364538 w 359274"/>
                <a:gd name="connsiteY31" fmla="*/ 36763 h 259011"/>
                <a:gd name="connsiteX32" fmla="*/ 364538 w 359274"/>
                <a:gd name="connsiteY32" fmla="*/ 36763 h 259011"/>
                <a:gd name="connsiteX33" fmla="*/ 364204 w 359274"/>
                <a:gd name="connsiteY33" fmla="*/ 35593 h 259011"/>
                <a:gd name="connsiteX34" fmla="*/ 364204 w 359274"/>
                <a:gd name="connsiteY34" fmla="*/ 35593 h 259011"/>
                <a:gd name="connsiteX35" fmla="*/ 363786 w 359274"/>
                <a:gd name="connsiteY35" fmla="*/ 34423 h 259011"/>
                <a:gd name="connsiteX36" fmla="*/ 363786 w 359274"/>
                <a:gd name="connsiteY36" fmla="*/ 34423 h 259011"/>
                <a:gd name="connsiteX37" fmla="*/ 363369 w 359274"/>
                <a:gd name="connsiteY37" fmla="*/ 33254 h 259011"/>
                <a:gd name="connsiteX38" fmla="*/ 363369 w 359274"/>
                <a:gd name="connsiteY38" fmla="*/ 33254 h 259011"/>
                <a:gd name="connsiteX39" fmla="*/ 362951 w 359274"/>
                <a:gd name="connsiteY39" fmla="*/ 32084 h 259011"/>
                <a:gd name="connsiteX40" fmla="*/ 362951 w 359274"/>
                <a:gd name="connsiteY40" fmla="*/ 32084 h 259011"/>
                <a:gd name="connsiteX41" fmla="*/ 362450 w 359274"/>
                <a:gd name="connsiteY41" fmla="*/ 30914 h 259011"/>
                <a:gd name="connsiteX42" fmla="*/ 362450 w 359274"/>
                <a:gd name="connsiteY42" fmla="*/ 30914 h 259011"/>
                <a:gd name="connsiteX43" fmla="*/ 361948 w 359274"/>
                <a:gd name="connsiteY43" fmla="*/ 29828 h 259011"/>
                <a:gd name="connsiteX44" fmla="*/ 361948 w 359274"/>
                <a:gd name="connsiteY44" fmla="*/ 29828 h 259011"/>
                <a:gd name="connsiteX45" fmla="*/ 361447 w 359274"/>
                <a:gd name="connsiteY45" fmla="*/ 28742 h 259011"/>
                <a:gd name="connsiteX46" fmla="*/ 361447 w 359274"/>
                <a:gd name="connsiteY46" fmla="*/ 28742 h 259011"/>
                <a:gd name="connsiteX47" fmla="*/ 360862 w 359274"/>
                <a:gd name="connsiteY47" fmla="*/ 27656 h 259011"/>
                <a:gd name="connsiteX48" fmla="*/ 360862 w 359274"/>
                <a:gd name="connsiteY48" fmla="*/ 27656 h 259011"/>
                <a:gd name="connsiteX49" fmla="*/ 360277 w 359274"/>
                <a:gd name="connsiteY49" fmla="*/ 26570 h 259011"/>
                <a:gd name="connsiteX50" fmla="*/ 360277 w 359274"/>
                <a:gd name="connsiteY50" fmla="*/ 26570 h 259011"/>
                <a:gd name="connsiteX51" fmla="*/ 359692 w 359274"/>
                <a:gd name="connsiteY51" fmla="*/ 25483 h 259011"/>
                <a:gd name="connsiteX52" fmla="*/ 359692 w 359274"/>
                <a:gd name="connsiteY52" fmla="*/ 25483 h 259011"/>
                <a:gd name="connsiteX53" fmla="*/ 359108 w 359274"/>
                <a:gd name="connsiteY53" fmla="*/ 24397 h 259011"/>
                <a:gd name="connsiteX54" fmla="*/ 359108 w 359274"/>
                <a:gd name="connsiteY54" fmla="*/ 24397 h 259011"/>
                <a:gd name="connsiteX55" fmla="*/ 358439 w 359274"/>
                <a:gd name="connsiteY55" fmla="*/ 23395 h 259011"/>
                <a:gd name="connsiteX56" fmla="*/ 358439 w 359274"/>
                <a:gd name="connsiteY56" fmla="*/ 23395 h 259011"/>
                <a:gd name="connsiteX57" fmla="*/ 357771 w 359274"/>
                <a:gd name="connsiteY57" fmla="*/ 22392 h 259011"/>
                <a:gd name="connsiteX58" fmla="*/ 357771 w 359274"/>
                <a:gd name="connsiteY58" fmla="*/ 22392 h 259011"/>
                <a:gd name="connsiteX59" fmla="*/ 357102 w 359274"/>
                <a:gd name="connsiteY59" fmla="*/ 21389 h 259011"/>
                <a:gd name="connsiteX60" fmla="*/ 357102 w 359274"/>
                <a:gd name="connsiteY60" fmla="*/ 21389 h 259011"/>
                <a:gd name="connsiteX61" fmla="*/ 356350 w 359274"/>
                <a:gd name="connsiteY61" fmla="*/ 20387 h 259011"/>
                <a:gd name="connsiteX62" fmla="*/ 356350 w 359274"/>
                <a:gd name="connsiteY62" fmla="*/ 20387 h 259011"/>
                <a:gd name="connsiteX63" fmla="*/ 355598 w 359274"/>
                <a:gd name="connsiteY63" fmla="*/ 19467 h 259011"/>
                <a:gd name="connsiteX64" fmla="*/ 355598 w 359274"/>
                <a:gd name="connsiteY64" fmla="*/ 19467 h 259011"/>
                <a:gd name="connsiteX65" fmla="*/ 354846 w 359274"/>
                <a:gd name="connsiteY65" fmla="*/ 18548 h 259011"/>
                <a:gd name="connsiteX66" fmla="*/ 354846 w 359274"/>
                <a:gd name="connsiteY66" fmla="*/ 18548 h 259011"/>
                <a:gd name="connsiteX67" fmla="*/ 354094 w 359274"/>
                <a:gd name="connsiteY67" fmla="*/ 17629 h 259011"/>
                <a:gd name="connsiteX68" fmla="*/ 354094 w 359274"/>
                <a:gd name="connsiteY68" fmla="*/ 17629 h 259011"/>
                <a:gd name="connsiteX69" fmla="*/ 353259 w 359274"/>
                <a:gd name="connsiteY69" fmla="*/ 16710 h 259011"/>
                <a:gd name="connsiteX70" fmla="*/ 353259 w 359274"/>
                <a:gd name="connsiteY70" fmla="*/ 16710 h 259011"/>
                <a:gd name="connsiteX71" fmla="*/ 352423 w 359274"/>
                <a:gd name="connsiteY71" fmla="*/ 15791 h 259011"/>
                <a:gd name="connsiteX72" fmla="*/ 352423 w 359274"/>
                <a:gd name="connsiteY72" fmla="*/ 15791 h 259011"/>
                <a:gd name="connsiteX73" fmla="*/ 351588 w 359274"/>
                <a:gd name="connsiteY73" fmla="*/ 14956 h 259011"/>
                <a:gd name="connsiteX74" fmla="*/ 351588 w 359274"/>
                <a:gd name="connsiteY74" fmla="*/ 14956 h 259011"/>
                <a:gd name="connsiteX75" fmla="*/ 350752 w 359274"/>
                <a:gd name="connsiteY75" fmla="*/ 14120 h 259011"/>
                <a:gd name="connsiteX76" fmla="*/ 350752 w 359274"/>
                <a:gd name="connsiteY76" fmla="*/ 14120 h 259011"/>
                <a:gd name="connsiteX77" fmla="*/ 349833 w 359274"/>
                <a:gd name="connsiteY77" fmla="*/ 13285 h 259011"/>
                <a:gd name="connsiteX78" fmla="*/ 349833 w 359274"/>
                <a:gd name="connsiteY78" fmla="*/ 13285 h 259011"/>
                <a:gd name="connsiteX79" fmla="*/ 348914 w 359274"/>
                <a:gd name="connsiteY79" fmla="*/ 12449 h 259011"/>
                <a:gd name="connsiteX80" fmla="*/ 348914 w 359274"/>
                <a:gd name="connsiteY80" fmla="*/ 12449 h 259011"/>
                <a:gd name="connsiteX81" fmla="*/ 347995 w 359274"/>
                <a:gd name="connsiteY81" fmla="*/ 11697 h 259011"/>
                <a:gd name="connsiteX82" fmla="*/ 347995 w 359274"/>
                <a:gd name="connsiteY82" fmla="*/ 11697 h 259011"/>
                <a:gd name="connsiteX83" fmla="*/ 347076 w 359274"/>
                <a:gd name="connsiteY83" fmla="*/ 10945 h 259011"/>
                <a:gd name="connsiteX84" fmla="*/ 347076 w 359274"/>
                <a:gd name="connsiteY84" fmla="*/ 10945 h 259011"/>
                <a:gd name="connsiteX85" fmla="*/ 346157 w 359274"/>
                <a:gd name="connsiteY85" fmla="*/ 10193 h 259011"/>
                <a:gd name="connsiteX86" fmla="*/ 346157 w 359274"/>
                <a:gd name="connsiteY86" fmla="*/ 10193 h 259011"/>
                <a:gd name="connsiteX87" fmla="*/ 345154 w 359274"/>
                <a:gd name="connsiteY87" fmla="*/ 9441 h 259011"/>
                <a:gd name="connsiteX88" fmla="*/ 345154 w 359274"/>
                <a:gd name="connsiteY88" fmla="*/ 9441 h 259011"/>
                <a:gd name="connsiteX89" fmla="*/ 344152 w 359274"/>
                <a:gd name="connsiteY89" fmla="*/ 8773 h 259011"/>
                <a:gd name="connsiteX90" fmla="*/ 344152 w 359274"/>
                <a:gd name="connsiteY90" fmla="*/ 8773 h 259011"/>
                <a:gd name="connsiteX91" fmla="*/ 343149 w 359274"/>
                <a:gd name="connsiteY91" fmla="*/ 8104 h 259011"/>
                <a:gd name="connsiteX92" fmla="*/ 343149 w 359274"/>
                <a:gd name="connsiteY92" fmla="*/ 8104 h 259011"/>
                <a:gd name="connsiteX93" fmla="*/ 342146 w 359274"/>
                <a:gd name="connsiteY93" fmla="*/ 7436 h 259011"/>
                <a:gd name="connsiteX94" fmla="*/ 342146 w 359274"/>
                <a:gd name="connsiteY94" fmla="*/ 7436 h 259011"/>
                <a:gd name="connsiteX95" fmla="*/ 341060 w 359274"/>
                <a:gd name="connsiteY95" fmla="*/ 6851 h 259011"/>
                <a:gd name="connsiteX96" fmla="*/ 341060 w 359274"/>
                <a:gd name="connsiteY96" fmla="*/ 6851 h 259011"/>
                <a:gd name="connsiteX97" fmla="*/ 339974 w 359274"/>
                <a:gd name="connsiteY97" fmla="*/ 6266 h 259011"/>
                <a:gd name="connsiteX98" fmla="*/ 339974 w 359274"/>
                <a:gd name="connsiteY98" fmla="*/ 6266 h 259011"/>
                <a:gd name="connsiteX99" fmla="*/ 338888 w 359274"/>
                <a:gd name="connsiteY99" fmla="*/ 5681 h 259011"/>
                <a:gd name="connsiteX100" fmla="*/ 338888 w 359274"/>
                <a:gd name="connsiteY100" fmla="*/ 5681 h 259011"/>
                <a:gd name="connsiteX101" fmla="*/ 337802 w 359274"/>
                <a:gd name="connsiteY101" fmla="*/ 5097 h 259011"/>
                <a:gd name="connsiteX102" fmla="*/ 337802 w 359274"/>
                <a:gd name="connsiteY102" fmla="*/ 5097 h 259011"/>
                <a:gd name="connsiteX103" fmla="*/ 336716 w 359274"/>
                <a:gd name="connsiteY103" fmla="*/ 4595 h 259011"/>
                <a:gd name="connsiteX104" fmla="*/ 336716 w 359274"/>
                <a:gd name="connsiteY104" fmla="*/ 4595 h 259011"/>
                <a:gd name="connsiteX105" fmla="*/ 335629 w 359274"/>
                <a:gd name="connsiteY105" fmla="*/ 4094 h 259011"/>
                <a:gd name="connsiteX106" fmla="*/ 335629 w 359274"/>
                <a:gd name="connsiteY106" fmla="*/ 4094 h 259011"/>
                <a:gd name="connsiteX107" fmla="*/ 334460 w 359274"/>
                <a:gd name="connsiteY107" fmla="*/ 3593 h 259011"/>
                <a:gd name="connsiteX108" fmla="*/ 334460 w 359274"/>
                <a:gd name="connsiteY108" fmla="*/ 3593 h 259011"/>
                <a:gd name="connsiteX109" fmla="*/ 333290 w 359274"/>
                <a:gd name="connsiteY109" fmla="*/ 3175 h 259011"/>
                <a:gd name="connsiteX110" fmla="*/ 333290 w 359274"/>
                <a:gd name="connsiteY110" fmla="*/ 3175 h 259011"/>
                <a:gd name="connsiteX111" fmla="*/ 332120 w 359274"/>
                <a:gd name="connsiteY111" fmla="*/ 2757 h 259011"/>
                <a:gd name="connsiteX112" fmla="*/ 332120 w 359274"/>
                <a:gd name="connsiteY112" fmla="*/ 2757 h 259011"/>
                <a:gd name="connsiteX113" fmla="*/ 330951 w 359274"/>
                <a:gd name="connsiteY113" fmla="*/ 2339 h 259011"/>
                <a:gd name="connsiteX114" fmla="*/ 330951 w 359274"/>
                <a:gd name="connsiteY114" fmla="*/ 2339 h 259011"/>
                <a:gd name="connsiteX115" fmla="*/ 329781 w 359274"/>
                <a:gd name="connsiteY115" fmla="*/ 2005 h 259011"/>
                <a:gd name="connsiteX116" fmla="*/ 329781 w 359274"/>
                <a:gd name="connsiteY116" fmla="*/ 2005 h 259011"/>
                <a:gd name="connsiteX117" fmla="*/ 328611 w 359274"/>
                <a:gd name="connsiteY117" fmla="*/ 1671 h 259011"/>
                <a:gd name="connsiteX118" fmla="*/ 328611 w 359274"/>
                <a:gd name="connsiteY118" fmla="*/ 1671 h 259011"/>
                <a:gd name="connsiteX119" fmla="*/ 327441 w 359274"/>
                <a:gd name="connsiteY119" fmla="*/ 1337 h 259011"/>
                <a:gd name="connsiteX120" fmla="*/ 327441 w 359274"/>
                <a:gd name="connsiteY120" fmla="*/ 1337 h 259011"/>
                <a:gd name="connsiteX121" fmla="*/ 326188 w 359274"/>
                <a:gd name="connsiteY121" fmla="*/ 1086 h 259011"/>
                <a:gd name="connsiteX122" fmla="*/ 326188 w 359274"/>
                <a:gd name="connsiteY122" fmla="*/ 1086 h 259011"/>
                <a:gd name="connsiteX123" fmla="*/ 324935 w 359274"/>
                <a:gd name="connsiteY123" fmla="*/ 835 h 259011"/>
                <a:gd name="connsiteX124" fmla="*/ 324935 w 359274"/>
                <a:gd name="connsiteY124" fmla="*/ 835 h 259011"/>
                <a:gd name="connsiteX125" fmla="*/ 323681 w 359274"/>
                <a:gd name="connsiteY125" fmla="*/ 585 h 259011"/>
                <a:gd name="connsiteX126" fmla="*/ 323681 w 359274"/>
                <a:gd name="connsiteY126" fmla="*/ 585 h 259011"/>
                <a:gd name="connsiteX127" fmla="*/ 322428 w 359274"/>
                <a:gd name="connsiteY127" fmla="*/ 418 h 259011"/>
                <a:gd name="connsiteX128" fmla="*/ 322428 w 359274"/>
                <a:gd name="connsiteY128" fmla="*/ 418 h 259011"/>
                <a:gd name="connsiteX129" fmla="*/ 321175 w 359274"/>
                <a:gd name="connsiteY129" fmla="*/ 250 h 259011"/>
                <a:gd name="connsiteX130" fmla="*/ 321175 w 359274"/>
                <a:gd name="connsiteY130" fmla="*/ 250 h 259011"/>
                <a:gd name="connsiteX131" fmla="*/ 319922 w 359274"/>
                <a:gd name="connsiteY131" fmla="*/ 167 h 259011"/>
                <a:gd name="connsiteX132" fmla="*/ 319922 w 359274"/>
                <a:gd name="connsiteY132" fmla="*/ 167 h 259011"/>
                <a:gd name="connsiteX133" fmla="*/ 318668 w 359274"/>
                <a:gd name="connsiteY133" fmla="*/ 84 h 259011"/>
                <a:gd name="connsiteX134" fmla="*/ 318668 w 359274"/>
                <a:gd name="connsiteY134" fmla="*/ 84 h 259011"/>
                <a:gd name="connsiteX135" fmla="*/ 318250 w 359274"/>
                <a:gd name="connsiteY135" fmla="*/ 84 h 259011"/>
                <a:gd name="connsiteX136" fmla="*/ 316580 w 359274"/>
                <a:gd name="connsiteY136" fmla="*/ 0 h 259011"/>
                <a:gd name="connsiteX137" fmla="*/ 316162 w 359274"/>
                <a:gd name="connsiteY137" fmla="*/ 0 h 259011"/>
                <a:gd name="connsiteX138" fmla="*/ 316162 w 359274"/>
                <a:gd name="connsiteY138" fmla="*/ 0 h 259011"/>
                <a:gd name="connsiteX139" fmla="*/ 298616 w 359274"/>
                <a:gd name="connsiteY139" fmla="*/ 0 h 259011"/>
                <a:gd name="connsiteX140" fmla="*/ 50800 w 359274"/>
                <a:gd name="connsiteY140" fmla="*/ 0 h 259011"/>
                <a:gd name="connsiteX141" fmla="*/ 0 w 359274"/>
                <a:gd name="connsiteY141" fmla="*/ 50549 h 259011"/>
                <a:gd name="connsiteX142" fmla="*/ 0 w 359274"/>
                <a:gd name="connsiteY142" fmla="*/ 50549 h 259011"/>
                <a:gd name="connsiteX143" fmla="*/ 366460 w 359274"/>
                <a:gd name="connsiteY143" fmla="*/ 50549 h 259011"/>
                <a:gd name="connsiteX144" fmla="*/ 366460 w 359274"/>
                <a:gd name="connsiteY144" fmla="*/ 50549 h 259011"/>
                <a:gd name="connsiteX145" fmla="*/ 366460 w 359274"/>
                <a:gd name="connsiteY145" fmla="*/ 50549 h 25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59274" h="259011">
                  <a:moveTo>
                    <a:pt x="0" y="50549"/>
                  </a:moveTo>
                  <a:lnTo>
                    <a:pt x="0" y="68095"/>
                  </a:lnTo>
                  <a:cubicBezTo>
                    <a:pt x="0" y="95918"/>
                    <a:pt x="22726" y="118644"/>
                    <a:pt x="50549" y="118644"/>
                  </a:cubicBezTo>
                  <a:lnTo>
                    <a:pt x="176797" y="118644"/>
                  </a:lnTo>
                  <a:cubicBezTo>
                    <a:pt x="215899" y="118644"/>
                    <a:pt x="247816" y="150561"/>
                    <a:pt x="247816" y="189664"/>
                  </a:cubicBezTo>
                  <a:lnTo>
                    <a:pt x="247816" y="212306"/>
                  </a:lnTo>
                  <a:cubicBezTo>
                    <a:pt x="247816" y="240129"/>
                    <a:pt x="270542" y="262855"/>
                    <a:pt x="298365" y="262855"/>
                  </a:cubicBezTo>
                  <a:lnTo>
                    <a:pt x="315911" y="262855"/>
                  </a:lnTo>
                  <a:cubicBezTo>
                    <a:pt x="343734" y="262855"/>
                    <a:pt x="366460" y="240129"/>
                    <a:pt x="366460" y="212306"/>
                  </a:cubicBezTo>
                  <a:lnTo>
                    <a:pt x="366460" y="68095"/>
                  </a:lnTo>
                  <a:lnTo>
                    <a:pt x="366460" y="50549"/>
                  </a:lnTo>
                  <a:lnTo>
                    <a:pt x="366460" y="49212"/>
                  </a:lnTo>
                  <a:lnTo>
                    <a:pt x="366460" y="49212"/>
                  </a:lnTo>
                  <a:lnTo>
                    <a:pt x="366377" y="47959"/>
                  </a:lnTo>
                  <a:lnTo>
                    <a:pt x="366377" y="47959"/>
                  </a:lnTo>
                  <a:lnTo>
                    <a:pt x="366293" y="46705"/>
                  </a:lnTo>
                  <a:lnTo>
                    <a:pt x="366293" y="46705"/>
                  </a:lnTo>
                  <a:lnTo>
                    <a:pt x="366210" y="45452"/>
                  </a:lnTo>
                  <a:lnTo>
                    <a:pt x="366210" y="45452"/>
                  </a:lnTo>
                  <a:lnTo>
                    <a:pt x="366042" y="44199"/>
                  </a:lnTo>
                  <a:lnTo>
                    <a:pt x="366042" y="44199"/>
                  </a:lnTo>
                  <a:lnTo>
                    <a:pt x="365875" y="42945"/>
                  </a:lnTo>
                  <a:lnTo>
                    <a:pt x="365875" y="42945"/>
                  </a:lnTo>
                  <a:lnTo>
                    <a:pt x="365708" y="41692"/>
                  </a:lnTo>
                  <a:lnTo>
                    <a:pt x="365708" y="41692"/>
                  </a:lnTo>
                  <a:cubicBezTo>
                    <a:pt x="365625" y="41275"/>
                    <a:pt x="365541" y="40857"/>
                    <a:pt x="365457" y="40439"/>
                  </a:cubicBezTo>
                  <a:lnTo>
                    <a:pt x="365457" y="40439"/>
                  </a:lnTo>
                  <a:lnTo>
                    <a:pt x="365207" y="39186"/>
                  </a:lnTo>
                  <a:lnTo>
                    <a:pt x="365207" y="39186"/>
                  </a:lnTo>
                  <a:lnTo>
                    <a:pt x="364873" y="37933"/>
                  </a:lnTo>
                  <a:lnTo>
                    <a:pt x="364873" y="37933"/>
                  </a:lnTo>
                  <a:lnTo>
                    <a:pt x="364538" y="36763"/>
                  </a:lnTo>
                  <a:lnTo>
                    <a:pt x="364538" y="36763"/>
                  </a:lnTo>
                  <a:lnTo>
                    <a:pt x="364204" y="35593"/>
                  </a:lnTo>
                  <a:lnTo>
                    <a:pt x="364204" y="35593"/>
                  </a:lnTo>
                  <a:lnTo>
                    <a:pt x="363786" y="34423"/>
                  </a:lnTo>
                  <a:lnTo>
                    <a:pt x="363786" y="34423"/>
                  </a:lnTo>
                  <a:lnTo>
                    <a:pt x="363369" y="33254"/>
                  </a:lnTo>
                  <a:lnTo>
                    <a:pt x="363369" y="33254"/>
                  </a:lnTo>
                  <a:lnTo>
                    <a:pt x="362951" y="32084"/>
                  </a:lnTo>
                  <a:lnTo>
                    <a:pt x="362951" y="32084"/>
                  </a:lnTo>
                  <a:lnTo>
                    <a:pt x="362450" y="30914"/>
                  </a:lnTo>
                  <a:lnTo>
                    <a:pt x="362450" y="30914"/>
                  </a:lnTo>
                  <a:lnTo>
                    <a:pt x="361948" y="29828"/>
                  </a:lnTo>
                  <a:lnTo>
                    <a:pt x="361948" y="29828"/>
                  </a:lnTo>
                  <a:lnTo>
                    <a:pt x="361447" y="28742"/>
                  </a:lnTo>
                  <a:lnTo>
                    <a:pt x="361447" y="28742"/>
                  </a:lnTo>
                  <a:lnTo>
                    <a:pt x="360862" y="27656"/>
                  </a:lnTo>
                  <a:lnTo>
                    <a:pt x="360862" y="27656"/>
                  </a:lnTo>
                  <a:cubicBezTo>
                    <a:pt x="360695" y="27321"/>
                    <a:pt x="360528" y="26904"/>
                    <a:pt x="360277" y="26570"/>
                  </a:cubicBezTo>
                  <a:lnTo>
                    <a:pt x="360277" y="26570"/>
                  </a:lnTo>
                  <a:lnTo>
                    <a:pt x="359692" y="25483"/>
                  </a:lnTo>
                  <a:lnTo>
                    <a:pt x="359692" y="25483"/>
                  </a:lnTo>
                  <a:cubicBezTo>
                    <a:pt x="359525" y="25149"/>
                    <a:pt x="359275" y="24815"/>
                    <a:pt x="359108" y="24397"/>
                  </a:cubicBezTo>
                  <a:lnTo>
                    <a:pt x="359108" y="24397"/>
                  </a:lnTo>
                  <a:lnTo>
                    <a:pt x="358439" y="23395"/>
                  </a:lnTo>
                  <a:lnTo>
                    <a:pt x="358439" y="23395"/>
                  </a:lnTo>
                  <a:lnTo>
                    <a:pt x="357771" y="22392"/>
                  </a:lnTo>
                  <a:lnTo>
                    <a:pt x="357771" y="22392"/>
                  </a:lnTo>
                  <a:lnTo>
                    <a:pt x="357102" y="21389"/>
                  </a:lnTo>
                  <a:lnTo>
                    <a:pt x="357102" y="21389"/>
                  </a:lnTo>
                  <a:lnTo>
                    <a:pt x="356350" y="20387"/>
                  </a:lnTo>
                  <a:lnTo>
                    <a:pt x="356350" y="20387"/>
                  </a:lnTo>
                  <a:lnTo>
                    <a:pt x="355598" y="19467"/>
                  </a:lnTo>
                  <a:lnTo>
                    <a:pt x="355598" y="19467"/>
                  </a:lnTo>
                  <a:cubicBezTo>
                    <a:pt x="355348" y="19133"/>
                    <a:pt x="355097" y="18799"/>
                    <a:pt x="354846" y="18548"/>
                  </a:cubicBezTo>
                  <a:lnTo>
                    <a:pt x="354846" y="18548"/>
                  </a:lnTo>
                  <a:lnTo>
                    <a:pt x="354094" y="17629"/>
                  </a:lnTo>
                  <a:lnTo>
                    <a:pt x="354094" y="17629"/>
                  </a:lnTo>
                  <a:lnTo>
                    <a:pt x="353259" y="16710"/>
                  </a:lnTo>
                  <a:lnTo>
                    <a:pt x="353259" y="16710"/>
                  </a:lnTo>
                  <a:lnTo>
                    <a:pt x="352423" y="15791"/>
                  </a:lnTo>
                  <a:lnTo>
                    <a:pt x="352423" y="15791"/>
                  </a:lnTo>
                  <a:lnTo>
                    <a:pt x="351588" y="14956"/>
                  </a:lnTo>
                  <a:lnTo>
                    <a:pt x="351588" y="14956"/>
                  </a:lnTo>
                  <a:lnTo>
                    <a:pt x="350752" y="14120"/>
                  </a:lnTo>
                  <a:lnTo>
                    <a:pt x="350752" y="14120"/>
                  </a:lnTo>
                  <a:lnTo>
                    <a:pt x="349833" y="13285"/>
                  </a:lnTo>
                  <a:lnTo>
                    <a:pt x="349833" y="13285"/>
                  </a:lnTo>
                  <a:lnTo>
                    <a:pt x="348914" y="12449"/>
                  </a:lnTo>
                  <a:lnTo>
                    <a:pt x="348914" y="12449"/>
                  </a:lnTo>
                  <a:lnTo>
                    <a:pt x="347995" y="11697"/>
                  </a:lnTo>
                  <a:lnTo>
                    <a:pt x="347995" y="11697"/>
                  </a:lnTo>
                  <a:cubicBezTo>
                    <a:pt x="347661" y="11447"/>
                    <a:pt x="347327" y="11196"/>
                    <a:pt x="347076" y="10945"/>
                  </a:cubicBezTo>
                  <a:lnTo>
                    <a:pt x="347076" y="10945"/>
                  </a:lnTo>
                  <a:cubicBezTo>
                    <a:pt x="346742" y="10694"/>
                    <a:pt x="346407" y="10444"/>
                    <a:pt x="346157" y="10193"/>
                  </a:cubicBezTo>
                  <a:lnTo>
                    <a:pt x="346157" y="10193"/>
                  </a:lnTo>
                  <a:lnTo>
                    <a:pt x="345154" y="9441"/>
                  </a:lnTo>
                  <a:lnTo>
                    <a:pt x="345154" y="9441"/>
                  </a:lnTo>
                  <a:lnTo>
                    <a:pt x="344152" y="8773"/>
                  </a:lnTo>
                  <a:lnTo>
                    <a:pt x="344152" y="8773"/>
                  </a:lnTo>
                  <a:lnTo>
                    <a:pt x="343149" y="8104"/>
                  </a:lnTo>
                  <a:lnTo>
                    <a:pt x="343149" y="8104"/>
                  </a:lnTo>
                  <a:lnTo>
                    <a:pt x="342146" y="7436"/>
                  </a:lnTo>
                  <a:lnTo>
                    <a:pt x="342146" y="7436"/>
                  </a:lnTo>
                  <a:lnTo>
                    <a:pt x="341060" y="6851"/>
                  </a:lnTo>
                  <a:lnTo>
                    <a:pt x="341060" y="6851"/>
                  </a:lnTo>
                  <a:lnTo>
                    <a:pt x="339974" y="6266"/>
                  </a:lnTo>
                  <a:lnTo>
                    <a:pt x="339974" y="6266"/>
                  </a:lnTo>
                  <a:lnTo>
                    <a:pt x="338888" y="5681"/>
                  </a:lnTo>
                  <a:lnTo>
                    <a:pt x="338888" y="5681"/>
                  </a:lnTo>
                  <a:lnTo>
                    <a:pt x="337802" y="5097"/>
                  </a:lnTo>
                  <a:lnTo>
                    <a:pt x="337802" y="5097"/>
                  </a:lnTo>
                  <a:lnTo>
                    <a:pt x="336716" y="4595"/>
                  </a:lnTo>
                  <a:lnTo>
                    <a:pt x="336716" y="4595"/>
                  </a:lnTo>
                  <a:cubicBezTo>
                    <a:pt x="336381" y="4428"/>
                    <a:pt x="335963" y="4261"/>
                    <a:pt x="335629" y="4094"/>
                  </a:cubicBezTo>
                  <a:lnTo>
                    <a:pt x="335629" y="4094"/>
                  </a:lnTo>
                  <a:lnTo>
                    <a:pt x="334460" y="3593"/>
                  </a:lnTo>
                  <a:lnTo>
                    <a:pt x="334460" y="3593"/>
                  </a:lnTo>
                  <a:lnTo>
                    <a:pt x="333290" y="3175"/>
                  </a:lnTo>
                  <a:lnTo>
                    <a:pt x="333290" y="3175"/>
                  </a:lnTo>
                  <a:lnTo>
                    <a:pt x="332120" y="2757"/>
                  </a:lnTo>
                  <a:lnTo>
                    <a:pt x="332120" y="2757"/>
                  </a:lnTo>
                  <a:lnTo>
                    <a:pt x="330951" y="2339"/>
                  </a:lnTo>
                  <a:lnTo>
                    <a:pt x="330951" y="2339"/>
                  </a:lnTo>
                  <a:lnTo>
                    <a:pt x="329781" y="2005"/>
                  </a:lnTo>
                  <a:lnTo>
                    <a:pt x="329781" y="2005"/>
                  </a:lnTo>
                  <a:lnTo>
                    <a:pt x="328611" y="1671"/>
                  </a:lnTo>
                  <a:lnTo>
                    <a:pt x="328611" y="1671"/>
                  </a:lnTo>
                  <a:lnTo>
                    <a:pt x="327441" y="1337"/>
                  </a:lnTo>
                  <a:lnTo>
                    <a:pt x="327441" y="1337"/>
                  </a:lnTo>
                  <a:lnTo>
                    <a:pt x="326188" y="1086"/>
                  </a:lnTo>
                  <a:lnTo>
                    <a:pt x="326188" y="1086"/>
                  </a:lnTo>
                  <a:cubicBezTo>
                    <a:pt x="325770" y="1003"/>
                    <a:pt x="325352" y="919"/>
                    <a:pt x="324935" y="835"/>
                  </a:cubicBezTo>
                  <a:lnTo>
                    <a:pt x="324935" y="835"/>
                  </a:lnTo>
                  <a:lnTo>
                    <a:pt x="323681" y="585"/>
                  </a:lnTo>
                  <a:lnTo>
                    <a:pt x="323681" y="585"/>
                  </a:lnTo>
                  <a:lnTo>
                    <a:pt x="322428" y="418"/>
                  </a:lnTo>
                  <a:lnTo>
                    <a:pt x="322428" y="418"/>
                  </a:lnTo>
                  <a:lnTo>
                    <a:pt x="321175" y="250"/>
                  </a:lnTo>
                  <a:lnTo>
                    <a:pt x="321175" y="250"/>
                  </a:lnTo>
                  <a:lnTo>
                    <a:pt x="319922" y="167"/>
                  </a:lnTo>
                  <a:lnTo>
                    <a:pt x="319922" y="167"/>
                  </a:lnTo>
                  <a:lnTo>
                    <a:pt x="318668" y="84"/>
                  </a:lnTo>
                  <a:lnTo>
                    <a:pt x="318668" y="84"/>
                  </a:lnTo>
                  <a:lnTo>
                    <a:pt x="318250" y="84"/>
                  </a:lnTo>
                  <a:cubicBezTo>
                    <a:pt x="317666" y="84"/>
                    <a:pt x="317164" y="84"/>
                    <a:pt x="316580" y="0"/>
                  </a:cubicBezTo>
                  <a:lnTo>
                    <a:pt x="316162" y="0"/>
                  </a:lnTo>
                  <a:lnTo>
                    <a:pt x="316162" y="0"/>
                  </a:lnTo>
                  <a:lnTo>
                    <a:pt x="298616" y="0"/>
                  </a:lnTo>
                  <a:lnTo>
                    <a:pt x="50800" y="0"/>
                  </a:lnTo>
                  <a:cubicBezTo>
                    <a:pt x="22726" y="0"/>
                    <a:pt x="0" y="22726"/>
                    <a:pt x="0" y="50549"/>
                  </a:cubicBezTo>
                  <a:lnTo>
                    <a:pt x="0" y="50549"/>
                  </a:lnTo>
                  <a:close/>
                  <a:moveTo>
                    <a:pt x="366460" y="50549"/>
                  </a:moveTo>
                  <a:lnTo>
                    <a:pt x="366460" y="50549"/>
                  </a:lnTo>
                  <a:lnTo>
                    <a:pt x="366460" y="50549"/>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1" name="Freeform: Shape 160">
              <a:extLst>
                <a:ext uri="{FF2B5EF4-FFF2-40B4-BE49-F238E27FC236}">
                  <a16:creationId xmlns:a16="http://schemas.microsoft.com/office/drawing/2014/main" id="{9144509A-7E28-4A2B-8FD3-869833ABDDBD}"/>
                </a:ext>
              </a:extLst>
            </p:cNvPr>
            <p:cNvSpPr/>
            <p:nvPr/>
          </p:nvSpPr>
          <p:spPr>
            <a:xfrm>
              <a:off x="13130032" y="4908762"/>
              <a:ext cx="1520650" cy="1403677"/>
            </a:xfrm>
            <a:custGeom>
              <a:avLst/>
              <a:gdLst>
                <a:gd name="connsiteX0" fmla="*/ 418 w 1520650"/>
                <a:gd name="connsiteY0" fmla="*/ 451683 h 1403677"/>
                <a:gd name="connsiteX1" fmla="*/ 42110 w 1520650"/>
                <a:gd name="connsiteY1" fmla="*/ 388351 h 1403677"/>
                <a:gd name="connsiteX2" fmla="*/ 205956 w 1520650"/>
                <a:gd name="connsiteY2" fmla="*/ 388351 h 1403677"/>
                <a:gd name="connsiteX3" fmla="*/ 280151 w 1520650"/>
                <a:gd name="connsiteY3" fmla="*/ 445668 h 1403677"/>
                <a:gd name="connsiteX4" fmla="*/ 280151 w 1520650"/>
                <a:gd name="connsiteY4" fmla="*/ 462295 h 1403677"/>
                <a:gd name="connsiteX5" fmla="*/ 330700 w 1520650"/>
                <a:gd name="connsiteY5" fmla="*/ 512844 h 1403677"/>
                <a:gd name="connsiteX6" fmla="*/ 355348 w 1520650"/>
                <a:gd name="connsiteY6" fmla="*/ 512844 h 1403677"/>
                <a:gd name="connsiteX7" fmla="*/ 426367 w 1520650"/>
                <a:gd name="connsiteY7" fmla="*/ 583863 h 1403677"/>
                <a:gd name="connsiteX8" fmla="*/ 426367 w 1520650"/>
                <a:gd name="connsiteY8" fmla="*/ 590129 h 1403677"/>
                <a:gd name="connsiteX9" fmla="*/ 426367 w 1520650"/>
                <a:gd name="connsiteY9" fmla="*/ 591466 h 1403677"/>
                <a:gd name="connsiteX10" fmla="*/ 426367 w 1520650"/>
                <a:gd name="connsiteY10" fmla="*/ 591466 h 1403677"/>
                <a:gd name="connsiteX11" fmla="*/ 426451 w 1520650"/>
                <a:gd name="connsiteY11" fmla="*/ 592720 h 1403677"/>
                <a:gd name="connsiteX12" fmla="*/ 426451 w 1520650"/>
                <a:gd name="connsiteY12" fmla="*/ 592720 h 1403677"/>
                <a:gd name="connsiteX13" fmla="*/ 426534 w 1520650"/>
                <a:gd name="connsiteY13" fmla="*/ 593973 h 1403677"/>
                <a:gd name="connsiteX14" fmla="*/ 426534 w 1520650"/>
                <a:gd name="connsiteY14" fmla="*/ 593973 h 1403677"/>
                <a:gd name="connsiteX15" fmla="*/ 426618 w 1520650"/>
                <a:gd name="connsiteY15" fmla="*/ 595226 h 1403677"/>
                <a:gd name="connsiteX16" fmla="*/ 426618 w 1520650"/>
                <a:gd name="connsiteY16" fmla="*/ 595226 h 1403677"/>
                <a:gd name="connsiteX17" fmla="*/ 426785 w 1520650"/>
                <a:gd name="connsiteY17" fmla="*/ 596480 h 1403677"/>
                <a:gd name="connsiteX18" fmla="*/ 426785 w 1520650"/>
                <a:gd name="connsiteY18" fmla="*/ 596480 h 1403677"/>
                <a:gd name="connsiteX19" fmla="*/ 426952 w 1520650"/>
                <a:gd name="connsiteY19" fmla="*/ 597733 h 1403677"/>
                <a:gd name="connsiteX20" fmla="*/ 426952 w 1520650"/>
                <a:gd name="connsiteY20" fmla="*/ 597733 h 1403677"/>
                <a:gd name="connsiteX21" fmla="*/ 427119 w 1520650"/>
                <a:gd name="connsiteY21" fmla="*/ 598986 h 1403677"/>
                <a:gd name="connsiteX22" fmla="*/ 427119 w 1520650"/>
                <a:gd name="connsiteY22" fmla="*/ 598986 h 1403677"/>
                <a:gd name="connsiteX23" fmla="*/ 446670 w 1520650"/>
                <a:gd name="connsiteY23" fmla="*/ 630569 h 1403677"/>
                <a:gd name="connsiteX24" fmla="*/ 446670 w 1520650"/>
                <a:gd name="connsiteY24" fmla="*/ 630569 h 1403677"/>
                <a:gd name="connsiteX25" fmla="*/ 447673 w 1520650"/>
                <a:gd name="connsiteY25" fmla="*/ 631321 h 1403677"/>
                <a:gd name="connsiteX26" fmla="*/ 447673 w 1520650"/>
                <a:gd name="connsiteY26" fmla="*/ 631321 h 1403677"/>
                <a:gd name="connsiteX27" fmla="*/ 448676 w 1520650"/>
                <a:gd name="connsiteY27" fmla="*/ 631989 h 1403677"/>
                <a:gd name="connsiteX28" fmla="*/ 448676 w 1520650"/>
                <a:gd name="connsiteY28" fmla="*/ 631989 h 1403677"/>
                <a:gd name="connsiteX29" fmla="*/ 449678 w 1520650"/>
                <a:gd name="connsiteY29" fmla="*/ 632658 h 1403677"/>
                <a:gd name="connsiteX30" fmla="*/ 449678 w 1520650"/>
                <a:gd name="connsiteY30" fmla="*/ 632658 h 1403677"/>
                <a:gd name="connsiteX31" fmla="*/ 450681 w 1520650"/>
                <a:gd name="connsiteY31" fmla="*/ 633326 h 1403677"/>
                <a:gd name="connsiteX32" fmla="*/ 450681 w 1520650"/>
                <a:gd name="connsiteY32" fmla="*/ 633326 h 1403677"/>
                <a:gd name="connsiteX33" fmla="*/ 451182 w 1520650"/>
                <a:gd name="connsiteY33" fmla="*/ 633577 h 1403677"/>
                <a:gd name="connsiteX34" fmla="*/ 452352 w 1520650"/>
                <a:gd name="connsiteY34" fmla="*/ 634245 h 1403677"/>
                <a:gd name="connsiteX35" fmla="*/ 452853 w 1520650"/>
                <a:gd name="connsiteY35" fmla="*/ 634496 h 1403677"/>
                <a:gd name="connsiteX36" fmla="*/ 452853 w 1520650"/>
                <a:gd name="connsiteY36" fmla="*/ 634496 h 1403677"/>
                <a:gd name="connsiteX37" fmla="*/ 453939 w 1520650"/>
                <a:gd name="connsiteY37" fmla="*/ 635081 h 1403677"/>
                <a:gd name="connsiteX38" fmla="*/ 453939 w 1520650"/>
                <a:gd name="connsiteY38" fmla="*/ 635081 h 1403677"/>
                <a:gd name="connsiteX39" fmla="*/ 455025 w 1520650"/>
                <a:gd name="connsiteY39" fmla="*/ 635666 h 1403677"/>
                <a:gd name="connsiteX40" fmla="*/ 455025 w 1520650"/>
                <a:gd name="connsiteY40" fmla="*/ 635666 h 1403677"/>
                <a:gd name="connsiteX41" fmla="*/ 456112 w 1520650"/>
                <a:gd name="connsiteY41" fmla="*/ 636167 h 1403677"/>
                <a:gd name="connsiteX42" fmla="*/ 456112 w 1520650"/>
                <a:gd name="connsiteY42" fmla="*/ 636167 h 1403677"/>
                <a:gd name="connsiteX43" fmla="*/ 457198 w 1520650"/>
                <a:gd name="connsiteY43" fmla="*/ 636668 h 1403677"/>
                <a:gd name="connsiteX44" fmla="*/ 457198 w 1520650"/>
                <a:gd name="connsiteY44" fmla="*/ 636668 h 1403677"/>
                <a:gd name="connsiteX45" fmla="*/ 458368 w 1520650"/>
                <a:gd name="connsiteY45" fmla="*/ 637169 h 1403677"/>
                <a:gd name="connsiteX46" fmla="*/ 458368 w 1520650"/>
                <a:gd name="connsiteY46" fmla="*/ 637169 h 1403677"/>
                <a:gd name="connsiteX47" fmla="*/ 459537 w 1520650"/>
                <a:gd name="connsiteY47" fmla="*/ 637587 h 1403677"/>
                <a:gd name="connsiteX48" fmla="*/ 459537 w 1520650"/>
                <a:gd name="connsiteY48" fmla="*/ 637587 h 1403677"/>
                <a:gd name="connsiteX49" fmla="*/ 460707 w 1520650"/>
                <a:gd name="connsiteY49" fmla="*/ 638005 h 1403677"/>
                <a:gd name="connsiteX50" fmla="*/ 460707 w 1520650"/>
                <a:gd name="connsiteY50" fmla="*/ 638005 h 1403677"/>
                <a:gd name="connsiteX51" fmla="*/ 460958 w 1520650"/>
                <a:gd name="connsiteY51" fmla="*/ 638088 h 1403677"/>
                <a:gd name="connsiteX52" fmla="*/ 462796 w 1520650"/>
                <a:gd name="connsiteY52" fmla="*/ 638673 h 1403677"/>
                <a:gd name="connsiteX53" fmla="*/ 463047 w 1520650"/>
                <a:gd name="connsiteY53" fmla="*/ 638757 h 1403677"/>
                <a:gd name="connsiteX54" fmla="*/ 463047 w 1520650"/>
                <a:gd name="connsiteY54" fmla="*/ 638757 h 1403677"/>
                <a:gd name="connsiteX55" fmla="*/ 464216 w 1520650"/>
                <a:gd name="connsiteY55" fmla="*/ 639091 h 1403677"/>
                <a:gd name="connsiteX56" fmla="*/ 464216 w 1520650"/>
                <a:gd name="connsiteY56" fmla="*/ 639091 h 1403677"/>
                <a:gd name="connsiteX57" fmla="*/ 465386 w 1520650"/>
                <a:gd name="connsiteY57" fmla="*/ 639425 h 1403677"/>
                <a:gd name="connsiteX58" fmla="*/ 465386 w 1520650"/>
                <a:gd name="connsiteY58" fmla="*/ 639425 h 1403677"/>
                <a:gd name="connsiteX59" fmla="*/ 466639 w 1520650"/>
                <a:gd name="connsiteY59" fmla="*/ 639676 h 1403677"/>
                <a:gd name="connsiteX60" fmla="*/ 466639 w 1520650"/>
                <a:gd name="connsiteY60" fmla="*/ 639676 h 1403677"/>
                <a:gd name="connsiteX61" fmla="*/ 467892 w 1520650"/>
                <a:gd name="connsiteY61" fmla="*/ 639927 h 1403677"/>
                <a:gd name="connsiteX62" fmla="*/ 467892 w 1520650"/>
                <a:gd name="connsiteY62" fmla="*/ 639927 h 1403677"/>
                <a:gd name="connsiteX63" fmla="*/ 468143 w 1520650"/>
                <a:gd name="connsiteY63" fmla="*/ 639927 h 1403677"/>
                <a:gd name="connsiteX64" fmla="*/ 470232 w 1520650"/>
                <a:gd name="connsiteY64" fmla="*/ 640261 h 1403677"/>
                <a:gd name="connsiteX65" fmla="*/ 470483 w 1520650"/>
                <a:gd name="connsiteY65" fmla="*/ 640261 h 1403677"/>
                <a:gd name="connsiteX66" fmla="*/ 470483 w 1520650"/>
                <a:gd name="connsiteY66" fmla="*/ 640261 h 1403677"/>
                <a:gd name="connsiteX67" fmla="*/ 471736 w 1520650"/>
                <a:gd name="connsiteY67" fmla="*/ 640428 h 1403677"/>
                <a:gd name="connsiteX68" fmla="*/ 471736 w 1520650"/>
                <a:gd name="connsiteY68" fmla="*/ 640428 h 1403677"/>
                <a:gd name="connsiteX69" fmla="*/ 472989 w 1520650"/>
                <a:gd name="connsiteY69" fmla="*/ 640511 h 1403677"/>
                <a:gd name="connsiteX70" fmla="*/ 472989 w 1520650"/>
                <a:gd name="connsiteY70" fmla="*/ 640511 h 1403677"/>
                <a:gd name="connsiteX71" fmla="*/ 474243 w 1520650"/>
                <a:gd name="connsiteY71" fmla="*/ 640595 h 1403677"/>
                <a:gd name="connsiteX72" fmla="*/ 474243 w 1520650"/>
                <a:gd name="connsiteY72" fmla="*/ 640595 h 1403677"/>
                <a:gd name="connsiteX73" fmla="*/ 474660 w 1520650"/>
                <a:gd name="connsiteY73" fmla="*/ 640595 h 1403677"/>
                <a:gd name="connsiteX74" fmla="*/ 477418 w 1520650"/>
                <a:gd name="connsiteY74" fmla="*/ 640678 h 1403677"/>
                <a:gd name="connsiteX75" fmla="*/ 494379 w 1520650"/>
                <a:gd name="connsiteY75" fmla="*/ 640678 h 1403677"/>
                <a:gd name="connsiteX76" fmla="*/ 496384 w 1520650"/>
                <a:gd name="connsiteY76" fmla="*/ 640678 h 1403677"/>
                <a:gd name="connsiteX77" fmla="*/ 567403 w 1520650"/>
                <a:gd name="connsiteY77" fmla="*/ 711698 h 1403677"/>
                <a:gd name="connsiteX78" fmla="*/ 567403 w 1520650"/>
                <a:gd name="connsiteY78" fmla="*/ 714790 h 1403677"/>
                <a:gd name="connsiteX79" fmla="*/ 567403 w 1520650"/>
                <a:gd name="connsiteY79" fmla="*/ 716126 h 1403677"/>
                <a:gd name="connsiteX80" fmla="*/ 567403 w 1520650"/>
                <a:gd name="connsiteY80" fmla="*/ 716126 h 1403677"/>
                <a:gd name="connsiteX81" fmla="*/ 567487 w 1520650"/>
                <a:gd name="connsiteY81" fmla="*/ 717380 h 1403677"/>
                <a:gd name="connsiteX82" fmla="*/ 567487 w 1520650"/>
                <a:gd name="connsiteY82" fmla="*/ 717380 h 1403677"/>
                <a:gd name="connsiteX83" fmla="*/ 567570 w 1520650"/>
                <a:gd name="connsiteY83" fmla="*/ 718633 h 1403677"/>
                <a:gd name="connsiteX84" fmla="*/ 567570 w 1520650"/>
                <a:gd name="connsiteY84" fmla="*/ 718633 h 1403677"/>
                <a:gd name="connsiteX85" fmla="*/ 567654 w 1520650"/>
                <a:gd name="connsiteY85" fmla="*/ 719886 h 1403677"/>
                <a:gd name="connsiteX86" fmla="*/ 567654 w 1520650"/>
                <a:gd name="connsiteY86" fmla="*/ 719886 h 1403677"/>
                <a:gd name="connsiteX87" fmla="*/ 567821 w 1520650"/>
                <a:gd name="connsiteY87" fmla="*/ 721139 h 1403677"/>
                <a:gd name="connsiteX88" fmla="*/ 567821 w 1520650"/>
                <a:gd name="connsiteY88" fmla="*/ 721139 h 1403677"/>
                <a:gd name="connsiteX89" fmla="*/ 567988 w 1520650"/>
                <a:gd name="connsiteY89" fmla="*/ 722393 h 1403677"/>
                <a:gd name="connsiteX90" fmla="*/ 567988 w 1520650"/>
                <a:gd name="connsiteY90" fmla="*/ 722393 h 1403677"/>
                <a:gd name="connsiteX91" fmla="*/ 568239 w 1520650"/>
                <a:gd name="connsiteY91" fmla="*/ 723646 h 1403677"/>
                <a:gd name="connsiteX92" fmla="*/ 568239 w 1520650"/>
                <a:gd name="connsiteY92" fmla="*/ 723646 h 1403677"/>
                <a:gd name="connsiteX93" fmla="*/ 568489 w 1520650"/>
                <a:gd name="connsiteY93" fmla="*/ 724899 h 1403677"/>
                <a:gd name="connsiteX94" fmla="*/ 568489 w 1520650"/>
                <a:gd name="connsiteY94" fmla="*/ 724899 h 1403677"/>
                <a:gd name="connsiteX95" fmla="*/ 568740 w 1520650"/>
                <a:gd name="connsiteY95" fmla="*/ 726152 h 1403677"/>
                <a:gd name="connsiteX96" fmla="*/ 568740 w 1520650"/>
                <a:gd name="connsiteY96" fmla="*/ 726152 h 1403677"/>
                <a:gd name="connsiteX97" fmla="*/ 569074 w 1520650"/>
                <a:gd name="connsiteY97" fmla="*/ 727406 h 1403677"/>
                <a:gd name="connsiteX98" fmla="*/ 569074 w 1520650"/>
                <a:gd name="connsiteY98" fmla="*/ 727406 h 1403677"/>
                <a:gd name="connsiteX99" fmla="*/ 614109 w 1520650"/>
                <a:gd name="connsiteY99" fmla="*/ 765171 h 1403677"/>
                <a:gd name="connsiteX100" fmla="*/ 614109 w 1520650"/>
                <a:gd name="connsiteY100" fmla="*/ 765171 h 1403677"/>
                <a:gd name="connsiteX101" fmla="*/ 615362 w 1520650"/>
                <a:gd name="connsiteY101" fmla="*/ 765255 h 1403677"/>
                <a:gd name="connsiteX102" fmla="*/ 615362 w 1520650"/>
                <a:gd name="connsiteY102" fmla="*/ 765255 h 1403677"/>
                <a:gd name="connsiteX103" fmla="*/ 615780 w 1520650"/>
                <a:gd name="connsiteY103" fmla="*/ 765255 h 1403677"/>
                <a:gd name="connsiteX104" fmla="*/ 618537 w 1520650"/>
                <a:gd name="connsiteY104" fmla="*/ 765339 h 1403677"/>
                <a:gd name="connsiteX105" fmla="*/ 625054 w 1520650"/>
                <a:gd name="connsiteY105" fmla="*/ 765339 h 1403677"/>
                <a:gd name="connsiteX106" fmla="*/ 696074 w 1520650"/>
                <a:gd name="connsiteY106" fmla="*/ 836358 h 1403677"/>
                <a:gd name="connsiteX107" fmla="*/ 696074 w 1520650"/>
                <a:gd name="connsiteY107" fmla="*/ 839449 h 1403677"/>
                <a:gd name="connsiteX108" fmla="*/ 696074 w 1520650"/>
                <a:gd name="connsiteY108" fmla="*/ 840786 h 1403677"/>
                <a:gd name="connsiteX109" fmla="*/ 696074 w 1520650"/>
                <a:gd name="connsiteY109" fmla="*/ 840786 h 1403677"/>
                <a:gd name="connsiteX110" fmla="*/ 696157 w 1520650"/>
                <a:gd name="connsiteY110" fmla="*/ 842039 h 1403677"/>
                <a:gd name="connsiteX111" fmla="*/ 696157 w 1520650"/>
                <a:gd name="connsiteY111" fmla="*/ 842039 h 1403677"/>
                <a:gd name="connsiteX112" fmla="*/ 696241 w 1520650"/>
                <a:gd name="connsiteY112" fmla="*/ 843293 h 1403677"/>
                <a:gd name="connsiteX113" fmla="*/ 696241 w 1520650"/>
                <a:gd name="connsiteY113" fmla="*/ 843293 h 1403677"/>
                <a:gd name="connsiteX114" fmla="*/ 696324 w 1520650"/>
                <a:gd name="connsiteY114" fmla="*/ 844546 h 1403677"/>
                <a:gd name="connsiteX115" fmla="*/ 696324 w 1520650"/>
                <a:gd name="connsiteY115" fmla="*/ 844546 h 1403677"/>
                <a:gd name="connsiteX116" fmla="*/ 696492 w 1520650"/>
                <a:gd name="connsiteY116" fmla="*/ 845799 h 1403677"/>
                <a:gd name="connsiteX117" fmla="*/ 696492 w 1520650"/>
                <a:gd name="connsiteY117" fmla="*/ 845799 h 1403677"/>
                <a:gd name="connsiteX118" fmla="*/ 696659 w 1520650"/>
                <a:gd name="connsiteY118" fmla="*/ 847053 h 1403677"/>
                <a:gd name="connsiteX119" fmla="*/ 696659 w 1520650"/>
                <a:gd name="connsiteY119" fmla="*/ 847053 h 1403677"/>
                <a:gd name="connsiteX120" fmla="*/ 722058 w 1520650"/>
                <a:gd name="connsiteY120" fmla="*/ 883565 h 1403677"/>
                <a:gd name="connsiteX121" fmla="*/ 722560 w 1520650"/>
                <a:gd name="connsiteY121" fmla="*/ 883816 h 1403677"/>
                <a:gd name="connsiteX122" fmla="*/ 722560 w 1520650"/>
                <a:gd name="connsiteY122" fmla="*/ 883816 h 1403677"/>
                <a:gd name="connsiteX123" fmla="*/ 723646 w 1520650"/>
                <a:gd name="connsiteY123" fmla="*/ 884400 h 1403677"/>
                <a:gd name="connsiteX124" fmla="*/ 723646 w 1520650"/>
                <a:gd name="connsiteY124" fmla="*/ 884400 h 1403677"/>
                <a:gd name="connsiteX125" fmla="*/ 724732 w 1520650"/>
                <a:gd name="connsiteY125" fmla="*/ 884985 h 1403677"/>
                <a:gd name="connsiteX126" fmla="*/ 724732 w 1520650"/>
                <a:gd name="connsiteY126" fmla="*/ 884985 h 1403677"/>
                <a:gd name="connsiteX127" fmla="*/ 725818 w 1520650"/>
                <a:gd name="connsiteY127" fmla="*/ 885487 h 1403677"/>
                <a:gd name="connsiteX128" fmla="*/ 725818 w 1520650"/>
                <a:gd name="connsiteY128" fmla="*/ 885487 h 1403677"/>
                <a:gd name="connsiteX129" fmla="*/ 726904 w 1520650"/>
                <a:gd name="connsiteY129" fmla="*/ 885988 h 1403677"/>
                <a:gd name="connsiteX130" fmla="*/ 726904 w 1520650"/>
                <a:gd name="connsiteY130" fmla="*/ 885988 h 1403677"/>
                <a:gd name="connsiteX131" fmla="*/ 728074 w 1520650"/>
                <a:gd name="connsiteY131" fmla="*/ 886489 h 1403677"/>
                <a:gd name="connsiteX132" fmla="*/ 728074 w 1520650"/>
                <a:gd name="connsiteY132" fmla="*/ 886489 h 1403677"/>
                <a:gd name="connsiteX133" fmla="*/ 729244 w 1520650"/>
                <a:gd name="connsiteY133" fmla="*/ 886907 h 1403677"/>
                <a:gd name="connsiteX134" fmla="*/ 729244 w 1520650"/>
                <a:gd name="connsiteY134" fmla="*/ 886907 h 1403677"/>
                <a:gd name="connsiteX135" fmla="*/ 730414 w 1520650"/>
                <a:gd name="connsiteY135" fmla="*/ 887325 h 1403677"/>
                <a:gd name="connsiteX136" fmla="*/ 730414 w 1520650"/>
                <a:gd name="connsiteY136" fmla="*/ 887325 h 1403677"/>
                <a:gd name="connsiteX137" fmla="*/ 730664 w 1520650"/>
                <a:gd name="connsiteY137" fmla="*/ 887408 h 1403677"/>
                <a:gd name="connsiteX138" fmla="*/ 732502 w 1520650"/>
                <a:gd name="connsiteY138" fmla="*/ 887993 h 1403677"/>
                <a:gd name="connsiteX139" fmla="*/ 732753 w 1520650"/>
                <a:gd name="connsiteY139" fmla="*/ 888077 h 1403677"/>
                <a:gd name="connsiteX140" fmla="*/ 732753 w 1520650"/>
                <a:gd name="connsiteY140" fmla="*/ 888077 h 1403677"/>
                <a:gd name="connsiteX141" fmla="*/ 733923 w 1520650"/>
                <a:gd name="connsiteY141" fmla="*/ 888411 h 1403677"/>
                <a:gd name="connsiteX142" fmla="*/ 733923 w 1520650"/>
                <a:gd name="connsiteY142" fmla="*/ 888411 h 1403677"/>
                <a:gd name="connsiteX143" fmla="*/ 735093 w 1520650"/>
                <a:gd name="connsiteY143" fmla="*/ 888745 h 1403677"/>
                <a:gd name="connsiteX144" fmla="*/ 735093 w 1520650"/>
                <a:gd name="connsiteY144" fmla="*/ 888745 h 1403677"/>
                <a:gd name="connsiteX145" fmla="*/ 736346 w 1520650"/>
                <a:gd name="connsiteY145" fmla="*/ 888996 h 1403677"/>
                <a:gd name="connsiteX146" fmla="*/ 736346 w 1520650"/>
                <a:gd name="connsiteY146" fmla="*/ 888996 h 1403677"/>
                <a:gd name="connsiteX147" fmla="*/ 737599 w 1520650"/>
                <a:gd name="connsiteY147" fmla="*/ 889246 h 1403677"/>
                <a:gd name="connsiteX148" fmla="*/ 737599 w 1520650"/>
                <a:gd name="connsiteY148" fmla="*/ 889246 h 1403677"/>
                <a:gd name="connsiteX149" fmla="*/ 737850 w 1520650"/>
                <a:gd name="connsiteY149" fmla="*/ 889246 h 1403677"/>
                <a:gd name="connsiteX150" fmla="*/ 739939 w 1520650"/>
                <a:gd name="connsiteY150" fmla="*/ 889581 h 1403677"/>
                <a:gd name="connsiteX151" fmla="*/ 740189 w 1520650"/>
                <a:gd name="connsiteY151" fmla="*/ 889581 h 1403677"/>
                <a:gd name="connsiteX152" fmla="*/ 740189 w 1520650"/>
                <a:gd name="connsiteY152" fmla="*/ 889581 h 1403677"/>
                <a:gd name="connsiteX153" fmla="*/ 741442 w 1520650"/>
                <a:gd name="connsiteY153" fmla="*/ 889748 h 1403677"/>
                <a:gd name="connsiteX154" fmla="*/ 741442 w 1520650"/>
                <a:gd name="connsiteY154" fmla="*/ 889748 h 1403677"/>
                <a:gd name="connsiteX155" fmla="*/ 742696 w 1520650"/>
                <a:gd name="connsiteY155" fmla="*/ 889831 h 1403677"/>
                <a:gd name="connsiteX156" fmla="*/ 742696 w 1520650"/>
                <a:gd name="connsiteY156" fmla="*/ 889831 h 1403677"/>
                <a:gd name="connsiteX157" fmla="*/ 743949 w 1520650"/>
                <a:gd name="connsiteY157" fmla="*/ 889915 h 1403677"/>
                <a:gd name="connsiteX158" fmla="*/ 743949 w 1520650"/>
                <a:gd name="connsiteY158" fmla="*/ 889915 h 1403677"/>
                <a:gd name="connsiteX159" fmla="*/ 744367 w 1520650"/>
                <a:gd name="connsiteY159" fmla="*/ 889915 h 1403677"/>
                <a:gd name="connsiteX160" fmla="*/ 747124 w 1520650"/>
                <a:gd name="connsiteY160" fmla="*/ 889999 h 1403677"/>
                <a:gd name="connsiteX161" fmla="*/ 764169 w 1520650"/>
                <a:gd name="connsiteY161" fmla="*/ 889999 h 1403677"/>
                <a:gd name="connsiteX162" fmla="*/ 770268 w 1520650"/>
                <a:gd name="connsiteY162" fmla="*/ 889999 h 1403677"/>
                <a:gd name="connsiteX163" fmla="*/ 841287 w 1520650"/>
                <a:gd name="connsiteY163" fmla="*/ 961018 h 1403677"/>
                <a:gd name="connsiteX164" fmla="*/ 841287 w 1520650"/>
                <a:gd name="connsiteY164" fmla="*/ 969624 h 1403677"/>
                <a:gd name="connsiteX165" fmla="*/ 841287 w 1520650"/>
                <a:gd name="connsiteY165" fmla="*/ 970877 h 1403677"/>
                <a:gd name="connsiteX166" fmla="*/ 841287 w 1520650"/>
                <a:gd name="connsiteY166" fmla="*/ 970877 h 1403677"/>
                <a:gd name="connsiteX167" fmla="*/ 841371 w 1520650"/>
                <a:gd name="connsiteY167" fmla="*/ 972130 h 1403677"/>
                <a:gd name="connsiteX168" fmla="*/ 841371 w 1520650"/>
                <a:gd name="connsiteY168" fmla="*/ 972130 h 1403677"/>
                <a:gd name="connsiteX169" fmla="*/ 841454 w 1520650"/>
                <a:gd name="connsiteY169" fmla="*/ 973384 h 1403677"/>
                <a:gd name="connsiteX170" fmla="*/ 841454 w 1520650"/>
                <a:gd name="connsiteY170" fmla="*/ 973384 h 1403677"/>
                <a:gd name="connsiteX171" fmla="*/ 841538 w 1520650"/>
                <a:gd name="connsiteY171" fmla="*/ 974637 h 1403677"/>
                <a:gd name="connsiteX172" fmla="*/ 841538 w 1520650"/>
                <a:gd name="connsiteY172" fmla="*/ 974637 h 1403677"/>
                <a:gd name="connsiteX173" fmla="*/ 841705 w 1520650"/>
                <a:gd name="connsiteY173" fmla="*/ 975890 h 1403677"/>
                <a:gd name="connsiteX174" fmla="*/ 841705 w 1520650"/>
                <a:gd name="connsiteY174" fmla="*/ 975890 h 1403677"/>
                <a:gd name="connsiteX175" fmla="*/ 841872 w 1520650"/>
                <a:gd name="connsiteY175" fmla="*/ 977143 h 1403677"/>
                <a:gd name="connsiteX176" fmla="*/ 841872 w 1520650"/>
                <a:gd name="connsiteY176" fmla="*/ 977143 h 1403677"/>
                <a:gd name="connsiteX177" fmla="*/ 842039 w 1520650"/>
                <a:gd name="connsiteY177" fmla="*/ 978397 h 1403677"/>
                <a:gd name="connsiteX178" fmla="*/ 842039 w 1520650"/>
                <a:gd name="connsiteY178" fmla="*/ 978397 h 1403677"/>
                <a:gd name="connsiteX179" fmla="*/ 842290 w 1520650"/>
                <a:gd name="connsiteY179" fmla="*/ 979650 h 1403677"/>
                <a:gd name="connsiteX180" fmla="*/ 842290 w 1520650"/>
                <a:gd name="connsiteY180" fmla="*/ 979650 h 1403677"/>
                <a:gd name="connsiteX181" fmla="*/ 842541 w 1520650"/>
                <a:gd name="connsiteY181" fmla="*/ 980903 h 1403677"/>
                <a:gd name="connsiteX182" fmla="*/ 842541 w 1520650"/>
                <a:gd name="connsiteY182" fmla="*/ 980903 h 1403677"/>
                <a:gd name="connsiteX183" fmla="*/ 842875 w 1520650"/>
                <a:gd name="connsiteY183" fmla="*/ 982157 h 1403677"/>
                <a:gd name="connsiteX184" fmla="*/ 842875 w 1520650"/>
                <a:gd name="connsiteY184" fmla="*/ 982157 h 1403677"/>
                <a:gd name="connsiteX185" fmla="*/ 843209 w 1520650"/>
                <a:gd name="connsiteY185" fmla="*/ 983326 h 1403677"/>
                <a:gd name="connsiteX186" fmla="*/ 843209 w 1520650"/>
                <a:gd name="connsiteY186" fmla="*/ 983326 h 1403677"/>
                <a:gd name="connsiteX187" fmla="*/ 843543 w 1520650"/>
                <a:gd name="connsiteY187" fmla="*/ 984496 h 1403677"/>
                <a:gd name="connsiteX188" fmla="*/ 843543 w 1520650"/>
                <a:gd name="connsiteY188" fmla="*/ 984496 h 1403677"/>
                <a:gd name="connsiteX189" fmla="*/ 843961 w 1520650"/>
                <a:gd name="connsiteY189" fmla="*/ 985666 h 1403677"/>
                <a:gd name="connsiteX190" fmla="*/ 843961 w 1520650"/>
                <a:gd name="connsiteY190" fmla="*/ 985666 h 1403677"/>
                <a:gd name="connsiteX191" fmla="*/ 844379 w 1520650"/>
                <a:gd name="connsiteY191" fmla="*/ 986836 h 1403677"/>
                <a:gd name="connsiteX192" fmla="*/ 844379 w 1520650"/>
                <a:gd name="connsiteY192" fmla="*/ 986836 h 1403677"/>
                <a:gd name="connsiteX193" fmla="*/ 844797 w 1520650"/>
                <a:gd name="connsiteY193" fmla="*/ 988005 h 1403677"/>
                <a:gd name="connsiteX194" fmla="*/ 844797 w 1520650"/>
                <a:gd name="connsiteY194" fmla="*/ 988005 h 1403677"/>
                <a:gd name="connsiteX195" fmla="*/ 845298 w 1520650"/>
                <a:gd name="connsiteY195" fmla="*/ 989175 h 1403677"/>
                <a:gd name="connsiteX196" fmla="*/ 845298 w 1520650"/>
                <a:gd name="connsiteY196" fmla="*/ 989175 h 1403677"/>
                <a:gd name="connsiteX197" fmla="*/ 845799 w 1520650"/>
                <a:gd name="connsiteY197" fmla="*/ 990261 h 1403677"/>
                <a:gd name="connsiteX198" fmla="*/ 845799 w 1520650"/>
                <a:gd name="connsiteY198" fmla="*/ 990261 h 1403677"/>
                <a:gd name="connsiteX199" fmla="*/ 846301 w 1520650"/>
                <a:gd name="connsiteY199" fmla="*/ 991347 h 1403677"/>
                <a:gd name="connsiteX200" fmla="*/ 846301 w 1520650"/>
                <a:gd name="connsiteY200" fmla="*/ 991347 h 1403677"/>
                <a:gd name="connsiteX201" fmla="*/ 846886 w 1520650"/>
                <a:gd name="connsiteY201" fmla="*/ 992433 h 1403677"/>
                <a:gd name="connsiteX202" fmla="*/ 846886 w 1520650"/>
                <a:gd name="connsiteY202" fmla="*/ 992433 h 1403677"/>
                <a:gd name="connsiteX203" fmla="*/ 847470 w 1520650"/>
                <a:gd name="connsiteY203" fmla="*/ 993520 h 1403677"/>
                <a:gd name="connsiteX204" fmla="*/ 847470 w 1520650"/>
                <a:gd name="connsiteY204" fmla="*/ 993520 h 1403677"/>
                <a:gd name="connsiteX205" fmla="*/ 848055 w 1520650"/>
                <a:gd name="connsiteY205" fmla="*/ 994606 h 1403677"/>
                <a:gd name="connsiteX206" fmla="*/ 848055 w 1520650"/>
                <a:gd name="connsiteY206" fmla="*/ 994606 h 1403677"/>
                <a:gd name="connsiteX207" fmla="*/ 848640 w 1520650"/>
                <a:gd name="connsiteY207" fmla="*/ 995692 h 1403677"/>
                <a:gd name="connsiteX208" fmla="*/ 848640 w 1520650"/>
                <a:gd name="connsiteY208" fmla="*/ 995692 h 1403677"/>
                <a:gd name="connsiteX209" fmla="*/ 849308 w 1520650"/>
                <a:gd name="connsiteY209" fmla="*/ 996695 h 1403677"/>
                <a:gd name="connsiteX210" fmla="*/ 849308 w 1520650"/>
                <a:gd name="connsiteY210" fmla="*/ 996695 h 1403677"/>
                <a:gd name="connsiteX211" fmla="*/ 849977 w 1520650"/>
                <a:gd name="connsiteY211" fmla="*/ 997697 h 1403677"/>
                <a:gd name="connsiteX212" fmla="*/ 849977 w 1520650"/>
                <a:gd name="connsiteY212" fmla="*/ 997697 h 1403677"/>
                <a:gd name="connsiteX213" fmla="*/ 850645 w 1520650"/>
                <a:gd name="connsiteY213" fmla="*/ 998700 h 1403677"/>
                <a:gd name="connsiteX214" fmla="*/ 850645 w 1520650"/>
                <a:gd name="connsiteY214" fmla="*/ 998700 h 1403677"/>
                <a:gd name="connsiteX215" fmla="*/ 851397 w 1520650"/>
                <a:gd name="connsiteY215" fmla="*/ 999702 h 1403677"/>
                <a:gd name="connsiteX216" fmla="*/ 851397 w 1520650"/>
                <a:gd name="connsiteY216" fmla="*/ 999702 h 1403677"/>
                <a:gd name="connsiteX217" fmla="*/ 852149 w 1520650"/>
                <a:gd name="connsiteY217" fmla="*/ 1000705 h 1403677"/>
                <a:gd name="connsiteX218" fmla="*/ 852149 w 1520650"/>
                <a:gd name="connsiteY218" fmla="*/ 1000705 h 1403677"/>
                <a:gd name="connsiteX219" fmla="*/ 852901 w 1520650"/>
                <a:gd name="connsiteY219" fmla="*/ 1001624 h 1403677"/>
                <a:gd name="connsiteX220" fmla="*/ 852901 w 1520650"/>
                <a:gd name="connsiteY220" fmla="*/ 1001624 h 1403677"/>
                <a:gd name="connsiteX221" fmla="*/ 853653 w 1520650"/>
                <a:gd name="connsiteY221" fmla="*/ 1002543 h 1403677"/>
                <a:gd name="connsiteX222" fmla="*/ 853653 w 1520650"/>
                <a:gd name="connsiteY222" fmla="*/ 1002543 h 1403677"/>
                <a:gd name="connsiteX223" fmla="*/ 854489 w 1520650"/>
                <a:gd name="connsiteY223" fmla="*/ 1003462 h 1403677"/>
                <a:gd name="connsiteX224" fmla="*/ 854489 w 1520650"/>
                <a:gd name="connsiteY224" fmla="*/ 1003462 h 1403677"/>
                <a:gd name="connsiteX225" fmla="*/ 855324 w 1520650"/>
                <a:gd name="connsiteY225" fmla="*/ 1004381 h 1403677"/>
                <a:gd name="connsiteX226" fmla="*/ 855324 w 1520650"/>
                <a:gd name="connsiteY226" fmla="*/ 1004381 h 1403677"/>
                <a:gd name="connsiteX227" fmla="*/ 856160 w 1520650"/>
                <a:gd name="connsiteY227" fmla="*/ 1005217 h 1403677"/>
                <a:gd name="connsiteX228" fmla="*/ 856160 w 1520650"/>
                <a:gd name="connsiteY228" fmla="*/ 1005217 h 1403677"/>
                <a:gd name="connsiteX229" fmla="*/ 856995 w 1520650"/>
                <a:gd name="connsiteY229" fmla="*/ 1006052 h 1403677"/>
                <a:gd name="connsiteX230" fmla="*/ 856995 w 1520650"/>
                <a:gd name="connsiteY230" fmla="*/ 1006052 h 1403677"/>
                <a:gd name="connsiteX231" fmla="*/ 857914 w 1520650"/>
                <a:gd name="connsiteY231" fmla="*/ 1006888 h 1403677"/>
                <a:gd name="connsiteX232" fmla="*/ 857914 w 1520650"/>
                <a:gd name="connsiteY232" fmla="*/ 1006888 h 1403677"/>
                <a:gd name="connsiteX233" fmla="*/ 858833 w 1520650"/>
                <a:gd name="connsiteY233" fmla="*/ 1007724 h 1403677"/>
                <a:gd name="connsiteX234" fmla="*/ 858833 w 1520650"/>
                <a:gd name="connsiteY234" fmla="*/ 1007724 h 1403677"/>
                <a:gd name="connsiteX235" fmla="*/ 859752 w 1520650"/>
                <a:gd name="connsiteY235" fmla="*/ 1008476 h 1403677"/>
                <a:gd name="connsiteX236" fmla="*/ 859752 w 1520650"/>
                <a:gd name="connsiteY236" fmla="*/ 1008476 h 1403677"/>
                <a:gd name="connsiteX237" fmla="*/ 860672 w 1520650"/>
                <a:gd name="connsiteY237" fmla="*/ 1009227 h 1403677"/>
                <a:gd name="connsiteX238" fmla="*/ 860672 w 1520650"/>
                <a:gd name="connsiteY238" fmla="*/ 1009227 h 1403677"/>
                <a:gd name="connsiteX239" fmla="*/ 861591 w 1520650"/>
                <a:gd name="connsiteY239" fmla="*/ 1009979 h 1403677"/>
                <a:gd name="connsiteX240" fmla="*/ 861591 w 1520650"/>
                <a:gd name="connsiteY240" fmla="*/ 1009979 h 1403677"/>
                <a:gd name="connsiteX241" fmla="*/ 862593 w 1520650"/>
                <a:gd name="connsiteY241" fmla="*/ 1010731 h 1403677"/>
                <a:gd name="connsiteX242" fmla="*/ 862593 w 1520650"/>
                <a:gd name="connsiteY242" fmla="*/ 1010731 h 1403677"/>
                <a:gd name="connsiteX243" fmla="*/ 863596 w 1520650"/>
                <a:gd name="connsiteY243" fmla="*/ 1011400 h 1403677"/>
                <a:gd name="connsiteX244" fmla="*/ 863596 w 1520650"/>
                <a:gd name="connsiteY244" fmla="*/ 1011400 h 1403677"/>
                <a:gd name="connsiteX245" fmla="*/ 864599 w 1520650"/>
                <a:gd name="connsiteY245" fmla="*/ 1012068 h 1403677"/>
                <a:gd name="connsiteX246" fmla="*/ 864599 w 1520650"/>
                <a:gd name="connsiteY246" fmla="*/ 1012068 h 1403677"/>
                <a:gd name="connsiteX247" fmla="*/ 865601 w 1520650"/>
                <a:gd name="connsiteY247" fmla="*/ 1012737 h 1403677"/>
                <a:gd name="connsiteX248" fmla="*/ 865601 w 1520650"/>
                <a:gd name="connsiteY248" fmla="*/ 1012737 h 1403677"/>
                <a:gd name="connsiteX249" fmla="*/ 866687 w 1520650"/>
                <a:gd name="connsiteY249" fmla="*/ 1013321 h 1403677"/>
                <a:gd name="connsiteX250" fmla="*/ 866687 w 1520650"/>
                <a:gd name="connsiteY250" fmla="*/ 1013321 h 1403677"/>
                <a:gd name="connsiteX251" fmla="*/ 867774 w 1520650"/>
                <a:gd name="connsiteY251" fmla="*/ 1013906 h 1403677"/>
                <a:gd name="connsiteX252" fmla="*/ 867774 w 1520650"/>
                <a:gd name="connsiteY252" fmla="*/ 1013906 h 1403677"/>
                <a:gd name="connsiteX253" fmla="*/ 868860 w 1520650"/>
                <a:gd name="connsiteY253" fmla="*/ 1014491 h 1403677"/>
                <a:gd name="connsiteX254" fmla="*/ 868860 w 1520650"/>
                <a:gd name="connsiteY254" fmla="*/ 1014491 h 1403677"/>
                <a:gd name="connsiteX255" fmla="*/ 869946 w 1520650"/>
                <a:gd name="connsiteY255" fmla="*/ 1015076 h 1403677"/>
                <a:gd name="connsiteX256" fmla="*/ 869946 w 1520650"/>
                <a:gd name="connsiteY256" fmla="*/ 1015076 h 1403677"/>
                <a:gd name="connsiteX257" fmla="*/ 871032 w 1520650"/>
                <a:gd name="connsiteY257" fmla="*/ 1015578 h 1403677"/>
                <a:gd name="connsiteX258" fmla="*/ 871032 w 1520650"/>
                <a:gd name="connsiteY258" fmla="*/ 1015578 h 1403677"/>
                <a:gd name="connsiteX259" fmla="*/ 872118 w 1520650"/>
                <a:gd name="connsiteY259" fmla="*/ 1016079 h 1403677"/>
                <a:gd name="connsiteX260" fmla="*/ 872118 w 1520650"/>
                <a:gd name="connsiteY260" fmla="*/ 1016079 h 1403677"/>
                <a:gd name="connsiteX261" fmla="*/ 873288 w 1520650"/>
                <a:gd name="connsiteY261" fmla="*/ 1016580 h 1403677"/>
                <a:gd name="connsiteX262" fmla="*/ 873288 w 1520650"/>
                <a:gd name="connsiteY262" fmla="*/ 1016580 h 1403677"/>
                <a:gd name="connsiteX263" fmla="*/ 874458 w 1520650"/>
                <a:gd name="connsiteY263" fmla="*/ 1016998 h 1403677"/>
                <a:gd name="connsiteX264" fmla="*/ 874458 w 1520650"/>
                <a:gd name="connsiteY264" fmla="*/ 1016998 h 1403677"/>
                <a:gd name="connsiteX265" fmla="*/ 875627 w 1520650"/>
                <a:gd name="connsiteY265" fmla="*/ 1017416 h 1403677"/>
                <a:gd name="connsiteX266" fmla="*/ 875627 w 1520650"/>
                <a:gd name="connsiteY266" fmla="*/ 1017416 h 1403677"/>
                <a:gd name="connsiteX267" fmla="*/ 876797 w 1520650"/>
                <a:gd name="connsiteY267" fmla="*/ 1017833 h 1403677"/>
                <a:gd name="connsiteX268" fmla="*/ 876797 w 1520650"/>
                <a:gd name="connsiteY268" fmla="*/ 1017833 h 1403677"/>
                <a:gd name="connsiteX269" fmla="*/ 877967 w 1520650"/>
                <a:gd name="connsiteY269" fmla="*/ 1018168 h 1403677"/>
                <a:gd name="connsiteX270" fmla="*/ 877967 w 1520650"/>
                <a:gd name="connsiteY270" fmla="*/ 1018168 h 1403677"/>
                <a:gd name="connsiteX271" fmla="*/ 879137 w 1520650"/>
                <a:gd name="connsiteY271" fmla="*/ 1018502 h 1403677"/>
                <a:gd name="connsiteX272" fmla="*/ 879137 w 1520650"/>
                <a:gd name="connsiteY272" fmla="*/ 1018502 h 1403677"/>
                <a:gd name="connsiteX273" fmla="*/ 880306 w 1520650"/>
                <a:gd name="connsiteY273" fmla="*/ 1018836 h 1403677"/>
                <a:gd name="connsiteX274" fmla="*/ 880306 w 1520650"/>
                <a:gd name="connsiteY274" fmla="*/ 1018836 h 1403677"/>
                <a:gd name="connsiteX275" fmla="*/ 881560 w 1520650"/>
                <a:gd name="connsiteY275" fmla="*/ 1019087 h 1403677"/>
                <a:gd name="connsiteX276" fmla="*/ 881560 w 1520650"/>
                <a:gd name="connsiteY276" fmla="*/ 1019087 h 1403677"/>
                <a:gd name="connsiteX277" fmla="*/ 882813 w 1520650"/>
                <a:gd name="connsiteY277" fmla="*/ 1019337 h 1403677"/>
                <a:gd name="connsiteX278" fmla="*/ 882813 w 1520650"/>
                <a:gd name="connsiteY278" fmla="*/ 1019337 h 1403677"/>
                <a:gd name="connsiteX279" fmla="*/ 884066 w 1520650"/>
                <a:gd name="connsiteY279" fmla="*/ 1019588 h 1403677"/>
                <a:gd name="connsiteX280" fmla="*/ 884066 w 1520650"/>
                <a:gd name="connsiteY280" fmla="*/ 1019588 h 1403677"/>
                <a:gd name="connsiteX281" fmla="*/ 885319 w 1520650"/>
                <a:gd name="connsiteY281" fmla="*/ 1019755 h 1403677"/>
                <a:gd name="connsiteX282" fmla="*/ 885319 w 1520650"/>
                <a:gd name="connsiteY282" fmla="*/ 1019755 h 1403677"/>
                <a:gd name="connsiteX283" fmla="*/ 886573 w 1520650"/>
                <a:gd name="connsiteY283" fmla="*/ 1019922 h 1403677"/>
                <a:gd name="connsiteX284" fmla="*/ 886573 w 1520650"/>
                <a:gd name="connsiteY284" fmla="*/ 1019922 h 1403677"/>
                <a:gd name="connsiteX285" fmla="*/ 887826 w 1520650"/>
                <a:gd name="connsiteY285" fmla="*/ 1020006 h 1403677"/>
                <a:gd name="connsiteX286" fmla="*/ 887826 w 1520650"/>
                <a:gd name="connsiteY286" fmla="*/ 1020006 h 1403677"/>
                <a:gd name="connsiteX287" fmla="*/ 889079 w 1520650"/>
                <a:gd name="connsiteY287" fmla="*/ 1020089 h 1403677"/>
                <a:gd name="connsiteX288" fmla="*/ 889079 w 1520650"/>
                <a:gd name="connsiteY288" fmla="*/ 1020089 h 1403677"/>
                <a:gd name="connsiteX289" fmla="*/ 889497 w 1520650"/>
                <a:gd name="connsiteY289" fmla="*/ 1020089 h 1403677"/>
                <a:gd name="connsiteX290" fmla="*/ 892254 w 1520650"/>
                <a:gd name="connsiteY290" fmla="*/ 1020173 h 1403677"/>
                <a:gd name="connsiteX291" fmla="*/ 918907 w 1520650"/>
                <a:gd name="connsiteY291" fmla="*/ 1020173 h 1403677"/>
                <a:gd name="connsiteX292" fmla="*/ 1052173 w 1520650"/>
                <a:gd name="connsiteY292" fmla="*/ 1020173 h 1403677"/>
                <a:gd name="connsiteX293" fmla="*/ 1123193 w 1520650"/>
                <a:gd name="connsiteY293" fmla="*/ 1091192 h 1403677"/>
                <a:gd name="connsiteX294" fmla="*/ 1123193 w 1520650"/>
                <a:gd name="connsiteY294" fmla="*/ 1206912 h 1403677"/>
                <a:gd name="connsiteX295" fmla="*/ 1123193 w 1520650"/>
                <a:gd name="connsiteY295" fmla="*/ 1350371 h 1403677"/>
                <a:gd name="connsiteX296" fmla="*/ 1123193 w 1520650"/>
                <a:gd name="connsiteY296" fmla="*/ 1353129 h 1403677"/>
                <a:gd name="connsiteX297" fmla="*/ 1173742 w 1520650"/>
                <a:gd name="connsiteY297" fmla="*/ 1403678 h 1403677"/>
                <a:gd name="connsiteX298" fmla="*/ 1191288 w 1520650"/>
                <a:gd name="connsiteY298" fmla="*/ 1403678 h 1403677"/>
                <a:gd name="connsiteX299" fmla="*/ 1241837 w 1520650"/>
                <a:gd name="connsiteY299" fmla="*/ 1353129 h 1403677"/>
                <a:gd name="connsiteX300" fmla="*/ 1241837 w 1520650"/>
                <a:gd name="connsiteY300" fmla="*/ 1346026 h 1403677"/>
                <a:gd name="connsiteX301" fmla="*/ 1312856 w 1520650"/>
                <a:gd name="connsiteY301" fmla="*/ 1275007 h 1403677"/>
                <a:gd name="connsiteX302" fmla="*/ 1339676 w 1520650"/>
                <a:gd name="connsiteY302" fmla="*/ 1275007 h 1403677"/>
                <a:gd name="connsiteX303" fmla="*/ 1390226 w 1520650"/>
                <a:gd name="connsiteY303" fmla="*/ 1224458 h 1403677"/>
                <a:gd name="connsiteX304" fmla="*/ 1390226 w 1520650"/>
                <a:gd name="connsiteY304" fmla="*/ 1206912 h 1403677"/>
                <a:gd name="connsiteX305" fmla="*/ 1356805 w 1520650"/>
                <a:gd name="connsiteY305" fmla="*/ 1159371 h 1403677"/>
                <a:gd name="connsiteX306" fmla="*/ 1296062 w 1520650"/>
                <a:gd name="connsiteY306" fmla="*/ 1156196 h 1403677"/>
                <a:gd name="connsiteX307" fmla="*/ 1254370 w 1520650"/>
                <a:gd name="connsiteY307" fmla="*/ 1080247 h 1403677"/>
                <a:gd name="connsiteX308" fmla="*/ 1314694 w 1520650"/>
                <a:gd name="connsiteY308" fmla="*/ 1021510 h 1403677"/>
                <a:gd name="connsiteX309" fmla="*/ 1475282 w 1520650"/>
                <a:gd name="connsiteY309" fmla="*/ 1021510 h 1403677"/>
                <a:gd name="connsiteX310" fmla="*/ 1525831 w 1520650"/>
                <a:gd name="connsiteY310" fmla="*/ 970960 h 1403677"/>
                <a:gd name="connsiteX311" fmla="*/ 1525831 w 1520650"/>
                <a:gd name="connsiteY311" fmla="*/ 953415 h 1403677"/>
                <a:gd name="connsiteX312" fmla="*/ 1475282 w 1520650"/>
                <a:gd name="connsiteY312" fmla="*/ 902865 h 1403677"/>
                <a:gd name="connsiteX313" fmla="*/ 1314778 w 1520650"/>
                <a:gd name="connsiteY313" fmla="*/ 902865 h 1403677"/>
                <a:gd name="connsiteX314" fmla="*/ 1243759 w 1520650"/>
                <a:gd name="connsiteY314" fmla="*/ 831846 h 1403677"/>
                <a:gd name="connsiteX315" fmla="*/ 1243759 w 1520650"/>
                <a:gd name="connsiteY315" fmla="*/ 826833 h 1403677"/>
                <a:gd name="connsiteX316" fmla="*/ 1193209 w 1520650"/>
                <a:gd name="connsiteY316" fmla="*/ 776284 h 1403677"/>
                <a:gd name="connsiteX317" fmla="*/ 1040476 w 1520650"/>
                <a:gd name="connsiteY317" fmla="*/ 776284 h 1403677"/>
                <a:gd name="connsiteX318" fmla="*/ 969456 w 1520650"/>
                <a:gd name="connsiteY318" fmla="*/ 705264 h 1403677"/>
                <a:gd name="connsiteX319" fmla="*/ 969456 w 1520650"/>
                <a:gd name="connsiteY319" fmla="*/ 566818 h 1403677"/>
                <a:gd name="connsiteX320" fmla="*/ 962354 w 1520650"/>
                <a:gd name="connsiteY320" fmla="*/ 541084 h 1403677"/>
                <a:gd name="connsiteX321" fmla="*/ 961770 w 1520650"/>
                <a:gd name="connsiteY321" fmla="*/ 540082 h 1403677"/>
                <a:gd name="connsiteX322" fmla="*/ 917905 w 1520650"/>
                <a:gd name="connsiteY322" fmla="*/ 514515 h 1403677"/>
                <a:gd name="connsiteX323" fmla="*/ 898353 w 1520650"/>
                <a:gd name="connsiteY323" fmla="*/ 514515 h 1403677"/>
                <a:gd name="connsiteX324" fmla="*/ 827334 w 1520650"/>
                <a:gd name="connsiteY324" fmla="*/ 443495 h 1403677"/>
                <a:gd name="connsiteX325" fmla="*/ 827334 w 1520650"/>
                <a:gd name="connsiteY325" fmla="*/ 443161 h 1403677"/>
                <a:gd name="connsiteX326" fmla="*/ 776785 w 1520650"/>
                <a:gd name="connsiteY326" fmla="*/ 391944 h 1403677"/>
                <a:gd name="connsiteX327" fmla="*/ 741025 w 1520650"/>
                <a:gd name="connsiteY327" fmla="*/ 390857 h 1403677"/>
                <a:gd name="connsiteX328" fmla="*/ 697577 w 1520650"/>
                <a:gd name="connsiteY328" fmla="*/ 340810 h 1403677"/>
                <a:gd name="connsiteX329" fmla="*/ 697577 w 1520650"/>
                <a:gd name="connsiteY329" fmla="*/ 323264 h 1403677"/>
                <a:gd name="connsiteX330" fmla="*/ 748127 w 1520650"/>
                <a:gd name="connsiteY330" fmla="*/ 272715 h 1403677"/>
                <a:gd name="connsiteX331" fmla="*/ 835188 w 1520650"/>
                <a:gd name="connsiteY331" fmla="*/ 272715 h 1403677"/>
                <a:gd name="connsiteX332" fmla="*/ 834353 w 1520650"/>
                <a:gd name="connsiteY332" fmla="*/ 50549 h 1403677"/>
                <a:gd name="connsiteX333" fmla="*/ 783803 w 1520650"/>
                <a:gd name="connsiteY333" fmla="*/ 0 h 1403677"/>
                <a:gd name="connsiteX334" fmla="*/ 188243 w 1520650"/>
                <a:gd name="connsiteY334" fmla="*/ 0 h 1403677"/>
                <a:gd name="connsiteX335" fmla="*/ 138028 w 1520650"/>
                <a:gd name="connsiteY335" fmla="*/ 44868 h 1403677"/>
                <a:gd name="connsiteX336" fmla="*/ 138028 w 1520650"/>
                <a:gd name="connsiteY336" fmla="*/ 81631 h 1403677"/>
                <a:gd name="connsiteX337" fmla="*/ 87479 w 1520650"/>
                <a:gd name="connsiteY337" fmla="*/ 132180 h 1403677"/>
                <a:gd name="connsiteX338" fmla="*/ 0 w 1520650"/>
                <a:gd name="connsiteY338" fmla="*/ 132180 h 1403677"/>
                <a:gd name="connsiteX339" fmla="*/ 418 w 1520650"/>
                <a:gd name="connsiteY339" fmla="*/ 451683 h 1403677"/>
                <a:gd name="connsiteX340" fmla="*/ 418 w 1520650"/>
                <a:gd name="connsiteY340" fmla="*/ 451683 h 1403677"/>
                <a:gd name="connsiteX341" fmla="*/ 841538 w 1520650"/>
                <a:gd name="connsiteY341" fmla="*/ 969540 h 1403677"/>
                <a:gd name="connsiteX342" fmla="*/ 841538 w 1520650"/>
                <a:gd name="connsiteY342" fmla="*/ 969540 h 1403677"/>
                <a:gd name="connsiteX343" fmla="*/ 841538 w 1520650"/>
                <a:gd name="connsiteY343" fmla="*/ 969540 h 1403677"/>
                <a:gd name="connsiteX344" fmla="*/ 841538 w 1520650"/>
                <a:gd name="connsiteY344" fmla="*/ 969540 h 1403677"/>
                <a:gd name="connsiteX345" fmla="*/ 426451 w 1520650"/>
                <a:gd name="connsiteY345" fmla="*/ 590046 h 1403677"/>
                <a:gd name="connsiteX346" fmla="*/ 426451 w 1520650"/>
                <a:gd name="connsiteY346" fmla="*/ 590046 h 1403677"/>
                <a:gd name="connsiteX347" fmla="*/ 426451 w 1520650"/>
                <a:gd name="connsiteY347" fmla="*/ 590046 h 1403677"/>
                <a:gd name="connsiteX348" fmla="*/ 426451 w 1520650"/>
                <a:gd name="connsiteY348" fmla="*/ 590046 h 1403677"/>
                <a:gd name="connsiteX349" fmla="*/ 567570 w 1520650"/>
                <a:gd name="connsiteY349" fmla="*/ 714706 h 1403677"/>
                <a:gd name="connsiteX350" fmla="*/ 567570 w 1520650"/>
                <a:gd name="connsiteY350" fmla="*/ 714706 h 1403677"/>
                <a:gd name="connsiteX351" fmla="*/ 567570 w 1520650"/>
                <a:gd name="connsiteY351" fmla="*/ 714706 h 1403677"/>
                <a:gd name="connsiteX352" fmla="*/ 567570 w 1520650"/>
                <a:gd name="connsiteY352" fmla="*/ 714706 h 1403677"/>
                <a:gd name="connsiteX353" fmla="*/ 696324 w 1520650"/>
                <a:gd name="connsiteY353" fmla="*/ 839366 h 1403677"/>
                <a:gd name="connsiteX354" fmla="*/ 696324 w 1520650"/>
                <a:gd name="connsiteY354" fmla="*/ 839366 h 1403677"/>
                <a:gd name="connsiteX355" fmla="*/ 696324 w 1520650"/>
                <a:gd name="connsiteY355" fmla="*/ 839366 h 1403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520650" h="1403677">
                  <a:moveTo>
                    <a:pt x="418" y="451683"/>
                  </a:moveTo>
                  <a:cubicBezTo>
                    <a:pt x="0" y="466389"/>
                    <a:pt x="8773" y="388351"/>
                    <a:pt x="42110" y="388351"/>
                  </a:cubicBezTo>
                  <a:lnTo>
                    <a:pt x="205956" y="388351"/>
                  </a:lnTo>
                  <a:cubicBezTo>
                    <a:pt x="238542" y="388936"/>
                    <a:pt x="280151" y="377573"/>
                    <a:pt x="280151" y="445668"/>
                  </a:cubicBezTo>
                  <a:lnTo>
                    <a:pt x="280151" y="462295"/>
                  </a:lnTo>
                  <a:cubicBezTo>
                    <a:pt x="280151" y="490117"/>
                    <a:pt x="302877" y="512844"/>
                    <a:pt x="330700" y="512844"/>
                  </a:cubicBezTo>
                  <a:lnTo>
                    <a:pt x="355348" y="512844"/>
                  </a:lnTo>
                  <a:cubicBezTo>
                    <a:pt x="394450" y="512844"/>
                    <a:pt x="426367" y="544761"/>
                    <a:pt x="426367" y="583863"/>
                  </a:cubicBezTo>
                  <a:lnTo>
                    <a:pt x="426367" y="590129"/>
                  </a:lnTo>
                  <a:lnTo>
                    <a:pt x="426367" y="591466"/>
                  </a:lnTo>
                  <a:lnTo>
                    <a:pt x="426367" y="591466"/>
                  </a:lnTo>
                  <a:lnTo>
                    <a:pt x="426451" y="592720"/>
                  </a:lnTo>
                  <a:lnTo>
                    <a:pt x="426451" y="592720"/>
                  </a:lnTo>
                  <a:lnTo>
                    <a:pt x="426534" y="593973"/>
                  </a:lnTo>
                  <a:lnTo>
                    <a:pt x="426534" y="593973"/>
                  </a:lnTo>
                  <a:lnTo>
                    <a:pt x="426618" y="595226"/>
                  </a:lnTo>
                  <a:lnTo>
                    <a:pt x="426618" y="595226"/>
                  </a:lnTo>
                  <a:lnTo>
                    <a:pt x="426785" y="596480"/>
                  </a:lnTo>
                  <a:lnTo>
                    <a:pt x="426785" y="596480"/>
                  </a:lnTo>
                  <a:lnTo>
                    <a:pt x="426952" y="597733"/>
                  </a:lnTo>
                  <a:lnTo>
                    <a:pt x="426952" y="597733"/>
                  </a:lnTo>
                  <a:lnTo>
                    <a:pt x="427119" y="598986"/>
                  </a:lnTo>
                  <a:lnTo>
                    <a:pt x="427119" y="598986"/>
                  </a:lnTo>
                  <a:cubicBezTo>
                    <a:pt x="429291" y="611435"/>
                    <a:pt x="436477" y="622798"/>
                    <a:pt x="446670" y="630569"/>
                  </a:cubicBezTo>
                  <a:lnTo>
                    <a:pt x="446670" y="630569"/>
                  </a:lnTo>
                  <a:lnTo>
                    <a:pt x="447673" y="631321"/>
                  </a:lnTo>
                  <a:lnTo>
                    <a:pt x="447673" y="631321"/>
                  </a:lnTo>
                  <a:lnTo>
                    <a:pt x="448676" y="631989"/>
                  </a:lnTo>
                  <a:lnTo>
                    <a:pt x="448676" y="631989"/>
                  </a:lnTo>
                  <a:lnTo>
                    <a:pt x="449678" y="632658"/>
                  </a:lnTo>
                  <a:lnTo>
                    <a:pt x="449678" y="632658"/>
                  </a:lnTo>
                  <a:lnTo>
                    <a:pt x="450681" y="633326"/>
                  </a:lnTo>
                  <a:lnTo>
                    <a:pt x="450681" y="633326"/>
                  </a:lnTo>
                  <a:lnTo>
                    <a:pt x="451182" y="633577"/>
                  </a:lnTo>
                  <a:cubicBezTo>
                    <a:pt x="451600" y="633827"/>
                    <a:pt x="451934" y="633994"/>
                    <a:pt x="452352" y="634245"/>
                  </a:cubicBezTo>
                  <a:lnTo>
                    <a:pt x="452853" y="634496"/>
                  </a:lnTo>
                  <a:lnTo>
                    <a:pt x="452853" y="634496"/>
                  </a:lnTo>
                  <a:lnTo>
                    <a:pt x="453939" y="635081"/>
                  </a:lnTo>
                  <a:lnTo>
                    <a:pt x="453939" y="635081"/>
                  </a:lnTo>
                  <a:lnTo>
                    <a:pt x="455025" y="635666"/>
                  </a:lnTo>
                  <a:lnTo>
                    <a:pt x="455025" y="635666"/>
                  </a:lnTo>
                  <a:lnTo>
                    <a:pt x="456112" y="636167"/>
                  </a:lnTo>
                  <a:lnTo>
                    <a:pt x="456112" y="636167"/>
                  </a:lnTo>
                  <a:cubicBezTo>
                    <a:pt x="456446" y="636334"/>
                    <a:pt x="456864" y="636501"/>
                    <a:pt x="457198" y="636668"/>
                  </a:cubicBezTo>
                  <a:lnTo>
                    <a:pt x="457198" y="636668"/>
                  </a:lnTo>
                  <a:lnTo>
                    <a:pt x="458368" y="637169"/>
                  </a:lnTo>
                  <a:lnTo>
                    <a:pt x="458368" y="637169"/>
                  </a:lnTo>
                  <a:lnTo>
                    <a:pt x="459537" y="637587"/>
                  </a:lnTo>
                  <a:lnTo>
                    <a:pt x="459537" y="637587"/>
                  </a:lnTo>
                  <a:lnTo>
                    <a:pt x="460707" y="638005"/>
                  </a:lnTo>
                  <a:lnTo>
                    <a:pt x="460707" y="638005"/>
                  </a:lnTo>
                  <a:lnTo>
                    <a:pt x="460958" y="638088"/>
                  </a:lnTo>
                  <a:cubicBezTo>
                    <a:pt x="461626" y="638256"/>
                    <a:pt x="462127" y="638423"/>
                    <a:pt x="462796" y="638673"/>
                  </a:cubicBezTo>
                  <a:lnTo>
                    <a:pt x="463047" y="638757"/>
                  </a:lnTo>
                  <a:lnTo>
                    <a:pt x="463047" y="638757"/>
                  </a:lnTo>
                  <a:lnTo>
                    <a:pt x="464216" y="639091"/>
                  </a:lnTo>
                  <a:lnTo>
                    <a:pt x="464216" y="639091"/>
                  </a:lnTo>
                  <a:lnTo>
                    <a:pt x="465386" y="639425"/>
                  </a:lnTo>
                  <a:lnTo>
                    <a:pt x="465386" y="639425"/>
                  </a:lnTo>
                  <a:lnTo>
                    <a:pt x="466639" y="639676"/>
                  </a:lnTo>
                  <a:lnTo>
                    <a:pt x="466639" y="639676"/>
                  </a:lnTo>
                  <a:cubicBezTo>
                    <a:pt x="467057" y="639760"/>
                    <a:pt x="467475" y="639843"/>
                    <a:pt x="467892" y="639927"/>
                  </a:cubicBezTo>
                  <a:lnTo>
                    <a:pt x="467892" y="639927"/>
                  </a:lnTo>
                  <a:lnTo>
                    <a:pt x="468143" y="639927"/>
                  </a:lnTo>
                  <a:cubicBezTo>
                    <a:pt x="468895" y="640010"/>
                    <a:pt x="469480" y="640177"/>
                    <a:pt x="470232" y="640261"/>
                  </a:cubicBezTo>
                  <a:lnTo>
                    <a:pt x="470483" y="640261"/>
                  </a:lnTo>
                  <a:lnTo>
                    <a:pt x="470483" y="640261"/>
                  </a:lnTo>
                  <a:lnTo>
                    <a:pt x="471736" y="640428"/>
                  </a:lnTo>
                  <a:lnTo>
                    <a:pt x="471736" y="640428"/>
                  </a:lnTo>
                  <a:lnTo>
                    <a:pt x="472989" y="640511"/>
                  </a:lnTo>
                  <a:lnTo>
                    <a:pt x="472989" y="640511"/>
                  </a:lnTo>
                  <a:lnTo>
                    <a:pt x="474243" y="640595"/>
                  </a:lnTo>
                  <a:lnTo>
                    <a:pt x="474243" y="640595"/>
                  </a:lnTo>
                  <a:lnTo>
                    <a:pt x="474660" y="640595"/>
                  </a:lnTo>
                  <a:cubicBezTo>
                    <a:pt x="475663" y="640595"/>
                    <a:pt x="476415" y="640678"/>
                    <a:pt x="477418" y="640678"/>
                  </a:cubicBezTo>
                  <a:lnTo>
                    <a:pt x="494379" y="640678"/>
                  </a:lnTo>
                  <a:lnTo>
                    <a:pt x="496384" y="640678"/>
                  </a:lnTo>
                  <a:cubicBezTo>
                    <a:pt x="535486" y="640678"/>
                    <a:pt x="567403" y="672595"/>
                    <a:pt x="567403" y="711698"/>
                  </a:cubicBezTo>
                  <a:lnTo>
                    <a:pt x="567403" y="714790"/>
                  </a:lnTo>
                  <a:lnTo>
                    <a:pt x="567403" y="716126"/>
                  </a:lnTo>
                  <a:lnTo>
                    <a:pt x="567403" y="716126"/>
                  </a:lnTo>
                  <a:lnTo>
                    <a:pt x="567487" y="717380"/>
                  </a:lnTo>
                  <a:lnTo>
                    <a:pt x="567487" y="717380"/>
                  </a:lnTo>
                  <a:lnTo>
                    <a:pt x="567570" y="718633"/>
                  </a:lnTo>
                  <a:lnTo>
                    <a:pt x="567570" y="718633"/>
                  </a:lnTo>
                  <a:lnTo>
                    <a:pt x="567654" y="719886"/>
                  </a:lnTo>
                  <a:lnTo>
                    <a:pt x="567654" y="719886"/>
                  </a:lnTo>
                  <a:lnTo>
                    <a:pt x="567821" y="721139"/>
                  </a:lnTo>
                  <a:lnTo>
                    <a:pt x="567821" y="721139"/>
                  </a:lnTo>
                  <a:lnTo>
                    <a:pt x="567988" y="722393"/>
                  </a:lnTo>
                  <a:lnTo>
                    <a:pt x="567988" y="722393"/>
                  </a:lnTo>
                  <a:lnTo>
                    <a:pt x="568239" y="723646"/>
                  </a:lnTo>
                  <a:lnTo>
                    <a:pt x="568239" y="723646"/>
                  </a:lnTo>
                  <a:cubicBezTo>
                    <a:pt x="568322" y="724064"/>
                    <a:pt x="568406" y="724481"/>
                    <a:pt x="568489" y="724899"/>
                  </a:cubicBezTo>
                  <a:lnTo>
                    <a:pt x="568489" y="724899"/>
                  </a:lnTo>
                  <a:lnTo>
                    <a:pt x="568740" y="726152"/>
                  </a:lnTo>
                  <a:lnTo>
                    <a:pt x="568740" y="726152"/>
                  </a:lnTo>
                  <a:lnTo>
                    <a:pt x="569074" y="727406"/>
                  </a:lnTo>
                  <a:lnTo>
                    <a:pt x="569074" y="727406"/>
                  </a:lnTo>
                  <a:cubicBezTo>
                    <a:pt x="574505" y="747709"/>
                    <a:pt x="592302" y="763333"/>
                    <a:pt x="614109" y="765171"/>
                  </a:cubicBezTo>
                  <a:lnTo>
                    <a:pt x="614109" y="765171"/>
                  </a:lnTo>
                  <a:lnTo>
                    <a:pt x="615362" y="765255"/>
                  </a:lnTo>
                  <a:lnTo>
                    <a:pt x="615362" y="765255"/>
                  </a:lnTo>
                  <a:lnTo>
                    <a:pt x="615780" y="765255"/>
                  </a:lnTo>
                  <a:cubicBezTo>
                    <a:pt x="616783" y="765255"/>
                    <a:pt x="617535" y="765339"/>
                    <a:pt x="618537" y="765339"/>
                  </a:cubicBezTo>
                  <a:lnTo>
                    <a:pt x="625054" y="765339"/>
                  </a:lnTo>
                  <a:cubicBezTo>
                    <a:pt x="664157" y="765339"/>
                    <a:pt x="696074" y="797256"/>
                    <a:pt x="696074" y="836358"/>
                  </a:cubicBezTo>
                  <a:lnTo>
                    <a:pt x="696074" y="839449"/>
                  </a:lnTo>
                  <a:lnTo>
                    <a:pt x="696074" y="840786"/>
                  </a:lnTo>
                  <a:lnTo>
                    <a:pt x="696074" y="840786"/>
                  </a:lnTo>
                  <a:lnTo>
                    <a:pt x="696157" y="842039"/>
                  </a:lnTo>
                  <a:lnTo>
                    <a:pt x="696157" y="842039"/>
                  </a:lnTo>
                  <a:lnTo>
                    <a:pt x="696241" y="843293"/>
                  </a:lnTo>
                  <a:lnTo>
                    <a:pt x="696241" y="843293"/>
                  </a:lnTo>
                  <a:lnTo>
                    <a:pt x="696324" y="844546"/>
                  </a:lnTo>
                  <a:lnTo>
                    <a:pt x="696324" y="844546"/>
                  </a:lnTo>
                  <a:lnTo>
                    <a:pt x="696492" y="845799"/>
                  </a:lnTo>
                  <a:lnTo>
                    <a:pt x="696492" y="845799"/>
                  </a:lnTo>
                  <a:lnTo>
                    <a:pt x="696659" y="847053"/>
                  </a:lnTo>
                  <a:lnTo>
                    <a:pt x="696659" y="847053"/>
                  </a:lnTo>
                  <a:cubicBezTo>
                    <a:pt x="699249" y="862593"/>
                    <a:pt x="708356" y="875711"/>
                    <a:pt x="722058" y="883565"/>
                  </a:cubicBezTo>
                  <a:lnTo>
                    <a:pt x="722560" y="883816"/>
                  </a:lnTo>
                  <a:lnTo>
                    <a:pt x="722560" y="883816"/>
                  </a:lnTo>
                  <a:lnTo>
                    <a:pt x="723646" y="884400"/>
                  </a:lnTo>
                  <a:lnTo>
                    <a:pt x="723646" y="884400"/>
                  </a:lnTo>
                  <a:lnTo>
                    <a:pt x="724732" y="884985"/>
                  </a:lnTo>
                  <a:lnTo>
                    <a:pt x="724732" y="884985"/>
                  </a:lnTo>
                  <a:lnTo>
                    <a:pt x="725818" y="885487"/>
                  </a:lnTo>
                  <a:lnTo>
                    <a:pt x="725818" y="885487"/>
                  </a:lnTo>
                  <a:cubicBezTo>
                    <a:pt x="726152" y="885654"/>
                    <a:pt x="726570" y="885821"/>
                    <a:pt x="726904" y="885988"/>
                  </a:cubicBezTo>
                  <a:lnTo>
                    <a:pt x="726904" y="885988"/>
                  </a:lnTo>
                  <a:lnTo>
                    <a:pt x="728074" y="886489"/>
                  </a:lnTo>
                  <a:lnTo>
                    <a:pt x="728074" y="886489"/>
                  </a:lnTo>
                  <a:lnTo>
                    <a:pt x="729244" y="886907"/>
                  </a:lnTo>
                  <a:lnTo>
                    <a:pt x="729244" y="886907"/>
                  </a:lnTo>
                  <a:lnTo>
                    <a:pt x="730414" y="887325"/>
                  </a:lnTo>
                  <a:lnTo>
                    <a:pt x="730414" y="887325"/>
                  </a:lnTo>
                  <a:lnTo>
                    <a:pt x="730664" y="887408"/>
                  </a:lnTo>
                  <a:cubicBezTo>
                    <a:pt x="731333" y="887575"/>
                    <a:pt x="731834" y="887742"/>
                    <a:pt x="732502" y="887993"/>
                  </a:cubicBezTo>
                  <a:lnTo>
                    <a:pt x="732753" y="888077"/>
                  </a:lnTo>
                  <a:lnTo>
                    <a:pt x="732753" y="888077"/>
                  </a:lnTo>
                  <a:lnTo>
                    <a:pt x="733923" y="888411"/>
                  </a:lnTo>
                  <a:lnTo>
                    <a:pt x="733923" y="888411"/>
                  </a:lnTo>
                  <a:lnTo>
                    <a:pt x="735093" y="888745"/>
                  </a:lnTo>
                  <a:lnTo>
                    <a:pt x="735093" y="888745"/>
                  </a:lnTo>
                  <a:lnTo>
                    <a:pt x="736346" y="888996"/>
                  </a:lnTo>
                  <a:lnTo>
                    <a:pt x="736346" y="888996"/>
                  </a:lnTo>
                  <a:cubicBezTo>
                    <a:pt x="736763" y="889079"/>
                    <a:pt x="737181" y="889163"/>
                    <a:pt x="737599" y="889246"/>
                  </a:cubicBezTo>
                  <a:lnTo>
                    <a:pt x="737599" y="889246"/>
                  </a:lnTo>
                  <a:lnTo>
                    <a:pt x="737850" y="889246"/>
                  </a:lnTo>
                  <a:cubicBezTo>
                    <a:pt x="738602" y="889330"/>
                    <a:pt x="739187" y="889497"/>
                    <a:pt x="739939" y="889581"/>
                  </a:cubicBezTo>
                  <a:lnTo>
                    <a:pt x="740189" y="889581"/>
                  </a:lnTo>
                  <a:lnTo>
                    <a:pt x="740189" y="889581"/>
                  </a:lnTo>
                  <a:lnTo>
                    <a:pt x="741442" y="889748"/>
                  </a:lnTo>
                  <a:lnTo>
                    <a:pt x="741442" y="889748"/>
                  </a:lnTo>
                  <a:lnTo>
                    <a:pt x="742696" y="889831"/>
                  </a:lnTo>
                  <a:lnTo>
                    <a:pt x="742696" y="889831"/>
                  </a:lnTo>
                  <a:lnTo>
                    <a:pt x="743949" y="889915"/>
                  </a:lnTo>
                  <a:lnTo>
                    <a:pt x="743949" y="889915"/>
                  </a:lnTo>
                  <a:lnTo>
                    <a:pt x="744367" y="889915"/>
                  </a:lnTo>
                  <a:cubicBezTo>
                    <a:pt x="745369" y="889915"/>
                    <a:pt x="746122" y="889999"/>
                    <a:pt x="747124" y="889999"/>
                  </a:cubicBezTo>
                  <a:lnTo>
                    <a:pt x="764169" y="889999"/>
                  </a:lnTo>
                  <a:lnTo>
                    <a:pt x="770268" y="889999"/>
                  </a:lnTo>
                  <a:cubicBezTo>
                    <a:pt x="809370" y="889999"/>
                    <a:pt x="841287" y="921915"/>
                    <a:pt x="841287" y="961018"/>
                  </a:cubicBezTo>
                  <a:lnTo>
                    <a:pt x="841287" y="969624"/>
                  </a:lnTo>
                  <a:lnTo>
                    <a:pt x="841287" y="970877"/>
                  </a:lnTo>
                  <a:lnTo>
                    <a:pt x="841287" y="970877"/>
                  </a:lnTo>
                  <a:lnTo>
                    <a:pt x="841371" y="972130"/>
                  </a:lnTo>
                  <a:lnTo>
                    <a:pt x="841371" y="972130"/>
                  </a:lnTo>
                  <a:lnTo>
                    <a:pt x="841454" y="973384"/>
                  </a:lnTo>
                  <a:lnTo>
                    <a:pt x="841454" y="973384"/>
                  </a:lnTo>
                  <a:lnTo>
                    <a:pt x="841538" y="974637"/>
                  </a:lnTo>
                  <a:lnTo>
                    <a:pt x="841538" y="974637"/>
                  </a:lnTo>
                  <a:lnTo>
                    <a:pt x="841705" y="975890"/>
                  </a:lnTo>
                  <a:lnTo>
                    <a:pt x="841705" y="975890"/>
                  </a:lnTo>
                  <a:lnTo>
                    <a:pt x="841872" y="977143"/>
                  </a:lnTo>
                  <a:lnTo>
                    <a:pt x="841872" y="977143"/>
                  </a:lnTo>
                  <a:lnTo>
                    <a:pt x="842039" y="978397"/>
                  </a:lnTo>
                  <a:lnTo>
                    <a:pt x="842039" y="978397"/>
                  </a:lnTo>
                  <a:cubicBezTo>
                    <a:pt x="842123" y="978814"/>
                    <a:pt x="842207" y="979232"/>
                    <a:pt x="842290" y="979650"/>
                  </a:cubicBezTo>
                  <a:lnTo>
                    <a:pt x="842290" y="979650"/>
                  </a:lnTo>
                  <a:lnTo>
                    <a:pt x="842541" y="980903"/>
                  </a:lnTo>
                  <a:lnTo>
                    <a:pt x="842541" y="980903"/>
                  </a:lnTo>
                  <a:lnTo>
                    <a:pt x="842875" y="982157"/>
                  </a:lnTo>
                  <a:lnTo>
                    <a:pt x="842875" y="982157"/>
                  </a:lnTo>
                  <a:lnTo>
                    <a:pt x="843209" y="983326"/>
                  </a:lnTo>
                  <a:lnTo>
                    <a:pt x="843209" y="983326"/>
                  </a:lnTo>
                  <a:lnTo>
                    <a:pt x="843543" y="984496"/>
                  </a:lnTo>
                  <a:lnTo>
                    <a:pt x="843543" y="984496"/>
                  </a:lnTo>
                  <a:lnTo>
                    <a:pt x="843961" y="985666"/>
                  </a:lnTo>
                  <a:lnTo>
                    <a:pt x="843961" y="985666"/>
                  </a:lnTo>
                  <a:lnTo>
                    <a:pt x="844379" y="986836"/>
                  </a:lnTo>
                  <a:lnTo>
                    <a:pt x="844379" y="986836"/>
                  </a:lnTo>
                  <a:lnTo>
                    <a:pt x="844797" y="988005"/>
                  </a:lnTo>
                  <a:lnTo>
                    <a:pt x="844797" y="988005"/>
                  </a:lnTo>
                  <a:lnTo>
                    <a:pt x="845298" y="989175"/>
                  </a:lnTo>
                  <a:lnTo>
                    <a:pt x="845298" y="989175"/>
                  </a:lnTo>
                  <a:lnTo>
                    <a:pt x="845799" y="990261"/>
                  </a:lnTo>
                  <a:lnTo>
                    <a:pt x="845799" y="990261"/>
                  </a:lnTo>
                  <a:lnTo>
                    <a:pt x="846301" y="991347"/>
                  </a:lnTo>
                  <a:lnTo>
                    <a:pt x="846301" y="991347"/>
                  </a:lnTo>
                  <a:lnTo>
                    <a:pt x="846886" y="992433"/>
                  </a:lnTo>
                  <a:lnTo>
                    <a:pt x="846886" y="992433"/>
                  </a:lnTo>
                  <a:cubicBezTo>
                    <a:pt x="847053" y="992768"/>
                    <a:pt x="847220" y="993185"/>
                    <a:pt x="847470" y="993520"/>
                  </a:cubicBezTo>
                  <a:lnTo>
                    <a:pt x="847470" y="993520"/>
                  </a:lnTo>
                  <a:lnTo>
                    <a:pt x="848055" y="994606"/>
                  </a:lnTo>
                  <a:lnTo>
                    <a:pt x="848055" y="994606"/>
                  </a:lnTo>
                  <a:cubicBezTo>
                    <a:pt x="848222" y="994940"/>
                    <a:pt x="848473" y="995274"/>
                    <a:pt x="848640" y="995692"/>
                  </a:cubicBezTo>
                  <a:lnTo>
                    <a:pt x="848640" y="995692"/>
                  </a:lnTo>
                  <a:lnTo>
                    <a:pt x="849308" y="996695"/>
                  </a:lnTo>
                  <a:lnTo>
                    <a:pt x="849308" y="996695"/>
                  </a:lnTo>
                  <a:lnTo>
                    <a:pt x="849977" y="997697"/>
                  </a:lnTo>
                  <a:lnTo>
                    <a:pt x="849977" y="997697"/>
                  </a:lnTo>
                  <a:lnTo>
                    <a:pt x="850645" y="998700"/>
                  </a:lnTo>
                  <a:lnTo>
                    <a:pt x="850645" y="998700"/>
                  </a:lnTo>
                  <a:lnTo>
                    <a:pt x="851397" y="999702"/>
                  </a:lnTo>
                  <a:lnTo>
                    <a:pt x="851397" y="999702"/>
                  </a:lnTo>
                  <a:lnTo>
                    <a:pt x="852149" y="1000705"/>
                  </a:lnTo>
                  <a:lnTo>
                    <a:pt x="852149" y="1000705"/>
                  </a:lnTo>
                  <a:cubicBezTo>
                    <a:pt x="852400" y="1001039"/>
                    <a:pt x="852651" y="1001374"/>
                    <a:pt x="852901" y="1001624"/>
                  </a:cubicBezTo>
                  <a:lnTo>
                    <a:pt x="852901" y="1001624"/>
                  </a:lnTo>
                  <a:lnTo>
                    <a:pt x="853653" y="1002543"/>
                  </a:lnTo>
                  <a:lnTo>
                    <a:pt x="853653" y="1002543"/>
                  </a:lnTo>
                  <a:lnTo>
                    <a:pt x="854489" y="1003462"/>
                  </a:lnTo>
                  <a:lnTo>
                    <a:pt x="854489" y="1003462"/>
                  </a:lnTo>
                  <a:lnTo>
                    <a:pt x="855324" y="1004381"/>
                  </a:lnTo>
                  <a:lnTo>
                    <a:pt x="855324" y="1004381"/>
                  </a:lnTo>
                  <a:lnTo>
                    <a:pt x="856160" y="1005217"/>
                  </a:lnTo>
                  <a:lnTo>
                    <a:pt x="856160" y="1005217"/>
                  </a:lnTo>
                  <a:lnTo>
                    <a:pt x="856995" y="1006052"/>
                  </a:lnTo>
                  <a:lnTo>
                    <a:pt x="856995" y="1006052"/>
                  </a:lnTo>
                  <a:lnTo>
                    <a:pt x="857914" y="1006888"/>
                  </a:lnTo>
                  <a:lnTo>
                    <a:pt x="857914" y="1006888"/>
                  </a:lnTo>
                  <a:lnTo>
                    <a:pt x="858833" y="1007724"/>
                  </a:lnTo>
                  <a:lnTo>
                    <a:pt x="858833" y="1007724"/>
                  </a:lnTo>
                  <a:lnTo>
                    <a:pt x="859752" y="1008476"/>
                  </a:lnTo>
                  <a:lnTo>
                    <a:pt x="859752" y="1008476"/>
                  </a:lnTo>
                  <a:cubicBezTo>
                    <a:pt x="860087" y="1008726"/>
                    <a:pt x="860421" y="1008977"/>
                    <a:pt x="860672" y="1009227"/>
                  </a:cubicBezTo>
                  <a:lnTo>
                    <a:pt x="860672" y="1009227"/>
                  </a:lnTo>
                  <a:cubicBezTo>
                    <a:pt x="861006" y="1009478"/>
                    <a:pt x="861340" y="1009729"/>
                    <a:pt x="861591" y="1009979"/>
                  </a:cubicBezTo>
                  <a:lnTo>
                    <a:pt x="861591" y="1009979"/>
                  </a:lnTo>
                  <a:lnTo>
                    <a:pt x="862593" y="1010731"/>
                  </a:lnTo>
                  <a:lnTo>
                    <a:pt x="862593" y="1010731"/>
                  </a:lnTo>
                  <a:lnTo>
                    <a:pt x="863596" y="1011400"/>
                  </a:lnTo>
                  <a:lnTo>
                    <a:pt x="863596" y="1011400"/>
                  </a:lnTo>
                  <a:lnTo>
                    <a:pt x="864599" y="1012068"/>
                  </a:lnTo>
                  <a:lnTo>
                    <a:pt x="864599" y="1012068"/>
                  </a:lnTo>
                  <a:lnTo>
                    <a:pt x="865601" y="1012737"/>
                  </a:lnTo>
                  <a:lnTo>
                    <a:pt x="865601" y="1012737"/>
                  </a:lnTo>
                  <a:lnTo>
                    <a:pt x="866687" y="1013321"/>
                  </a:lnTo>
                  <a:lnTo>
                    <a:pt x="866687" y="1013321"/>
                  </a:lnTo>
                  <a:lnTo>
                    <a:pt x="867774" y="1013906"/>
                  </a:lnTo>
                  <a:lnTo>
                    <a:pt x="867774" y="1013906"/>
                  </a:lnTo>
                  <a:lnTo>
                    <a:pt x="868860" y="1014491"/>
                  </a:lnTo>
                  <a:lnTo>
                    <a:pt x="868860" y="1014491"/>
                  </a:lnTo>
                  <a:lnTo>
                    <a:pt x="869946" y="1015076"/>
                  </a:lnTo>
                  <a:lnTo>
                    <a:pt x="869946" y="1015076"/>
                  </a:lnTo>
                  <a:lnTo>
                    <a:pt x="871032" y="1015578"/>
                  </a:lnTo>
                  <a:lnTo>
                    <a:pt x="871032" y="1015578"/>
                  </a:lnTo>
                  <a:cubicBezTo>
                    <a:pt x="871366" y="1015745"/>
                    <a:pt x="871784" y="1015912"/>
                    <a:pt x="872118" y="1016079"/>
                  </a:cubicBezTo>
                  <a:lnTo>
                    <a:pt x="872118" y="1016079"/>
                  </a:lnTo>
                  <a:lnTo>
                    <a:pt x="873288" y="1016580"/>
                  </a:lnTo>
                  <a:lnTo>
                    <a:pt x="873288" y="1016580"/>
                  </a:lnTo>
                  <a:lnTo>
                    <a:pt x="874458" y="1016998"/>
                  </a:lnTo>
                  <a:lnTo>
                    <a:pt x="874458" y="1016998"/>
                  </a:lnTo>
                  <a:lnTo>
                    <a:pt x="875627" y="1017416"/>
                  </a:lnTo>
                  <a:lnTo>
                    <a:pt x="875627" y="1017416"/>
                  </a:lnTo>
                  <a:lnTo>
                    <a:pt x="876797" y="1017833"/>
                  </a:lnTo>
                  <a:lnTo>
                    <a:pt x="876797" y="1017833"/>
                  </a:lnTo>
                  <a:lnTo>
                    <a:pt x="877967" y="1018168"/>
                  </a:lnTo>
                  <a:lnTo>
                    <a:pt x="877967" y="1018168"/>
                  </a:lnTo>
                  <a:lnTo>
                    <a:pt x="879137" y="1018502"/>
                  </a:lnTo>
                  <a:lnTo>
                    <a:pt x="879137" y="1018502"/>
                  </a:lnTo>
                  <a:lnTo>
                    <a:pt x="880306" y="1018836"/>
                  </a:lnTo>
                  <a:lnTo>
                    <a:pt x="880306" y="1018836"/>
                  </a:lnTo>
                  <a:lnTo>
                    <a:pt x="881560" y="1019087"/>
                  </a:lnTo>
                  <a:lnTo>
                    <a:pt x="881560" y="1019087"/>
                  </a:lnTo>
                  <a:cubicBezTo>
                    <a:pt x="881977" y="1019170"/>
                    <a:pt x="882395" y="1019254"/>
                    <a:pt x="882813" y="1019337"/>
                  </a:cubicBezTo>
                  <a:lnTo>
                    <a:pt x="882813" y="1019337"/>
                  </a:lnTo>
                  <a:lnTo>
                    <a:pt x="884066" y="1019588"/>
                  </a:lnTo>
                  <a:lnTo>
                    <a:pt x="884066" y="1019588"/>
                  </a:lnTo>
                  <a:lnTo>
                    <a:pt x="885319" y="1019755"/>
                  </a:lnTo>
                  <a:lnTo>
                    <a:pt x="885319" y="1019755"/>
                  </a:lnTo>
                  <a:lnTo>
                    <a:pt x="886573" y="1019922"/>
                  </a:lnTo>
                  <a:lnTo>
                    <a:pt x="886573" y="1019922"/>
                  </a:lnTo>
                  <a:lnTo>
                    <a:pt x="887826" y="1020006"/>
                  </a:lnTo>
                  <a:lnTo>
                    <a:pt x="887826" y="1020006"/>
                  </a:lnTo>
                  <a:lnTo>
                    <a:pt x="889079" y="1020089"/>
                  </a:lnTo>
                  <a:lnTo>
                    <a:pt x="889079" y="1020089"/>
                  </a:lnTo>
                  <a:lnTo>
                    <a:pt x="889497" y="1020089"/>
                  </a:lnTo>
                  <a:cubicBezTo>
                    <a:pt x="890416" y="1020089"/>
                    <a:pt x="891252" y="1020173"/>
                    <a:pt x="892254" y="1020173"/>
                  </a:cubicBezTo>
                  <a:lnTo>
                    <a:pt x="918907" y="1020173"/>
                  </a:lnTo>
                  <a:lnTo>
                    <a:pt x="1052173" y="1020173"/>
                  </a:lnTo>
                  <a:cubicBezTo>
                    <a:pt x="1091276" y="1020173"/>
                    <a:pt x="1123193" y="1052090"/>
                    <a:pt x="1123193" y="1091192"/>
                  </a:cubicBezTo>
                  <a:lnTo>
                    <a:pt x="1123193" y="1206912"/>
                  </a:lnTo>
                  <a:lnTo>
                    <a:pt x="1123193" y="1350371"/>
                  </a:lnTo>
                  <a:lnTo>
                    <a:pt x="1123193" y="1353129"/>
                  </a:lnTo>
                  <a:cubicBezTo>
                    <a:pt x="1123193" y="1380952"/>
                    <a:pt x="1145919" y="1403678"/>
                    <a:pt x="1173742" y="1403678"/>
                  </a:cubicBezTo>
                  <a:lnTo>
                    <a:pt x="1191288" y="1403678"/>
                  </a:lnTo>
                  <a:cubicBezTo>
                    <a:pt x="1219111" y="1403678"/>
                    <a:pt x="1241837" y="1380952"/>
                    <a:pt x="1241837" y="1353129"/>
                  </a:cubicBezTo>
                  <a:lnTo>
                    <a:pt x="1241837" y="1346026"/>
                  </a:lnTo>
                  <a:cubicBezTo>
                    <a:pt x="1241837" y="1306924"/>
                    <a:pt x="1273754" y="1275007"/>
                    <a:pt x="1312856" y="1275007"/>
                  </a:cubicBezTo>
                  <a:lnTo>
                    <a:pt x="1339676" y="1275007"/>
                  </a:lnTo>
                  <a:cubicBezTo>
                    <a:pt x="1367499" y="1275007"/>
                    <a:pt x="1390226" y="1252281"/>
                    <a:pt x="1390226" y="1224458"/>
                  </a:cubicBezTo>
                  <a:lnTo>
                    <a:pt x="1390226" y="1206912"/>
                  </a:lnTo>
                  <a:cubicBezTo>
                    <a:pt x="1390226" y="1185105"/>
                    <a:pt x="1376272" y="1166389"/>
                    <a:pt x="1356805" y="1159371"/>
                  </a:cubicBezTo>
                  <a:cubicBezTo>
                    <a:pt x="1347113" y="1155862"/>
                    <a:pt x="1310099" y="1162880"/>
                    <a:pt x="1296062" y="1156196"/>
                  </a:cubicBezTo>
                  <a:cubicBezTo>
                    <a:pt x="1262808" y="1140238"/>
                    <a:pt x="1250192" y="1104393"/>
                    <a:pt x="1254370" y="1080247"/>
                  </a:cubicBezTo>
                  <a:cubicBezTo>
                    <a:pt x="1260385" y="1045990"/>
                    <a:pt x="1279853" y="1021510"/>
                    <a:pt x="1314694" y="1021510"/>
                  </a:cubicBezTo>
                  <a:lnTo>
                    <a:pt x="1475282" y="1021510"/>
                  </a:lnTo>
                  <a:cubicBezTo>
                    <a:pt x="1503105" y="1021510"/>
                    <a:pt x="1525831" y="998783"/>
                    <a:pt x="1525831" y="970960"/>
                  </a:cubicBezTo>
                  <a:lnTo>
                    <a:pt x="1525831" y="953415"/>
                  </a:lnTo>
                  <a:cubicBezTo>
                    <a:pt x="1525831" y="925592"/>
                    <a:pt x="1503105" y="902865"/>
                    <a:pt x="1475282" y="902865"/>
                  </a:cubicBezTo>
                  <a:lnTo>
                    <a:pt x="1314778" y="902865"/>
                  </a:lnTo>
                  <a:cubicBezTo>
                    <a:pt x="1275675" y="902865"/>
                    <a:pt x="1243759" y="870948"/>
                    <a:pt x="1243759" y="831846"/>
                  </a:cubicBezTo>
                  <a:lnTo>
                    <a:pt x="1243759" y="826833"/>
                  </a:lnTo>
                  <a:cubicBezTo>
                    <a:pt x="1243759" y="799010"/>
                    <a:pt x="1221032" y="776284"/>
                    <a:pt x="1193209" y="776284"/>
                  </a:cubicBezTo>
                  <a:lnTo>
                    <a:pt x="1040476" y="776284"/>
                  </a:lnTo>
                  <a:cubicBezTo>
                    <a:pt x="1001373" y="776284"/>
                    <a:pt x="969456" y="744367"/>
                    <a:pt x="969456" y="705264"/>
                  </a:cubicBezTo>
                  <a:lnTo>
                    <a:pt x="969456" y="566818"/>
                  </a:lnTo>
                  <a:cubicBezTo>
                    <a:pt x="969456" y="557461"/>
                    <a:pt x="966866" y="548604"/>
                    <a:pt x="962354" y="541084"/>
                  </a:cubicBezTo>
                  <a:cubicBezTo>
                    <a:pt x="962104" y="540750"/>
                    <a:pt x="961937" y="540416"/>
                    <a:pt x="961770" y="540082"/>
                  </a:cubicBezTo>
                  <a:cubicBezTo>
                    <a:pt x="953080" y="524875"/>
                    <a:pt x="936621" y="514515"/>
                    <a:pt x="917905" y="514515"/>
                  </a:cubicBezTo>
                  <a:lnTo>
                    <a:pt x="898353" y="514515"/>
                  </a:lnTo>
                  <a:cubicBezTo>
                    <a:pt x="859251" y="514515"/>
                    <a:pt x="827334" y="482598"/>
                    <a:pt x="827334" y="443495"/>
                  </a:cubicBezTo>
                  <a:lnTo>
                    <a:pt x="827334" y="443161"/>
                  </a:lnTo>
                  <a:cubicBezTo>
                    <a:pt x="827334" y="415338"/>
                    <a:pt x="804524" y="392779"/>
                    <a:pt x="776785" y="391944"/>
                  </a:cubicBezTo>
                  <a:lnTo>
                    <a:pt x="741025" y="390857"/>
                  </a:lnTo>
                  <a:cubicBezTo>
                    <a:pt x="716544" y="387432"/>
                    <a:pt x="697577" y="366210"/>
                    <a:pt x="697577" y="340810"/>
                  </a:cubicBezTo>
                  <a:lnTo>
                    <a:pt x="697577" y="323264"/>
                  </a:lnTo>
                  <a:cubicBezTo>
                    <a:pt x="697577" y="295441"/>
                    <a:pt x="720304" y="272715"/>
                    <a:pt x="748127" y="272715"/>
                  </a:cubicBezTo>
                  <a:lnTo>
                    <a:pt x="835188" y="272715"/>
                  </a:lnTo>
                  <a:lnTo>
                    <a:pt x="834353" y="50549"/>
                  </a:lnTo>
                  <a:cubicBezTo>
                    <a:pt x="834269" y="22810"/>
                    <a:pt x="811626" y="0"/>
                    <a:pt x="783803" y="0"/>
                  </a:cubicBezTo>
                  <a:lnTo>
                    <a:pt x="188243" y="0"/>
                  </a:lnTo>
                  <a:cubicBezTo>
                    <a:pt x="162426" y="0"/>
                    <a:pt x="140869" y="19718"/>
                    <a:pt x="138028" y="44868"/>
                  </a:cubicBezTo>
                  <a:lnTo>
                    <a:pt x="138028" y="81631"/>
                  </a:lnTo>
                  <a:cubicBezTo>
                    <a:pt x="138028" y="109453"/>
                    <a:pt x="115302" y="132180"/>
                    <a:pt x="87479" y="132180"/>
                  </a:cubicBezTo>
                  <a:lnTo>
                    <a:pt x="0" y="132180"/>
                  </a:lnTo>
                  <a:lnTo>
                    <a:pt x="418" y="451683"/>
                  </a:lnTo>
                  <a:lnTo>
                    <a:pt x="418" y="451683"/>
                  </a:lnTo>
                  <a:close/>
                  <a:moveTo>
                    <a:pt x="841538" y="969540"/>
                  </a:moveTo>
                  <a:lnTo>
                    <a:pt x="841538" y="969540"/>
                  </a:lnTo>
                  <a:lnTo>
                    <a:pt x="841538" y="969540"/>
                  </a:lnTo>
                  <a:lnTo>
                    <a:pt x="841538" y="969540"/>
                  </a:lnTo>
                  <a:close/>
                  <a:moveTo>
                    <a:pt x="426451" y="590046"/>
                  </a:moveTo>
                  <a:lnTo>
                    <a:pt x="426451" y="590046"/>
                  </a:lnTo>
                  <a:lnTo>
                    <a:pt x="426451" y="590046"/>
                  </a:lnTo>
                  <a:lnTo>
                    <a:pt x="426451" y="590046"/>
                  </a:lnTo>
                  <a:close/>
                  <a:moveTo>
                    <a:pt x="567570" y="714706"/>
                  </a:moveTo>
                  <a:lnTo>
                    <a:pt x="567570" y="714706"/>
                  </a:lnTo>
                  <a:lnTo>
                    <a:pt x="567570" y="714706"/>
                  </a:lnTo>
                  <a:lnTo>
                    <a:pt x="567570" y="714706"/>
                  </a:lnTo>
                  <a:close/>
                  <a:moveTo>
                    <a:pt x="696324" y="839366"/>
                  </a:moveTo>
                  <a:lnTo>
                    <a:pt x="696324" y="839366"/>
                  </a:lnTo>
                  <a:lnTo>
                    <a:pt x="696324" y="839366"/>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2" name="Freeform: Shape 161">
              <a:extLst>
                <a:ext uri="{FF2B5EF4-FFF2-40B4-BE49-F238E27FC236}">
                  <a16:creationId xmlns:a16="http://schemas.microsoft.com/office/drawing/2014/main" id="{E7FCACB1-47E6-4F24-BA8A-F9882EA2FF06}"/>
                </a:ext>
              </a:extLst>
            </p:cNvPr>
            <p:cNvSpPr/>
            <p:nvPr/>
          </p:nvSpPr>
          <p:spPr>
            <a:xfrm>
              <a:off x="12995847" y="4658273"/>
              <a:ext cx="551445" cy="375985"/>
            </a:xfrm>
            <a:custGeom>
              <a:avLst/>
              <a:gdLst>
                <a:gd name="connsiteX0" fmla="*/ 556040 w 551444"/>
                <a:gd name="connsiteY0" fmla="*/ 250406 h 375985"/>
                <a:gd name="connsiteX1" fmla="*/ 556040 w 551444"/>
                <a:gd name="connsiteY1" fmla="*/ 124743 h 375985"/>
                <a:gd name="connsiteX2" fmla="*/ 50549 w 551444"/>
                <a:gd name="connsiteY2" fmla="*/ 125662 h 375985"/>
                <a:gd name="connsiteX3" fmla="*/ 0 w 551444"/>
                <a:gd name="connsiteY3" fmla="*/ 176212 h 375985"/>
                <a:gd name="connsiteX4" fmla="*/ 0 w 551444"/>
                <a:gd name="connsiteY4" fmla="*/ 332036 h 375985"/>
                <a:gd name="connsiteX5" fmla="*/ 50549 w 551444"/>
                <a:gd name="connsiteY5" fmla="*/ 382585 h 375985"/>
                <a:gd name="connsiteX6" fmla="*/ 221998 w 551444"/>
                <a:gd name="connsiteY6" fmla="*/ 382585 h 375985"/>
                <a:gd name="connsiteX7" fmla="*/ 272547 w 551444"/>
                <a:gd name="connsiteY7" fmla="*/ 332036 h 375985"/>
                <a:gd name="connsiteX8" fmla="*/ 272547 w 551444"/>
                <a:gd name="connsiteY8" fmla="*/ 295274 h 375985"/>
                <a:gd name="connsiteX9" fmla="*/ 322762 w 551444"/>
                <a:gd name="connsiteY9" fmla="*/ 250406 h 375985"/>
                <a:gd name="connsiteX10" fmla="*/ 556040 w 551444"/>
                <a:gd name="connsiteY10" fmla="*/ 250406 h 375985"/>
                <a:gd name="connsiteX11" fmla="*/ 556040 w 551444"/>
                <a:gd name="connsiteY11" fmla="*/ 250406 h 375985"/>
                <a:gd name="connsiteX12" fmla="*/ 80127 w 551444"/>
                <a:gd name="connsiteY12" fmla="*/ 0 h 375985"/>
                <a:gd name="connsiteX13" fmla="*/ 80127 w 551444"/>
                <a:gd name="connsiteY13" fmla="*/ 0 h 375985"/>
                <a:gd name="connsiteX14" fmla="*/ 80127 w 551444"/>
                <a:gd name="connsiteY14" fmla="*/ 0 h 375985"/>
                <a:gd name="connsiteX15" fmla="*/ 80127 w 551444"/>
                <a:gd name="connsiteY15" fmla="*/ 0 h 3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1444" h="375985">
                  <a:moveTo>
                    <a:pt x="556040" y="250406"/>
                  </a:moveTo>
                  <a:lnTo>
                    <a:pt x="556040" y="124743"/>
                  </a:lnTo>
                  <a:cubicBezTo>
                    <a:pt x="374982" y="124743"/>
                    <a:pt x="219074" y="125662"/>
                    <a:pt x="50549" y="125662"/>
                  </a:cubicBezTo>
                  <a:cubicBezTo>
                    <a:pt x="22726" y="125662"/>
                    <a:pt x="0" y="148389"/>
                    <a:pt x="0" y="176212"/>
                  </a:cubicBezTo>
                  <a:lnTo>
                    <a:pt x="0" y="332036"/>
                  </a:lnTo>
                  <a:cubicBezTo>
                    <a:pt x="0" y="359859"/>
                    <a:pt x="22726" y="382585"/>
                    <a:pt x="50549" y="382585"/>
                  </a:cubicBezTo>
                  <a:lnTo>
                    <a:pt x="221998" y="382585"/>
                  </a:lnTo>
                  <a:cubicBezTo>
                    <a:pt x="249821" y="382585"/>
                    <a:pt x="272547" y="359859"/>
                    <a:pt x="272547" y="332036"/>
                  </a:cubicBezTo>
                  <a:lnTo>
                    <a:pt x="272547" y="295274"/>
                  </a:lnTo>
                  <a:cubicBezTo>
                    <a:pt x="275388" y="270124"/>
                    <a:pt x="296945" y="250406"/>
                    <a:pt x="322762" y="250406"/>
                  </a:cubicBezTo>
                  <a:lnTo>
                    <a:pt x="556040" y="250406"/>
                  </a:lnTo>
                  <a:lnTo>
                    <a:pt x="556040" y="250406"/>
                  </a:lnTo>
                  <a:close/>
                  <a:moveTo>
                    <a:pt x="80127" y="0"/>
                  </a:moveTo>
                  <a:lnTo>
                    <a:pt x="80127" y="0"/>
                  </a:lnTo>
                  <a:lnTo>
                    <a:pt x="80127" y="0"/>
                  </a:lnTo>
                  <a:lnTo>
                    <a:pt x="80127" y="0"/>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3" name="Freeform: Shape 162">
              <a:extLst>
                <a:ext uri="{FF2B5EF4-FFF2-40B4-BE49-F238E27FC236}">
                  <a16:creationId xmlns:a16="http://schemas.microsoft.com/office/drawing/2014/main" id="{0FCA2428-2006-43F0-95AB-98F8CCA8562B}"/>
                </a:ext>
              </a:extLst>
            </p:cNvPr>
            <p:cNvSpPr/>
            <p:nvPr/>
          </p:nvSpPr>
          <p:spPr>
            <a:xfrm>
              <a:off x="13551804" y="4675651"/>
              <a:ext cx="827167" cy="501313"/>
            </a:xfrm>
            <a:custGeom>
              <a:avLst/>
              <a:gdLst>
                <a:gd name="connsiteX0" fmla="*/ 414419 w 827167"/>
                <a:gd name="connsiteY0" fmla="*/ 0 h 501313"/>
                <a:gd name="connsiteX1" fmla="*/ 834854 w 827167"/>
                <a:gd name="connsiteY1" fmla="*/ 0 h 501313"/>
                <a:gd name="connsiteX2" fmla="*/ 834854 w 827167"/>
                <a:gd name="connsiteY2" fmla="*/ 187073 h 501313"/>
                <a:gd name="connsiteX3" fmla="*/ 784305 w 827167"/>
                <a:gd name="connsiteY3" fmla="*/ 237623 h 501313"/>
                <a:gd name="connsiteX4" fmla="*/ 753725 w 827167"/>
                <a:gd name="connsiteY4" fmla="*/ 237623 h 501313"/>
                <a:gd name="connsiteX5" fmla="*/ 689974 w 827167"/>
                <a:gd name="connsiteY5" fmla="*/ 304882 h 501313"/>
                <a:gd name="connsiteX6" fmla="*/ 689974 w 827167"/>
                <a:gd name="connsiteY6" fmla="*/ 452603 h 501313"/>
                <a:gd name="connsiteX7" fmla="*/ 639425 w 827167"/>
                <a:gd name="connsiteY7" fmla="*/ 503152 h 501313"/>
                <a:gd name="connsiteX8" fmla="*/ 414502 w 827167"/>
                <a:gd name="connsiteY8" fmla="*/ 503152 h 501313"/>
                <a:gd name="connsiteX9" fmla="*/ 417427 w 827167"/>
                <a:gd name="connsiteY9" fmla="*/ 452603 h 501313"/>
                <a:gd name="connsiteX10" fmla="*/ 417427 w 827167"/>
                <a:gd name="connsiteY10" fmla="*/ 277895 h 501313"/>
                <a:gd name="connsiteX11" fmla="*/ 367212 w 827167"/>
                <a:gd name="connsiteY11" fmla="*/ 233027 h 501313"/>
                <a:gd name="connsiteX12" fmla="*/ 0 w 827167"/>
                <a:gd name="connsiteY12" fmla="*/ 233027 h 501313"/>
                <a:gd name="connsiteX13" fmla="*/ 0 w 827167"/>
                <a:gd name="connsiteY13" fmla="*/ 107365 h 501313"/>
                <a:gd name="connsiteX14" fmla="*/ 69098 w 827167"/>
                <a:gd name="connsiteY14" fmla="*/ 107365 h 501313"/>
                <a:gd name="connsiteX15" fmla="*/ 81881 w 827167"/>
                <a:gd name="connsiteY15" fmla="*/ 106780 h 501313"/>
                <a:gd name="connsiteX16" fmla="*/ 88816 w 827167"/>
                <a:gd name="connsiteY16" fmla="*/ 106445 h 501313"/>
                <a:gd name="connsiteX17" fmla="*/ 351086 w 827167"/>
                <a:gd name="connsiteY17" fmla="*/ 106445 h 501313"/>
                <a:gd name="connsiteX18" fmla="*/ 412497 w 827167"/>
                <a:gd name="connsiteY18" fmla="*/ 45035 h 501313"/>
                <a:gd name="connsiteX19" fmla="*/ 414419 w 827167"/>
                <a:gd name="connsiteY19" fmla="*/ 0 h 50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7167" h="501313">
                  <a:moveTo>
                    <a:pt x="414419" y="0"/>
                  </a:moveTo>
                  <a:lnTo>
                    <a:pt x="834854" y="0"/>
                  </a:lnTo>
                  <a:lnTo>
                    <a:pt x="834854" y="187073"/>
                  </a:lnTo>
                  <a:cubicBezTo>
                    <a:pt x="834854" y="214896"/>
                    <a:pt x="812127" y="237623"/>
                    <a:pt x="784305" y="237623"/>
                  </a:cubicBezTo>
                  <a:lnTo>
                    <a:pt x="753725" y="237623"/>
                  </a:lnTo>
                  <a:cubicBezTo>
                    <a:pt x="704345" y="237623"/>
                    <a:pt x="688554" y="285916"/>
                    <a:pt x="689974" y="304882"/>
                  </a:cubicBezTo>
                  <a:lnTo>
                    <a:pt x="689974" y="452603"/>
                  </a:lnTo>
                  <a:cubicBezTo>
                    <a:pt x="689974" y="480425"/>
                    <a:pt x="667248" y="503152"/>
                    <a:pt x="639425" y="503152"/>
                  </a:cubicBezTo>
                  <a:lnTo>
                    <a:pt x="414502" y="503152"/>
                  </a:lnTo>
                  <a:lnTo>
                    <a:pt x="417427" y="452603"/>
                  </a:lnTo>
                  <a:lnTo>
                    <a:pt x="417427" y="277895"/>
                  </a:lnTo>
                  <a:cubicBezTo>
                    <a:pt x="414586" y="252746"/>
                    <a:pt x="393029" y="233027"/>
                    <a:pt x="367212" y="233027"/>
                  </a:cubicBezTo>
                  <a:lnTo>
                    <a:pt x="0" y="233027"/>
                  </a:lnTo>
                  <a:lnTo>
                    <a:pt x="0" y="107365"/>
                  </a:lnTo>
                  <a:lnTo>
                    <a:pt x="69098" y="107365"/>
                  </a:lnTo>
                  <a:cubicBezTo>
                    <a:pt x="73442" y="107365"/>
                    <a:pt x="77703" y="107114"/>
                    <a:pt x="81881" y="106780"/>
                  </a:cubicBezTo>
                  <a:cubicBezTo>
                    <a:pt x="84304" y="106529"/>
                    <a:pt x="86393" y="106445"/>
                    <a:pt x="88816" y="106445"/>
                  </a:cubicBezTo>
                  <a:lnTo>
                    <a:pt x="351086" y="106445"/>
                  </a:lnTo>
                  <a:cubicBezTo>
                    <a:pt x="384842" y="106445"/>
                    <a:pt x="411077" y="78790"/>
                    <a:pt x="412497" y="45035"/>
                  </a:cubicBezTo>
                  <a:lnTo>
                    <a:pt x="414419" y="0"/>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4" name="Freeform: Shape 163">
              <a:extLst>
                <a:ext uri="{FF2B5EF4-FFF2-40B4-BE49-F238E27FC236}">
                  <a16:creationId xmlns:a16="http://schemas.microsoft.com/office/drawing/2014/main" id="{393CADAA-2186-49D5-8DEF-E706F74C2E6E}"/>
                </a:ext>
              </a:extLst>
            </p:cNvPr>
            <p:cNvSpPr/>
            <p:nvPr/>
          </p:nvSpPr>
          <p:spPr>
            <a:xfrm>
              <a:off x="13966390" y="5043281"/>
              <a:ext cx="267367" cy="133684"/>
            </a:xfrm>
            <a:custGeom>
              <a:avLst/>
              <a:gdLst>
                <a:gd name="connsiteX0" fmla="*/ 275472 w 267367"/>
                <a:gd name="connsiteY0" fmla="*/ 0 h 133683"/>
                <a:gd name="connsiteX1" fmla="*/ 275472 w 267367"/>
                <a:gd name="connsiteY1" fmla="*/ 84973 h 133683"/>
                <a:gd name="connsiteX2" fmla="*/ 224922 w 267367"/>
                <a:gd name="connsiteY2" fmla="*/ 135522 h 133683"/>
                <a:gd name="connsiteX3" fmla="*/ 0 w 267367"/>
                <a:gd name="connsiteY3" fmla="*/ 135522 h 133683"/>
                <a:gd name="connsiteX4" fmla="*/ 2924 w 267367"/>
                <a:gd name="connsiteY4" fmla="*/ 84973 h 133683"/>
                <a:gd name="connsiteX5" fmla="*/ 2924 w 267367"/>
                <a:gd name="connsiteY5" fmla="*/ 0 h 133683"/>
                <a:gd name="connsiteX6" fmla="*/ 275472 w 267367"/>
                <a:gd name="connsiteY6" fmla="*/ 0 h 13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367" h="133683">
                  <a:moveTo>
                    <a:pt x="275472" y="0"/>
                  </a:moveTo>
                  <a:lnTo>
                    <a:pt x="275472" y="84973"/>
                  </a:lnTo>
                  <a:cubicBezTo>
                    <a:pt x="275472" y="112796"/>
                    <a:pt x="252745" y="135522"/>
                    <a:pt x="224922" y="135522"/>
                  </a:cubicBezTo>
                  <a:lnTo>
                    <a:pt x="0" y="135522"/>
                  </a:lnTo>
                  <a:lnTo>
                    <a:pt x="2924" y="84973"/>
                  </a:lnTo>
                  <a:lnTo>
                    <a:pt x="2924" y="0"/>
                  </a:lnTo>
                  <a:lnTo>
                    <a:pt x="275472" y="0"/>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5" name="Freeform: Shape 164">
              <a:extLst>
                <a:ext uri="{FF2B5EF4-FFF2-40B4-BE49-F238E27FC236}">
                  <a16:creationId xmlns:a16="http://schemas.microsoft.com/office/drawing/2014/main" id="{0C89D7D4-60BC-4DF3-AFBD-AC691493E588}"/>
                </a:ext>
              </a:extLst>
            </p:cNvPr>
            <p:cNvSpPr/>
            <p:nvPr/>
          </p:nvSpPr>
          <p:spPr>
            <a:xfrm>
              <a:off x="14075592" y="5043532"/>
              <a:ext cx="718549" cy="426116"/>
            </a:xfrm>
            <a:custGeom>
              <a:avLst/>
              <a:gdLst>
                <a:gd name="connsiteX0" fmla="*/ 0 w 718549"/>
                <a:gd name="connsiteY0" fmla="*/ 135271 h 426116"/>
                <a:gd name="connsiteX1" fmla="*/ 36011 w 718549"/>
                <a:gd name="connsiteY1" fmla="*/ 193256 h 426116"/>
                <a:gd name="connsiteX2" fmla="*/ 36011 w 718549"/>
                <a:gd name="connsiteY2" fmla="*/ 209883 h 426116"/>
                <a:gd name="connsiteX3" fmla="*/ 86560 w 718549"/>
                <a:gd name="connsiteY3" fmla="*/ 260432 h 426116"/>
                <a:gd name="connsiteX4" fmla="*/ 111208 w 718549"/>
                <a:gd name="connsiteY4" fmla="*/ 260432 h 426116"/>
                <a:gd name="connsiteX5" fmla="*/ 182227 w 718549"/>
                <a:gd name="connsiteY5" fmla="*/ 331452 h 426116"/>
                <a:gd name="connsiteX6" fmla="*/ 182227 w 718549"/>
                <a:gd name="connsiteY6" fmla="*/ 337718 h 426116"/>
                <a:gd name="connsiteX7" fmla="*/ 182227 w 718549"/>
                <a:gd name="connsiteY7" fmla="*/ 339055 h 426116"/>
                <a:gd name="connsiteX8" fmla="*/ 182227 w 718549"/>
                <a:gd name="connsiteY8" fmla="*/ 339055 h 426116"/>
                <a:gd name="connsiteX9" fmla="*/ 182311 w 718549"/>
                <a:gd name="connsiteY9" fmla="*/ 340308 h 426116"/>
                <a:gd name="connsiteX10" fmla="*/ 182311 w 718549"/>
                <a:gd name="connsiteY10" fmla="*/ 340308 h 426116"/>
                <a:gd name="connsiteX11" fmla="*/ 182394 w 718549"/>
                <a:gd name="connsiteY11" fmla="*/ 341562 h 426116"/>
                <a:gd name="connsiteX12" fmla="*/ 182394 w 718549"/>
                <a:gd name="connsiteY12" fmla="*/ 341562 h 426116"/>
                <a:gd name="connsiteX13" fmla="*/ 182478 w 718549"/>
                <a:gd name="connsiteY13" fmla="*/ 342815 h 426116"/>
                <a:gd name="connsiteX14" fmla="*/ 182478 w 718549"/>
                <a:gd name="connsiteY14" fmla="*/ 342815 h 426116"/>
                <a:gd name="connsiteX15" fmla="*/ 182645 w 718549"/>
                <a:gd name="connsiteY15" fmla="*/ 344068 h 426116"/>
                <a:gd name="connsiteX16" fmla="*/ 182645 w 718549"/>
                <a:gd name="connsiteY16" fmla="*/ 344068 h 426116"/>
                <a:gd name="connsiteX17" fmla="*/ 182812 w 718549"/>
                <a:gd name="connsiteY17" fmla="*/ 345321 h 426116"/>
                <a:gd name="connsiteX18" fmla="*/ 182812 w 718549"/>
                <a:gd name="connsiteY18" fmla="*/ 345321 h 426116"/>
                <a:gd name="connsiteX19" fmla="*/ 182979 w 718549"/>
                <a:gd name="connsiteY19" fmla="*/ 346575 h 426116"/>
                <a:gd name="connsiteX20" fmla="*/ 182979 w 718549"/>
                <a:gd name="connsiteY20" fmla="*/ 346575 h 426116"/>
                <a:gd name="connsiteX21" fmla="*/ 202531 w 718549"/>
                <a:gd name="connsiteY21" fmla="*/ 378157 h 426116"/>
                <a:gd name="connsiteX22" fmla="*/ 202531 w 718549"/>
                <a:gd name="connsiteY22" fmla="*/ 378157 h 426116"/>
                <a:gd name="connsiteX23" fmla="*/ 203533 w 718549"/>
                <a:gd name="connsiteY23" fmla="*/ 378909 h 426116"/>
                <a:gd name="connsiteX24" fmla="*/ 203533 w 718549"/>
                <a:gd name="connsiteY24" fmla="*/ 378909 h 426116"/>
                <a:gd name="connsiteX25" fmla="*/ 204536 w 718549"/>
                <a:gd name="connsiteY25" fmla="*/ 379578 h 426116"/>
                <a:gd name="connsiteX26" fmla="*/ 204536 w 718549"/>
                <a:gd name="connsiteY26" fmla="*/ 379578 h 426116"/>
                <a:gd name="connsiteX27" fmla="*/ 205538 w 718549"/>
                <a:gd name="connsiteY27" fmla="*/ 380246 h 426116"/>
                <a:gd name="connsiteX28" fmla="*/ 205538 w 718549"/>
                <a:gd name="connsiteY28" fmla="*/ 380246 h 426116"/>
                <a:gd name="connsiteX29" fmla="*/ 206541 w 718549"/>
                <a:gd name="connsiteY29" fmla="*/ 380915 h 426116"/>
                <a:gd name="connsiteX30" fmla="*/ 206541 w 718549"/>
                <a:gd name="connsiteY30" fmla="*/ 380915 h 426116"/>
                <a:gd name="connsiteX31" fmla="*/ 207042 w 718549"/>
                <a:gd name="connsiteY31" fmla="*/ 381165 h 426116"/>
                <a:gd name="connsiteX32" fmla="*/ 208212 w 718549"/>
                <a:gd name="connsiteY32" fmla="*/ 381834 h 426116"/>
                <a:gd name="connsiteX33" fmla="*/ 208713 w 718549"/>
                <a:gd name="connsiteY33" fmla="*/ 382084 h 426116"/>
                <a:gd name="connsiteX34" fmla="*/ 208713 w 718549"/>
                <a:gd name="connsiteY34" fmla="*/ 382084 h 426116"/>
                <a:gd name="connsiteX35" fmla="*/ 209800 w 718549"/>
                <a:gd name="connsiteY35" fmla="*/ 382669 h 426116"/>
                <a:gd name="connsiteX36" fmla="*/ 209800 w 718549"/>
                <a:gd name="connsiteY36" fmla="*/ 382669 h 426116"/>
                <a:gd name="connsiteX37" fmla="*/ 210886 w 718549"/>
                <a:gd name="connsiteY37" fmla="*/ 383254 h 426116"/>
                <a:gd name="connsiteX38" fmla="*/ 210886 w 718549"/>
                <a:gd name="connsiteY38" fmla="*/ 383254 h 426116"/>
                <a:gd name="connsiteX39" fmla="*/ 211972 w 718549"/>
                <a:gd name="connsiteY39" fmla="*/ 383755 h 426116"/>
                <a:gd name="connsiteX40" fmla="*/ 211972 w 718549"/>
                <a:gd name="connsiteY40" fmla="*/ 383755 h 426116"/>
                <a:gd name="connsiteX41" fmla="*/ 213058 w 718549"/>
                <a:gd name="connsiteY41" fmla="*/ 384257 h 426116"/>
                <a:gd name="connsiteX42" fmla="*/ 213058 w 718549"/>
                <a:gd name="connsiteY42" fmla="*/ 384257 h 426116"/>
                <a:gd name="connsiteX43" fmla="*/ 214228 w 718549"/>
                <a:gd name="connsiteY43" fmla="*/ 384758 h 426116"/>
                <a:gd name="connsiteX44" fmla="*/ 214228 w 718549"/>
                <a:gd name="connsiteY44" fmla="*/ 384758 h 426116"/>
                <a:gd name="connsiteX45" fmla="*/ 215398 w 718549"/>
                <a:gd name="connsiteY45" fmla="*/ 385176 h 426116"/>
                <a:gd name="connsiteX46" fmla="*/ 215398 w 718549"/>
                <a:gd name="connsiteY46" fmla="*/ 385176 h 426116"/>
                <a:gd name="connsiteX47" fmla="*/ 216567 w 718549"/>
                <a:gd name="connsiteY47" fmla="*/ 385594 h 426116"/>
                <a:gd name="connsiteX48" fmla="*/ 216567 w 718549"/>
                <a:gd name="connsiteY48" fmla="*/ 385594 h 426116"/>
                <a:gd name="connsiteX49" fmla="*/ 216818 w 718549"/>
                <a:gd name="connsiteY49" fmla="*/ 385677 h 426116"/>
                <a:gd name="connsiteX50" fmla="*/ 218656 w 718549"/>
                <a:gd name="connsiteY50" fmla="*/ 386262 h 426116"/>
                <a:gd name="connsiteX51" fmla="*/ 218907 w 718549"/>
                <a:gd name="connsiteY51" fmla="*/ 386345 h 426116"/>
                <a:gd name="connsiteX52" fmla="*/ 218907 w 718549"/>
                <a:gd name="connsiteY52" fmla="*/ 386345 h 426116"/>
                <a:gd name="connsiteX53" fmla="*/ 220077 w 718549"/>
                <a:gd name="connsiteY53" fmla="*/ 386680 h 426116"/>
                <a:gd name="connsiteX54" fmla="*/ 220077 w 718549"/>
                <a:gd name="connsiteY54" fmla="*/ 386680 h 426116"/>
                <a:gd name="connsiteX55" fmla="*/ 221246 w 718549"/>
                <a:gd name="connsiteY55" fmla="*/ 387014 h 426116"/>
                <a:gd name="connsiteX56" fmla="*/ 221246 w 718549"/>
                <a:gd name="connsiteY56" fmla="*/ 387014 h 426116"/>
                <a:gd name="connsiteX57" fmla="*/ 222500 w 718549"/>
                <a:gd name="connsiteY57" fmla="*/ 387265 h 426116"/>
                <a:gd name="connsiteX58" fmla="*/ 222500 w 718549"/>
                <a:gd name="connsiteY58" fmla="*/ 387265 h 426116"/>
                <a:gd name="connsiteX59" fmla="*/ 223753 w 718549"/>
                <a:gd name="connsiteY59" fmla="*/ 387515 h 426116"/>
                <a:gd name="connsiteX60" fmla="*/ 223753 w 718549"/>
                <a:gd name="connsiteY60" fmla="*/ 387515 h 426116"/>
                <a:gd name="connsiteX61" fmla="*/ 224003 w 718549"/>
                <a:gd name="connsiteY61" fmla="*/ 387515 h 426116"/>
                <a:gd name="connsiteX62" fmla="*/ 226092 w 718549"/>
                <a:gd name="connsiteY62" fmla="*/ 387850 h 426116"/>
                <a:gd name="connsiteX63" fmla="*/ 226343 w 718549"/>
                <a:gd name="connsiteY63" fmla="*/ 387850 h 426116"/>
                <a:gd name="connsiteX64" fmla="*/ 226343 w 718549"/>
                <a:gd name="connsiteY64" fmla="*/ 387850 h 426116"/>
                <a:gd name="connsiteX65" fmla="*/ 227596 w 718549"/>
                <a:gd name="connsiteY65" fmla="*/ 388017 h 426116"/>
                <a:gd name="connsiteX66" fmla="*/ 227596 w 718549"/>
                <a:gd name="connsiteY66" fmla="*/ 388017 h 426116"/>
                <a:gd name="connsiteX67" fmla="*/ 228849 w 718549"/>
                <a:gd name="connsiteY67" fmla="*/ 388100 h 426116"/>
                <a:gd name="connsiteX68" fmla="*/ 228849 w 718549"/>
                <a:gd name="connsiteY68" fmla="*/ 388100 h 426116"/>
                <a:gd name="connsiteX69" fmla="*/ 230103 w 718549"/>
                <a:gd name="connsiteY69" fmla="*/ 388184 h 426116"/>
                <a:gd name="connsiteX70" fmla="*/ 230103 w 718549"/>
                <a:gd name="connsiteY70" fmla="*/ 388184 h 426116"/>
                <a:gd name="connsiteX71" fmla="*/ 230521 w 718549"/>
                <a:gd name="connsiteY71" fmla="*/ 388184 h 426116"/>
                <a:gd name="connsiteX72" fmla="*/ 233278 w 718549"/>
                <a:gd name="connsiteY72" fmla="*/ 388267 h 426116"/>
                <a:gd name="connsiteX73" fmla="*/ 378742 w 718549"/>
                <a:gd name="connsiteY73" fmla="*/ 388267 h 426116"/>
                <a:gd name="connsiteX74" fmla="*/ 380747 w 718549"/>
                <a:gd name="connsiteY74" fmla="*/ 388267 h 426116"/>
                <a:gd name="connsiteX75" fmla="*/ 446503 w 718549"/>
                <a:gd name="connsiteY75" fmla="*/ 432466 h 426116"/>
                <a:gd name="connsiteX76" fmla="*/ 444164 w 718549"/>
                <a:gd name="connsiteY76" fmla="*/ 302960 h 426116"/>
                <a:gd name="connsiteX77" fmla="*/ 371724 w 718549"/>
                <a:gd name="connsiteY77" fmla="*/ 242218 h 426116"/>
                <a:gd name="connsiteX78" fmla="*/ 358439 w 718549"/>
                <a:gd name="connsiteY78" fmla="*/ 242218 h 426116"/>
                <a:gd name="connsiteX79" fmla="*/ 307890 w 718549"/>
                <a:gd name="connsiteY79" fmla="*/ 191669 h 426116"/>
                <a:gd name="connsiteX80" fmla="*/ 307890 w 718549"/>
                <a:gd name="connsiteY80" fmla="*/ 174123 h 426116"/>
                <a:gd name="connsiteX81" fmla="*/ 358439 w 718549"/>
                <a:gd name="connsiteY81" fmla="*/ 123574 h 426116"/>
                <a:gd name="connsiteX82" fmla="*/ 719969 w 718549"/>
                <a:gd name="connsiteY82" fmla="*/ 123574 h 426116"/>
                <a:gd name="connsiteX83" fmla="*/ 719969 w 718549"/>
                <a:gd name="connsiteY83" fmla="*/ 0 h 426116"/>
                <a:gd name="connsiteX84" fmla="*/ 166269 w 718549"/>
                <a:gd name="connsiteY84" fmla="*/ 0 h 426116"/>
                <a:gd name="connsiteX85" fmla="*/ 166269 w 718549"/>
                <a:gd name="connsiteY85" fmla="*/ 84973 h 426116"/>
                <a:gd name="connsiteX86" fmla="*/ 115720 w 718549"/>
                <a:gd name="connsiteY86" fmla="*/ 135522 h 426116"/>
                <a:gd name="connsiteX87" fmla="*/ 0 w 718549"/>
                <a:gd name="connsiteY87" fmla="*/ 135522 h 426116"/>
                <a:gd name="connsiteX88" fmla="*/ 0 w 718549"/>
                <a:gd name="connsiteY88" fmla="*/ 135271 h 426116"/>
                <a:gd name="connsiteX89" fmla="*/ 182227 w 718549"/>
                <a:gd name="connsiteY89" fmla="*/ 337635 h 426116"/>
                <a:gd name="connsiteX90" fmla="*/ 182227 w 718549"/>
                <a:gd name="connsiteY90" fmla="*/ 337635 h 426116"/>
                <a:gd name="connsiteX91" fmla="*/ 182227 w 718549"/>
                <a:gd name="connsiteY91" fmla="*/ 337635 h 42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18549" h="426116">
                  <a:moveTo>
                    <a:pt x="0" y="135271"/>
                  </a:moveTo>
                  <a:cubicBezTo>
                    <a:pt x="21055" y="135522"/>
                    <a:pt x="36011" y="148639"/>
                    <a:pt x="36011" y="193256"/>
                  </a:cubicBezTo>
                  <a:lnTo>
                    <a:pt x="36011" y="209883"/>
                  </a:lnTo>
                  <a:cubicBezTo>
                    <a:pt x="36011" y="237706"/>
                    <a:pt x="58737" y="260432"/>
                    <a:pt x="86560" y="260432"/>
                  </a:cubicBezTo>
                  <a:lnTo>
                    <a:pt x="111208" y="260432"/>
                  </a:lnTo>
                  <a:cubicBezTo>
                    <a:pt x="150310" y="260432"/>
                    <a:pt x="182227" y="292349"/>
                    <a:pt x="182227" y="331452"/>
                  </a:cubicBezTo>
                  <a:lnTo>
                    <a:pt x="182227" y="337718"/>
                  </a:lnTo>
                  <a:lnTo>
                    <a:pt x="182227" y="339055"/>
                  </a:lnTo>
                  <a:lnTo>
                    <a:pt x="182227" y="339055"/>
                  </a:lnTo>
                  <a:lnTo>
                    <a:pt x="182311" y="340308"/>
                  </a:lnTo>
                  <a:lnTo>
                    <a:pt x="182311" y="340308"/>
                  </a:lnTo>
                  <a:lnTo>
                    <a:pt x="182394" y="341562"/>
                  </a:lnTo>
                  <a:lnTo>
                    <a:pt x="182394" y="341562"/>
                  </a:lnTo>
                  <a:lnTo>
                    <a:pt x="182478" y="342815"/>
                  </a:lnTo>
                  <a:lnTo>
                    <a:pt x="182478" y="342815"/>
                  </a:lnTo>
                  <a:lnTo>
                    <a:pt x="182645" y="344068"/>
                  </a:lnTo>
                  <a:lnTo>
                    <a:pt x="182645" y="344068"/>
                  </a:lnTo>
                  <a:lnTo>
                    <a:pt x="182812" y="345321"/>
                  </a:lnTo>
                  <a:lnTo>
                    <a:pt x="182812" y="345321"/>
                  </a:lnTo>
                  <a:lnTo>
                    <a:pt x="182979" y="346575"/>
                  </a:lnTo>
                  <a:lnTo>
                    <a:pt x="182979" y="346575"/>
                  </a:lnTo>
                  <a:cubicBezTo>
                    <a:pt x="185152" y="359024"/>
                    <a:pt x="192337" y="370387"/>
                    <a:pt x="202531" y="378157"/>
                  </a:cubicBezTo>
                  <a:lnTo>
                    <a:pt x="202531" y="378157"/>
                  </a:lnTo>
                  <a:lnTo>
                    <a:pt x="203533" y="378909"/>
                  </a:lnTo>
                  <a:lnTo>
                    <a:pt x="203533" y="378909"/>
                  </a:lnTo>
                  <a:lnTo>
                    <a:pt x="204536" y="379578"/>
                  </a:lnTo>
                  <a:lnTo>
                    <a:pt x="204536" y="379578"/>
                  </a:lnTo>
                  <a:lnTo>
                    <a:pt x="205538" y="380246"/>
                  </a:lnTo>
                  <a:lnTo>
                    <a:pt x="205538" y="380246"/>
                  </a:lnTo>
                  <a:lnTo>
                    <a:pt x="206541" y="380915"/>
                  </a:lnTo>
                  <a:lnTo>
                    <a:pt x="206541" y="380915"/>
                  </a:lnTo>
                  <a:lnTo>
                    <a:pt x="207042" y="381165"/>
                  </a:lnTo>
                  <a:cubicBezTo>
                    <a:pt x="207460" y="381416"/>
                    <a:pt x="207794" y="381583"/>
                    <a:pt x="208212" y="381834"/>
                  </a:cubicBezTo>
                  <a:lnTo>
                    <a:pt x="208713" y="382084"/>
                  </a:lnTo>
                  <a:lnTo>
                    <a:pt x="208713" y="382084"/>
                  </a:lnTo>
                  <a:lnTo>
                    <a:pt x="209800" y="382669"/>
                  </a:lnTo>
                  <a:lnTo>
                    <a:pt x="209800" y="382669"/>
                  </a:lnTo>
                  <a:lnTo>
                    <a:pt x="210886" y="383254"/>
                  </a:lnTo>
                  <a:lnTo>
                    <a:pt x="210886" y="383254"/>
                  </a:lnTo>
                  <a:lnTo>
                    <a:pt x="211972" y="383755"/>
                  </a:lnTo>
                  <a:lnTo>
                    <a:pt x="211972" y="383755"/>
                  </a:lnTo>
                  <a:cubicBezTo>
                    <a:pt x="212306" y="383923"/>
                    <a:pt x="212724" y="384090"/>
                    <a:pt x="213058" y="384257"/>
                  </a:cubicBezTo>
                  <a:lnTo>
                    <a:pt x="213058" y="384257"/>
                  </a:lnTo>
                  <a:lnTo>
                    <a:pt x="214228" y="384758"/>
                  </a:lnTo>
                  <a:lnTo>
                    <a:pt x="214228" y="384758"/>
                  </a:lnTo>
                  <a:lnTo>
                    <a:pt x="215398" y="385176"/>
                  </a:lnTo>
                  <a:lnTo>
                    <a:pt x="215398" y="385176"/>
                  </a:lnTo>
                  <a:lnTo>
                    <a:pt x="216567" y="385594"/>
                  </a:lnTo>
                  <a:lnTo>
                    <a:pt x="216567" y="385594"/>
                  </a:lnTo>
                  <a:lnTo>
                    <a:pt x="216818" y="385677"/>
                  </a:lnTo>
                  <a:cubicBezTo>
                    <a:pt x="217486" y="385844"/>
                    <a:pt x="217988" y="386011"/>
                    <a:pt x="218656" y="386262"/>
                  </a:cubicBezTo>
                  <a:lnTo>
                    <a:pt x="218907" y="386345"/>
                  </a:lnTo>
                  <a:lnTo>
                    <a:pt x="218907" y="386345"/>
                  </a:lnTo>
                  <a:lnTo>
                    <a:pt x="220077" y="386680"/>
                  </a:lnTo>
                  <a:lnTo>
                    <a:pt x="220077" y="386680"/>
                  </a:lnTo>
                  <a:lnTo>
                    <a:pt x="221246" y="387014"/>
                  </a:lnTo>
                  <a:lnTo>
                    <a:pt x="221246" y="387014"/>
                  </a:lnTo>
                  <a:lnTo>
                    <a:pt x="222500" y="387265"/>
                  </a:lnTo>
                  <a:lnTo>
                    <a:pt x="222500" y="387265"/>
                  </a:lnTo>
                  <a:cubicBezTo>
                    <a:pt x="222917" y="387348"/>
                    <a:pt x="223335" y="387432"/>
                    <a:pt x="223753" y="387515"/>
                  </a:cubicBezTo>
                  <a:lnTo>
                    <a:pt x="223753" y="387515"/>
                  </a:lnTo>
                  <a:lnTo>
                    <a:pt x="224003" y="387515"/>
                  </a:lnTo>
                  <a:cubicBezTo>
                    <a:pt x="224755" y="387599"/>
                    <a:pt x="225340" y="387766"/>
                    <a:pt x="226092" y="387850"/>
                  </a:cubicBezTo>
                  <a:lnTo>
                    <a:pt x="226343" y="387850"/>
                  </a:lnTo>
                  <a:lnTo>
                    <a:pt x="226343" y="387850"/>
                  </a:lnTo>
                  <a:lnTo>
                    <a:pt x="227596" y="388017"/>
                  </a:lnTo>
                  <a:lnTo>
                    <a:pt x="227596" y="388017"/>
                  </a:lnTo>
                  <a:lnTo>
                    <a:pt x="228849" y="388100"/>
                  </a:lnTo>
                  <a:lnTo>
                    <a:pt x="228849" y="388100"/>
                  </a:lnTo>
                  <a:lnTo>
                    <a:pt x="230103" y="388184"/>
                  </a:lnTo>
                  <a:lnTo>
                    <a:pt x="230103" y="388184"/>
                  </a:lnTo>
                  <a:lnTo>
                    <a:pt x="230521" y="388184"/>
                  </a:lnTo>
                  <a:cubicBezTo>
                    <a:pt x="231523" y="388184"/>
                    <a:pt x="232275" y="388267"/>
                    <a:pt x="233278" y="388267"/>
                  </a:cubicBezTo>
                  <a:lnTo>
                    <a:pt x="378742" y="388267"/>
                  </a:lnTo>
                  <a:lnTo>
                    <a:pt x="380747" y="388267"/>
                  </a:lnTo>
                  <a:cubicBezTo>
                    <a:pt x="410408" y="388267"/>
                    <a:pt x="435808" y="406565"/>
                    <a:pt x="446503" y="432466"/>
                  </a:cubicBezTo>
                  <a:lnTo>
                    <a:pt x="444164" y="302960"/>
                  </a:lnTo>
                  <a:cubicBezTo>
                    <a:pt x="442994" y="239878"/>
                    <a:pt x="385092" y="242636"/>
                    <a:pt x="371724" y="242218"/>
                  </a:cubicBezTo>
                  <a:lnTo>
                    <a:pt x="358439" y="242218"/>
                  </a:lnTo>
                  <a:cubicBezTo>
                    <a:pt x="330616" y="242218"/>
                    <a:pt x="307890" y="219492"/>
                    <a:pt x="307890" y="191669"/>
                  </a:cubicBezTo>
                  <a:lnTo>
                    <a:pt x="307890" y="174123"/>
                  </a:lnTo>
                  <a:cubicBezTo>
                    <a:pt x="307890" y="146300"/>
                    <a:pt x="330616" y="123574"/>
                    <a:pt x="358439" y="123574"/>
                  </a:cubicBezTo>
                  <a:lnTo>
                    <a:pt x="719969" y="123574"/>
                  </a:lnTo>
                  <a:lnTo>
                    <a:pt x="719969" y="0"/>
                  </a:lnTo>
                  <a:lnTo>
                    <a:pt x="166269" y="0"/>
                  </a:lnTo>
                  <a:lnTo>
                    <a:pt x="166269" y="84973"/>
                  </a:lnTo>
                  <a:cubicBezTo>
                    <a:pt x="166269" y="112796"/>
                    <a:pt x="143543" y="135522"/>
                    <a:pt x="115720" y="135522"/>
                  </a:cubicBezTo>
                  <a:lnTo>
                    <a:pt x="0" y="135522"/>
                  </a:lnTo>
                  <a:lnTo>
                    <a:pt x="0" y="135271"/>
                  </a:lnTo>
                  <a:close/>
                  <a:moveTo>
                    <a:pt x="182227" y="337635"/>
                  </a:moveTo>
                  <a:lnTo>
                    <a:pt x="182227" y="337635"/>
                  </a:lnTo>
                  <a:lnTo>
                    <a:pt x="182227" y="337635"/>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6" name="Freeform: Shape 165">
              <a:extLst>
                <a:ext uri="{FF2B5EF4-FFF2-40B4-BE49-F238E27FC236}">
                  <a16:creationId xmlns:a16="http://schemas.microsoft.com/office/drawing/2014/main" id="{36AA2C9A-9AA4-4F2D-B485-59D82806F442}"/>
                </a:ext>
              </a:extLst>
            </p:cNvPr>
            <p:cNvSpPr/>
            <p:nvPr/>
          </p:nvSpPr>
          <p:spPr>
            <a:xfrm>
              <a:off x="15500576" y="6702294"/>
              <a:ext cx="392695" cy="116973"/>
            </a:xfrm>
            <a:custGeom>
              <a:avLst/>
              <a:gdLst>
                <a:gd name="connsiteX0" fmla="*/ 0 w 392695"/>
                <a:gd name="connsiteY0" fmla="*/ 50549 h 116973"/>
                <a:gd name="connsiteX1" fmla="*/ 0 w 392695"/>
                <a:gd name="connsiteY1" fmla="*/ 68095 h 116973"/>
                <a:gd name="connsiteX2" fmla="*/ 50549 w 392695"/>
                <a:gd name="connsiteY2" fmla="*/ 118644 h 116973"/>
                <a:gd name="connsiteX3" fmla="*/ 342982 w 392695"/>
                <a:gd name="connsiteY3" fmla="*/ 118644 h 116973"/>
                <a:gd name="connsiteX4" fmla="*/ 393531 w 392695"/>
                <a:gd name="connsiteY4" fmla="*/ 68095 h 116973"/>
                <a:gd name="connsiteX5" fmla="*/ 393531 w 392695"/>
                <a:gd name="connsiteY5" fmla="*/ 50549 h 116973"/>
                <a:gd name="connsiteX6" fmla="*/ 342982 w 392695"/>
                <a:gd name="connsiteY6" fmla="*/ 0 h 116973"/>
                <a:gd name="connsiteX7" fmla="*/ 50549 w 392695"/>
                <a:gd name="connsiteY7" fmla="*/ 0 h 116973"/>
                <a:gd name="connsiteX8" fmla="*/ 0 w 392695"/>
                <a:gd name="connsiteY8" fmla="*/ 50549 h 1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2695" h="116973">
                  <a:moveTo>
                    <a:pt x="0" y="50549"/>
                  </a:moveTo>
                  <a:lnTo>
                    <a:pt x="0" y="68095"/>
                  </a:lnTo>
                  <a:cubicBezTo>
                    <a:pt x="0" y="95918"/>
                    <a:pt x="22726" y="118644"/>
                    <a:pt x="50549" y="118644"/>
                  </a:cubicBezTo>
                  <a:lnTo>
                    <a:pt x="342982" y="118644"/>
                  </a:lnTo>
                  <a:cubicBezTo>
                    <a:pt x="370805" y="118644"/>
                    <a:pt x="393531" y="95918"/>
                    <a:pt x="393531" y="68095"/>
                  </a:cubicBezTo>
                  <a:lnTo>
                    <a:pt x="393531" y="50549"/>
                  </a:lnTo>
                  <a:cubicBezTo>
                    <a:pt x="393531" y="22726"/>
                    <a:pt x="370805" y="0"/>
                    <a:pt x="342982" y="0"/>
                  </a:cubicBezTo>
                  <a:lnTo>
                    <a:pt x="50549" y="0"/>
                  </a:lnTo>
                  <a:cubicBezTo>
                    <a:pt x="22810" y="0"/>
                    <a:pt x="0" y="22726"/>
                    <a:pt x="0" y="50549"/>
                  </a:cubicBez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67" name="Freeform: Shape 166">
              <a:extLst>
                <a:ext uri="{FF2B5EF4-FFF2-40B4-BE49-F238E27FC236}">
                  <a16:creationId xmlns:a16="http://schemas.microsoft.com/office/drawing/2014/main" id="{264A3CDD-905A-47B8-BFFB-1ABAC0419E47}"/>
                </a:ext>
              </a:extLst>
            </p:cNvPr>
            <p:cNvSpPr/>
            <p:nvPr/>
          </p:nvSpPr>
          <p:spPr>
            <a:xfrm>
              <a:off x="14933089" y="5556125"/>
              <a:ext cx="827167" cy="1019337"/>
            </a:xfrm>
            <a:custGeom>
              <a:avLst/>
              <a:gdLst>
                <a:gd name="connsiteX0" fmla="*/ 431380 w 827167"/>
                <a:gd name="connsiteY0" fmla="*/ 252746 h 1019337"/>
                <a:gd name="connsiteX1" fmla="*/ 431129 w 827167"/>
                <a:gd name="connsiteY1" fmla="*/ 252746 h 1019337"/>
                <a:gd name="connsiteX2" fmla="*/ 147720 w 827167"/>
                <a:gd name="connsiteY2" fmla="*/ 252746 h 1019337"/>
                <a:gd name="connsiteX3" fmla="*/ 147720 w 827167"/>
                <a:gd name="connsiteY3" fmla="*/ 456864 h 1019337"/>
                <a:gd name="connsiteX4" fmla="*/ 97171 w 827167"/>
                <a:gd name="connsiteY4" fmla="*/ 507413 h 1019337"/>
                <a:gd name="connsiteX5" fmla="*/ 0 w 827167"/>
                <a:gd name="connsiteY5" fmla="*/ 507413 h 1019337"/>
                <a:gd name="connsiteX6" fmla="*/ 0 w 827167"/>
                <a:gd name="connsiteY6" fmla="*/ 582526 h 1019337"/>
                <a:gd name="connsiteX7" fmla="*/ 0 w 827167"/>
                <a:gd name="connsiteY7" fmla="*/ 583863 h 1019337"/>
                <a:gd name="connsiteX8" fmla="*/ 0 w 827167"/>
                <a:gd name="connsiteY8" fmla="*/ 583863 h 1019337"/>
                <a:gd name="connsiteX9" fmla="*/ 83 w 827167"/>
                <a:gd name="connsiteY9" fmla="*/ 585116 h 1019337"/>
                <a:gd name="connsiteX10" fmla="*/ 83 w 827167"/>
                <a:gd name="connsiteY10" fmla="*/ 585116 h 1019337"/>
                <a:gd name="connsiteX11" fmla="*/ 167 w 827167"/>
                <a:gd name="connsiteY11" fmla="*/ 586370 h 1019337"/>
                <a:gd name="connsiteX12" fmla="*/ 167 w 827167"/>
                <a:gd name="connsiteY12" fmla="*/ 586370 h 1019337"/>
                <a:gd name="connsiteX13" fmla="*/ 251 w 827167"/>
                <a:gd name="connsiteY13" fmla="*/ 587623 h 1019337"/>
                <a:gd name="connsiteX14" fmla="*/ 251 w 827167"/>
                <a:gd name="connsiteY14" fmla="*/ 587623 h 1019337"/>
                <a:gd name="connsiteX15" fmla="*/ 418 w 827167"/>
                <a:gd name="connsiteY15" fmla="*/ 588876 h 1019337"/>
                <a:gd name="connsiteX16" fmla="*/ 418 w 827167"/>
                <a:gd name="connsiteY16" fmla="*/ 588876 h 1019337"/>
                <a:gd name="connsiteX17" fmla="*/ 585 w 827167"/>
                <a:gd name="connsiteY17" fmla="*/ 590129 h 1019337"/>
                <a:gd name="connsiteX18" fmla="*/ 585 w 827167"/>
                <a:gd name="connsiteY18" fmla="*/ 590129 h 1019337"/>
                <a:gd name="connsiteX19" fmla="*/ 25985 w 827167"/>
                <a:gd name="connsiteY19" fmla="*/ 626641 h 1019337"/>
                <a:gd name="connsiteX20" fmla="*/ 26486 w 827167"/>
                <a:gd name="connsiteY20" fmla="*/ 626892 h 1019337"/>
                <a:gd name="connsiteX21" fmla="*/ 26486 w 827167"/>
                <a:gd name="connsiteY21" fmla="*/ 626892 h 1019337"/>
                <a:gd name="connsiteX22" fmla="*/ 27572 w 827167"/>
                <a:gd name="connsiteY22" fmla="*/ 627477 h 1019337"/>
                <a:gd name="connsiteX23" fmla="*/ 27572 w 827167"/>
                <a:gd name="connsiteY23" fmla="*/ 627477 h 1019337"/>
                <a:gd name="connsiteX24" fmla="*/ 28658 w 827167"/>
                <a:gd name="connsiteY24" fmla="*/ 628062 h 1019337"/>
                <a:gd name="connsiteX25" fmla="*/ 28658 w 827167"/>
                <a:gd name="connsiteY25" fmla="*/ 628062 h 1019337"/>
                <a:gd name="connsiteX26" fmla="*/ 29745 w 827167"/>
                <a:gd name="connsiteY26" fmla="*/ 628564 h 1019337"/>
                <a:gd name="connsiteX27" fmla="*/ 29745 w 827167"/>
                <a:gd name="connsiteY27" fmla="*/ 628564 h 1019337"/>
                <a:gd name="connsiteX28" fmla="*/ 30831 w 827167"/>
                <a:gd name="connsiteY28" fmla="*/ 629065 h 1019337"/>
                <a:gd name="connsiteX29" fmla="*/ 30831 w 827167"/>
                <a:gd name="connsiteY29" fmla="*/ 629065 h 1019337"/>
                <a:gd name="connsiteX30" fmla="*/ 32000 w 827167"/>
                <a:gd name="connsiteY30" fmla="*/ 629566 h 1019337"/>
                <a:gd name="connsiteX31" fmla="*/ 32000 w 827167"/>
                <a:gd name="connsiteY31" fmla="*/ 629566 h 1019337"/>
                <a:gd name="connsiteX32" fmla="*/ 33170 w 827167"/>
                <a:gd name="connsiteY32" fmla="*/ 629984 h 1019337"/>
                <a:gd name="connsiteX33" fmla="*/ 33170 w 827167"/>
                <a:gd name="connsiteY33" fmla="*/ 629984 h 1019337"/>
                <a:gd name="connsiteX34" fmla="*/ 34340 w 827167"/>
                <a:gd name="connsiteY34" fmla="*/ 630401 h 1019337"/>
                <a:gd name="connsiteX35" fmla="*/ 34340 w 827167"/>
                <a:gd name="connsiteY35" fmla="*/ 630401 h 1019337"/>
                <a:gd name="connsiteX36" fmla="*/ 34590 w 827167"/>
                <a:gd name="connsiteY36" fmla="*/ 630485 h 1019337"/>
                <a:gd name="connsiteX37" fmla="*/ 36429 w 827167"/>
                <a:gd name="connsiteY37" fmla="*/ 631070 h 1019337"/>
                <a:gd name="connsiteX38" fmla="*/ 36679 w 827167"/>
                <a:gd name="connsiteY38" fmla="*/ 631154 h 1019337"/>
                <a:gd name="connsiteX39" fmla="*/ 36679 w 827167"/>
                <a:gd name="connsiteY39" fmla="*/ 631154 h 1019337"/>
                <a:gd name="connsiteX40" fmla="*/ 37849 w 827167"/>
                <a:gd name="connsiteY40" fmla="*/ 631488 h 1019337"/>
                <a:gd name="connsiteX41" fmla="*/ 37849 w 827167"/>
                <a:gd name="connsiteY41" fmla="*/ 631488 h 1019337"/>
                <a:gd name="connsiteX42" fmla="*/ 39019 w 827167"/>
                <a:gd name="connsiteY42" fmla="*/ 631822 h 1019337"/>
                <a:gd name="connsiteX43" fmla="*/ 39019 w 827167"/>
                <a:gd name="connsiteY43" fmla="*/ 631822 h 1019337"/>
                <a:gd name="connsiteX44" fmla="*/ 40272 w 827167"/>
                <a:gd name="connsiteY44" fmla="*/ 632073 h 1019337"/>
                <a:gd name="connsiteX45" fmla="*/ 40272 w 827167"/>
                <a:gd name="connsiteY45" fmla="*/ 632073 h 1019337"/>
                <a:gd name="connsiteX46" fmla="*/ 41525 w 827167"/>
                <a:gd name="connsiteY46" fmla="*/ 632323 h 1019337"/>
                <a:gd name="connsiteX47" fmla="*/ 41525 w 827167"/>
                <a:gd name="connsiteY47" fmla="*/ 632323 h 1019337"/>
                <a:gd name="connsiteX48" fmla="*/ 41776 w 827167"/>
                <a:gd name="connsiteY48" fmla="*/ 632323 h 1019337"/>
                <a:gd name="connsiteX49" fmla="*/ 43865 w 827167"/>
                <a:gd name="connsiteY49" fmla="*/ 632658 h 1019337"/>
                <a:gd name="connsiteX50" fmla="*/ 44116 w 827167"/>
                <a:gd name="connsiteY50" fmla="*/ 632658 h 1019337"/>
                <a:gd name="connsiteX51" fmla="*/ 44116 w 827167"/>
                <a:gd name="connsiteY51" fmla="*/ 632658 h 1019337"/>
                <a:gd name="connsiteX52" fmla="*/ 45369 w 827167"/>
                <a:gd name="connsiteY52" fmla="*/ 632825 h 1019337"/>
                <a:gd name="connsiteX53" fmla="*/ 45369 w 827167"/>
                <a:gd name="connsiteY53" fmla="*/ 632825 h 1019337"/>
                <a:gd name="connsiteX54" fmla="*/ 46622 w 827167"/>
                <a:gd name="connsiteY54" fmla="*/ 632908 h 1019337"/>
                <a:gd name="connsiteX55" fmla="*/ 46622 w 827167"/>
                <a:gd name="connsiteY55" fmla="*/ 632908 h 1019337"/>
                <a:gd name="connsiteX56" fmla="*/ 47875 w 827167"/>
                <a:gd name="connsiteY56" fmla="*/ 632992 h 1019337"/>
                <a:gd name="connsiteX57" fmla="*/ 47875 w 827167"/>
                <a:gd name="connsiteY57" fmla="*/ 632992 h 1019337"/>
                <a:gd name="connsiteX58" fmla="*/ 48293 w 827167"/>
                <a:gd name="connsiteY58" fmla="*/ 632992 h 1019337"/>
                <a:gd name="connsiteX59" fmla="*/ 51050 w 827167"/>
                <a:gd name="connsiteY59" fmla="*/ 633075 h 1019337"/>
                <a:gd name="connsiteX60" fmla="*/ 68095 w 827167"/>
                <a:gd name="connsiteY60" fmla="*/ 633075 h 1019337"/>
                <a:gd name="connsiteX61" fmla="*/ 74194 w 827167"/>
                <a:gd name="connsiteY61" fmla="*/ 633075 h 1019337"/>
                <a:gd name="connsiteX62" fmla="*/ 145214 w 827167"/>
                <a:gd name="connsiteY62" fmla="*/ 704095 h 1019337"/>
                <a:gd name="connsiteX63" fmla="*/ 145214 w 827167"/>
                <a:gd name="connsiteY63" fmla="*/ 712701 h 1019337"/>
                <a:gd name="connsiteX64" fmla="*/ 145214 w 827167"/>
                <a:gd name="connsiteY64" fmla="*/ 714037 h 1019337"/>
                <a:gd name="connsiteX65" fmla="*/ 145214 w 827167"/>
                <a:gd name="connsiteY65" fmla="*/ 714037 h 1019337"/>
                <a:gd name="connsiteX66" fmla="*/ 145297 w 827167"/>
                <a:gd name="connsiteY66" fmla="*/ 715291 h 1019337"/>
                <a:gd name="connsiteX67" fmla="*/ 145297 w 827167"/>
                <a:gd name="connsiteY67" fmla="*/ 715291 h 1019337"/>
                <a:gd name="connsiteX68" fmla="*/ 145381 w 827167"/>
                <a:gd name="connsiteY68" fmla="*/ 716544 h 1019337"/>
                <a:gd name="connsiteX69" fmla="*/ 145381 w 827167"/>
                <a:gd name="connsiteY69" fmla="*/ 716544 h 1019337"/>
                <a:gd name="connsiteX70" fmla="*/ 145464 w 827167"/>
                <a:gd name="connsiteY70" fmla="*/ 717797 h 1019337"/>
                <a:gd name="connsiteX71" fmla="*/ 145464 w 827167"/>
                <a:gd name="connsiteY71" fmla="*/ 717797 h 1019337"/>
                <a:gd name="connsiteX72" fmla="*/ 145631 w 827167"/>
                <a:gd name="connsiteY72" fmla="*/ 719050 h 1019337"/>
                <a:gd name="connsiteX73" fmla="*/ 145631 w 827167"/>
                <a:gd name="connsiteY73" fmla="*/ 719050 h 1019337"/>
                <a:gd name="connsiteX74" fmla="*/ 145799 w 827167"/>
                <a:gd name="connsiteY74" fmla="*/ 720304 h 1019337"/>
                <a:gd name="connsiteX75" fmla="*/ 145799 w 827167"/>
                <a:gd name="connsiteY75" fmla="*/ 720304 h 1019337"/>
                <a:gd name="connsiteX76" fmla="*/ 146049 w 827167"/>
                <a:gd name="connsiteY76" fmla="*/ 721557 h 1019337"/>
                <a:gd name="connsiteX77" fmla="*/ 146049 w 827167"/>
                <a:gd name="connsiteY77" fmla="*/ 721557 h 1019337"/>
                <a:gd name="connsiteX78" fmla="*/ 146300 w 827167"/>
                <a:gd name="connsiteY78" fmla="*/ 722810 h 1019337"/>
                <a:gd name="connsiteX79" fmla="*/ 146300 w 827167"/>
                <a:gd name="connsiteY79" fmla="*/ 722810 h 1019337"/>
                <a:gd name="connsiteX80" fmla="*/ 146550 w 827167"/>
                <a:gd name="connsiteY80" fmla="*/ 724064 h 1019337"/>
                <a:gd name="connsiteX81" fmla="*/ 146550 w 827167"/>
                <a:gd name="connsiteY81" fmla="*/ 724064 h 1019337"/>
                <a:gd name="connsiteX82" fmla="*/ 146884 w 827167"/>
                <a:gd name="connsiteY82" fmla="*/ 725317 h 1019337"/>
                <a:gd name="connsiteX83" fmla="*/ 146884 w 827167"/>
                <a:gd name="connsiteY83" fmla="*/ 725317 h 1019337"/>
                <a:gd name="connsiteX84" fmla="*/ 147219 w 827167"/>
                <a:gd name="connsiteY84" fmla="*/ 726487 h 1019337"/>
                <a:gd name="connsiteX85" fmla="*/ 147219 w 827167"/>
                <a:gd name="connsiteY85" fmla="*/ 726487 h 1019337"/>
                <a:gd name="connsiteX86" fmla="*/ 147553 w 827167"/>
                <a:gd name="connsiteY86" fmla="*/ 727656 h 1019337"/>
                <a:gd name="connsiteX87" fmla="*/ 147553 w 827167"/>
                <a:gd name="connsiteY87" fmla="*/ 727656 h 1019337"/>
                <a:gd name="connsiteX88" fmla="*/ 147971 w 827167"/>
                <a:gd name="connsiteY88" fmla="*/ 728826 h 1019337"/>
                <a:gd name="connsiteX89" fmla="*/ 147971 w 827167"/>
                <a:gd name="connsiteY89" fmla="*/ 728826 h 1019337"/>
                <a:gd name="connsiteX90" fmla="*/ 148389 w 827167"/>
                <a:gd name="connsiteY90" fmla="*/ 729996 h 1019337"/>
                <a:gd name="connsiteX91" fmla="*/ 148389 w 827167"/>
                <a:gd name="connsiteY91" fmla="*/ 729996 h 1019337"/>
                <a:gd name="connsiteX92" fmla="*/ 148806 w 827167"/>
                <a:gd name="connsiteY92" fmla="*/ 731165 h 1019337"/>
                <a:gd name="connsiteX93" fmla="*/ 148806 w 827167"/>
                <a:gd name="connsiteY93" fmla="*/ 731165 h 1019337"/>
                <a:gd name="connsiteX94" fmla="*/ 149308 w 827167"/>
                <a:gd name="connsiteY94" fmla="*/ 732335 h 1019337"/>
                <a:gd name="connsiteX95" fmla="*/ 149308 w 827167"/>
                <a:gd name="connsiteY95" fmla="*/ 732335 h 1019337"/>
                <a:gd name="connsiteX96" fmla="*/ 149809 w 827167"/>
                <a:gd name="connsiteY96" fmla="*/ 733421 h 1019337"/>
                <a:gd name="connsiteX97" fmla="*/ 149809 w 827167"/>
                <a:gd name="connsiteY97" fmla="*/ 733421 h 1019337"/>
                <a:gd name="connsiteX98" fmla="*/ 150310 w 827167"/>
                <a:gd name="connsiteY98" fmla="*/ 734508 h 1019337"/>
                <a:gd name="connsiteX99" fmla="*/ 150310 w 827167"/>
                <a:gd name="connsiteY99" fmla="*/ 734508 h 1019337"/>
                <a:gd name="connsiteX100" fmla="*/ 150895 w 827167"/>
                <a:gd name="connsiteY100" fmla="*/ 735594 h 1019337"/>
                <a:gd name="connsiteX101" fmla="*/ 150895 w 827167"/>
                <a:gd name="connsiteY101" fmla="*/ 735594 h 1019337"/>
                <a:gd name="connsiteX102" fmla="*/ 151480 w 827167"/>
                <a:gd name="connsiteY102" fmla="*/ 736680 h 1019337"/>
                <a:gd name="connsiteX103" fmla="*/ 151480 w 827167"/>
                <a:gd name="connsiteY103" fmla="*/ 736680 h 1019337"/>
                <a:gd name="connsiteX104" fmla="*/ 152065 w 827167"/>
                <a:gd name="connsiteY104" fmla="*/ 737766 h 1019337"/>
                <a:gd name="connsiteX105" fmla="*/ 152065 w 827167"/>
                <a:gd name="connsiteY105" fmla="*/ 737766 h 1019337"/>
                <a:gd name="connsiteX106" fmla="*/ 152650 w 827167"/>
                <a:gd name="connsiteY106" fmla="*/ 738853 h 1019337"/>
                <a:gd name="connsiteX107" fmla="*/ 152650 w 827167"/>
                <a:gd name="connsiteY107" fmla="*/ 738853 h 1019337"/>
                <a:gd name="connsiteX108" fmla="*/ 153318 w 827167"/>
                <a:gd name="connsiteY108" fmla="*/ 739855 h 1019337"/>
                <a:gd name="connsiteX109" fmla="*/ 153318 w 827167"/>
                <a:gd name="connsiteY109" fmla="*/ 739855 h 1019337"/>
                <a:gd name="connsiteX110" fmla="*/ 153987 w 827167"/>
                <a:gd name="connsiteY110" fmla="*/ 740858 h 1019337"/>
                <a:gd name="connsiteX111" fmla="*/ 153987 w 827167"/>
                <a:gd name="connsiteY111" fmla="*/ 740858 h 1019337"/>
                <a:gd name="connsiteX112" fmla="*/ 154655 w 827167"/>
                <a:gd name="connsiteY112" fmla="*/ 741860 h 1019337"/>
                <a:gd name="connsiteX113" fmla="*/ 154655 w 827167"/>
                <a:gd name="connsiteY113" fmla="*/ 741860 h 1019337"/>
                <a:gd name="connsiteX114" fmla="*/ 155407 w 827167"/>
                <a:gd name="connsiteY114" fmla="*/ 742863 h 1019337"/>
                <a:gd name="connsiteX115" fmla="*/ 155407 w 827167"/>
                <a:gd name="connsiteY115" fmla="*/ 742863 h 1019337"/>
                <a:gd name="connsiteX116" fmla="*/ 156159 w 827167"/>
                <a:gd name="connsiteY116" fmla="*/ 743866 h 1019337"/>
                <a:gd name="connsiteX117" fmla="*/ 156159 w 827167"/>
                <a:gd name="connsiteY117" fmla="*/ 743866 h 1019337"/>
                <a:gd name="connsiteX118" fmla="*/ 156911 w 827167"/>
                <a:gd name="connsiteY118" fmla="*/ 744784 h 1019337"/>
                <a:gd name="connsiteX119" fmla="*/ 156911 w 827167"/>
                <a:gd name="connsiteY119" fmla="*/ 744784 h 1019337"/>
                <a:gd name="connsiteX120" fmla="*/ 157663 w 827167"/>
                <a:gd name="connsiteY120" fmla="*/ 745703 h 1019337"/>
                <a:gd name="connsiteX121" fmla="*/ 157663 w 827167"/>
                <a:gd name="connsiteY121" fmla="*/ 745703 h 1019337"/>
                <a:gd name="connsiteX122" fmla="*/ 158498 w 827167"/>
                <a:gd name="connsiteY122" fmla="*/ 746623 h 1019337"/>
                <a:gd name="connsiteX123" fmla="*/ 158498 w 827167"/>
                <a:gd name="connsiteY123" fmla="*/ 746623 h 1019337"/>
                <a:gd name="connsiteX124" fmla="*/ 159334 w 827167"/>
                <a:gd name="connsiteY124" fmla="*/ 747542 h 1019337"/>
                <a:gd name="connsiteX125" fmla="*/ 159334 w 827167"/>
                <a:gd name="connsiteY125" fmla="*/ 747542 h 1019337"/>
                <a:gd name="connsiteX126" fmla="*/ 160169 w 827167"/>
                <a:gd name="connsiteY126" fmla="*/ 748377 h 1019337"/>
                <a:gd name="connsiteX127" fmla="*/ 160169 w 827167"/>
                <a:gd name="connsiteY127" fmla="*/ 748377 h 1019337"/>
                <a:gd name="connsiteX128" fmla="*/ 161005 w 827167"/>
                <a:gd name="connsiteY128" fmla="*/ 749213 h 1019337"/>
                <a:gd name="connsiteX129" fmla="*/ 161005 w 827167"/>
                <a:gd name="connsiteY129" fmla="*/ 749213 h 1019337"/>
                <a:gd name="connsiteX130" fmla="*/ 161924 w 827167"/>
                <a:gd name="connsiteY130" fmla="*/ 750048 h 1019337"/>
                <a:gd name="connsiteX131" fmla="*/ 161924 w 827167"/>
                <a:gd name="connsiteY131" fmla="*/ 750048 h 1019337"/>
                <a:gd name="connsiteX132" fmla="*/ 162843 w 827167"/>
                <a:gd name="connsiteY132" fmla="*/ 750884 h 1019337"/>
                <a:gd name="connsiteX133" fmla="*/ 162843 w 827167"/>
                <a:gd name="connsiteY133" fmla="*/ 750884 h 1019337"/>
                <a:gd name="connsiteX134" fmla="*/ 163762 w 827167"/>
                <a:gd name="connsiteY134" fmla="*/ 751636 h 1019337"/>
                <a:gd name="connsiteX135" fmla="*/ 163762 w 827167"/>
                <a:gd name="connsiteY135" fmla="*/ 751636 h 1019337"/>
                <a:gd name="connsiteX136" fmla="*/ 164681 w 827167"/>
                <a:gd name="connsiteY136" fmla="*/ 752388 h 1019337"/>
                <a:gd name="connsiteX137" fmla="*/ 164681 w 827167"/>
                <a:gd name="connsiteY137" fmla="*/ 752388 h 1019337"/>
                <a:gd name="connsiteX138" fmla="*/ 165601 w 827167"/>
                <a:gd name="connsiteY138" fmla="*/ 753140 h 1019337"/>
                <a:gd name="connsiteX139" fmla="*/ 165601 w 827167"/>
                <a:gd name="connsiteY139" fmla="*/ 753140 h 1019337"/>
                <a:gd name="connsiteX140" fmla="*/ 166603 w 827167"/>
                <a:gd name="connsiteY140" fmla="*/ 753892 h 1019337"/>
                <a:gd name="connsiteX141" fmla="*/ 166603 w 827167"/>
                <a:gd name="connsiteY141" fmla="*/ 753892 h 1019337"/>
                <a:gd name="connsiteX142" fmla="*/ 167606 w 827167"/>
                <a:gd name="connsiteY142" fmla="*/ 754560 h 1019337"/>
                <a:gd name="connsiteX143" fmla="*/ 167606 w 827167"/>
                <a:gd name="connsiteY143" fmla="*/ 754560 h 1019337"/>
                <a:gd name="connsiteX144" fmla="*/ 168608 w 827167"/>
                <a:gd name="connsiteY144" fmla="*/ 755229 h 1019337"/>
                <a:gd name="connsiteX145" fmla="*/ 168608 w 827167"/>
                <a:gd name="connsiteY145" fmla="*/ 755229 h 1019337"/>
                <a:gd name="connsiteX146" fmla="*/ 169611 w 827167"/>
                <a:gd name="connsiteY146" fmla="*/ 755897 h 1019337"/>
                <a:gd name="connsiteX147" fmla="*/ 169611 w 827167"/>
                <a:gd name="connsiteY147" fmla="*/ 755897 h 1019337"/>
                <a:gd name="connsiteX148" fmla="*/ 170697 w 827167"/>
                <a:gd name="connsiteY148" fmla="*/ 756482 h 1019337"/>
                <a:gd name="connsiteX149" fmla="*/ 170697 w 827167"/>
                <a:gd name="connsiteY149" fmla="*/ 756482 h 1019337"/>
                <a:gd name="connsiteX150" fmla="*/ 171783 w 827167"/>
                <a:gd name="connsiteY150" fmla="*/ 757067 h 1019337"/>
                <a:gd name="connsiteX151" fmla="*/ 171783 w 827167"/>
                <a:gd name="connsiteY151" fmla="*/ 757067 h 1019337"/>
                <a:gd name="connsiteX152" fmla="*/ 172870 w 827167"/>
                <a:gd name="connsiteY152" fmla="*/ 757652 h 1019337"/>
                <a:gd name="connsiteX153" fmla="*/ 172870 w 827167"/>
                <a:gd name="connsiteY153" fmla="*/ 757652 h 1019337"/>
                <a:gd name="connsiteX154" fmla="*/ 173956 w 827167"/>
                <a:gd name="connsiteY154" fmla="*/ 758236 h 1019337"/>
                <a:gd name="connsiteX155" fmla="*/ 173956 w 827167"/>
                <a:gd name="connsiteY155" fmla="*/ 758236 h 1019337"/>
                <a:gd name="connsiteX156" fmla="*/ 175042 w 827167"/>
                <a:gd name="connsiteY156" fmla="*/ 758738 h 1019337"/>
                <a:gd name="connsiteX157" fmla="*/ 175042 w 827167"/>
                <a:gd name="connsiteY157" fmla="*/ 758738 h 1019337"/>
                <a:gd name="connsiteX158" fmla="*/ 176128 w 827167"/>
                <a:gd name="connsiteY158" fmla="*/ 759239 h 1019337"/>
                <a:gd name="connsiteX159" fmla="*/ 176128 w 827167"/>
                <a:gd name="connsiteY159" fmla="*/ 759239 h 1019337"/>
                <a:gd name="connsiteX160" fmla="*/ 177298 w 827167"/>
                <a:gd name="connsiteY160" fmla="*/ 759741 h 1019337"/>
                <a:gd name="connsiteX161" fmla="*/ 177298 w 827167"/>
                <a:gd name="connsiteY161" fmla="*/ 759741 h 1019337"/>
                <a:gd name="connsiteX162" fmla="*/ 178467 w 827167"/>
                <a:gd name="connsiteY162" fmla="*/ 760158 h 1019337"/>
                <a:gd name="connsiteX163" fmla="*/ 178467 w 827167"/>
                <a:gd name="connsiteY163" fmla="*/ 760158 h 1019337"/>
                <a:gd name="connsiteX164" fmla="*/ 179637 w 827167"/>
                <a:gd name="connsiteY164" fmla="*/ 760576 h 1019337"/>
                <a:gd name="connsiteX165" fmla="*/ 179637 w 827167"/>
                <a:gd name="connsiteY165" fmla="*/ 760576 h 1019337"/>
                <a:gd name="connsiteX166" fmla="*/ 180807 w 827167"/>
                <a:gd name="connsiteY166" fmla="*/ 760994 h 1019337"/>
                <a:gd name="connsiteX167" fmla="*/ 180807 w 827167"/>
                <a:gd name="connsiteY167" fmla="*/ 760994 h 1019337"/>
                <a:gd name="connsiteX168" fmla="*/ 181976 w 827167"/>
                <a:gd name="connsiteY168" fmla="*/ 761328 h 1019337"/>
                <a:gd name="connsiteX169" fmla="*/ 181976 w 827167"/>
                <a:gd name="connsiteY169" fmla="*/ 761328 h 1019337"/>
                <a:gd name="connsiteX170" fmla="*/ 183146 w 827167"/>
                <a:gd name="connsiteY170" fmla="*/ 761662 h 1019337"/>
                <a:gd name="connsiteX171" fmla="*/ 183146 w 827167"/>
                <a:gd name="connsiteY171" fmla="*/ 761662 h 1019337"/>
                <a:gd name="connsiteX172" fmla="*/ 184316 w 827167"/>
                <a:gd name="connsiteY172" fmla="*/ 761996 h 1019337"/>
                <a:gd name="connsiteX173" fmla="*/ 184316 w 827167"/>
                <a:gd name="connsiteY173" fmla="*/ 761996 h 1019337"/>
                <a:gd name="connsiteX174" fmla="*/ 185569 w 827167"/>
                <a:gd name="connsiteY174" fmla="*/ 762247 h 1019337"/>
                <a:gd name="connsiteX175" fmla="*/ 185569 w 827167"/>
                <a:gd name="connsiteY175" fmla="*/ 762247 h 1019337"/>
                <a:gd name="connsiteX176" fmla="*/ 186823 w 827167"/>
                <a:gd name="connsiteY176" fmla="*/ 762498 h 1019337"/>
                <a:gd name="connsiteX177" fmla="*/ 186823 w 827167"/>
                <a:gd name="connsiteY177" fmla="*/ 762498 h 1019337"/>
                <a:gd name="connsiteX178" fmla="*/ 188076 w 827167"/>
                <a:gd name="connsiteY178" fmla="*/ 762748 h 1019337"/>
                <a:gd name="connsiteX179" fmla="*/ 188076 w 827167"/>
                <a:gd name="connsiteY179" fmla="*/ 762748 h 1019337"/>
                <a:gd name="connsiteX180" fmla="*/ 189329 w 827167"/>
                <a:gd name="connsiteY180" fmla="*/ 762915 h 1019337"/>
                <a:gd name="connsiteX181" fmla="*/ 189329 w 827167"/>
                <a:gd name="connsiteY181" fmla="*/ 762915 h 1019337"/>
                <a:gd name="connsiteX182" fmla="*/ 190583 w 827167"/>
                <a:gd name="connsiteY182" fmla="*/ 763082 h 1019337"/>
                <a:gd name="connsiteX183" fmla="*/ 190583 w 827167"/>
                <a:gd name="connsiteY183" fmla="*/ 763082 h 1019337"/>
                <a:gd name="connsiteX184" fmla="*/ 191836 w 827167"/>
                <a:gd name="connsiteY184" fmla="*/ 763166 h 1019337"/>
                <a:gd name="connsiteX185" fmla="*/ 191836 w 827167"/>
                <a:gd name="connsiteY185" fmla="*/ 763166 h 1019337"/>
                <a:gd name="connsiteX186" fmla="*/ 193089 w 827167"/>
                <a:gd name="connsiteY186" fmla="*/ 763250 h 1019337"/>
                <a:gd name="connsiteX187" fmla="*/ 193089 w 827167"/>
                <a:gd name="connsiteY187" fmla="*/ 763250 h 1019337"/>
                <a:gd name="connsiteX188" fmla="*/ 193507 w 827167"/>
                <a:gd name="connsiteY188" fmla="*/ 763250 h 1019337"/>
                <a:gd name="connsiteX189" fmla="*/ 196264 w 827167"/>
                <a:gd name="connsiteY189" fmla="*/ 763333 h 1019337"/>
                <a:gd name="connsiteX190" fmla="*/ 207460 w 827167"/>
                <a:gd name="connsiteY190" fmla="*/ 763333 h 1019337"/>
                <a:gd name="connsiteX191" fmla="*/ 220411 w 827167"/>
                <a:gd name="connsiteY191" fmla="*/ 763333 h 1019337"/>
                <a:gd name="connsiteX192" fmla="*/ 291430 w 827167"/>
                <a:gd name="connsiteY192" fmla="*/ 834353 h 1019337"/>
                <a:gd name="connsiteX193" fmla="*/ 291430 w 827167"/>
                <a:gd name="connsiteY193" fmla="*/ 889915 h 1019337"/>
                <a:gd name="connsiteX194" fmla="*/ 291430 w 827167"/>
                <a:gd name="connsiteY194" fmla="*/ 973216 h 1019337"/>
                <a:gd name="connsiteX195" fmla="*/ 291430 w 827167"/>
                <a:gd name="connsiteY195" fmla="*/ 975973 h 1019337"/>
                <a:gd name="connsiteX196" fmla="*/ 341979 w 827167"/>
                <a:gd name="connsiteY196" fmla="*/ 1026523 h 1019337"/>
                <a:gd name="connsiteX197" fmla="*/ 495381 w 827167"/>
                <a:gd name="connsiteY197" fmla="*/ 1026523 h 1019337"/>
                <a:gd name="connsiteX198" fmla="*/ 545930 w 827167"/>
                <a:gd name="connsiteY198" fmla="*/ 975973 h 1019337"/>
                <a:gd name="connsiteX199" fmla="*/ 545930 w 827167"/>
                <a:gd name="connsiteY199" fmla="*/ 968872 h 1019337"/>
                <a:gd name="connsiteX200" fmla="*/ 547685 w 827167"/>
                <a:gd name="connsiteY200" fmla="*/ 526880 h 1019337"/>
                <a:gd name="connsiteX201" fmla="*/ 502566 w 827167"/>
                <a:gd name="connsiteY201" fmla="*/ 490702 h 1019337"/>
                <a:gd name="connsiteX202" fmla="*/ 464467 w 827167"/>
                <a:gd name="connsiteY202" fmla="*/ 490702 h 1019337"/>
                <a:gd name="connsiteX203" fmla="*/ 413918 w 827167"/>
                <a:gd name="connsiteY203" fmla="*/ 440153 h 1019337"/>
                <a:gd name="connsiteX204" fmla="*/ 413918 w 827167"/>
                <a:gd name="connsiteY204" fmla="*/ 422607 h 1019337"/>
                <a:gd name="connsiteX205" fmla="*/ 464467 w 827167"/>
                <a:gd name="connsiteY205" fmla="*/ 372058 h 1019337"/>
                <a:gd name="connsiteX206" fmla="*/ 779208 w 827167"/>
                <a:gd name="connsiteY206" fmla="*/ 371139 h 1019337"/>
                <a:gd name="connsiteX207" fmla="*/ 829757 w 827167"/>
                <a:gd name="connsiteY207" fmla="*/ 320590 h 1019337"/>
                <a:gd name="connsiteX208" fmla="*/ 829757 w 827167"/>
                <a:gd name="connsiteY208" fmla="*/ 182729 h 1019337"/>
                <a:gd name="connsiteX209" fmla="*/ 829339 w 827167"/>
                <a:gd name="connsiteY209" fmla="*/ 177214 h 1019337"/>
                <a:gd name="connsiteX210" fmla="*/ 829339 w 827167"/>
                <a:gd name="connsiteY210" fmla="*/ 0 h 1019337"/>
                <a:gd name="connsiteX211" fmla="*/ 752388 w 827167"/>
                <a:gd name="connsiteY211" fmla="*/ 0 h 1019337"/>
                <a:gd name="connsiteX212" fmla="*/ 704011 w 827167"/>
                <a:gd name="connsiteY212" fmla="*/ 36011 h 1019337"/>
                <a:gd name="connsiteX213" fmla="*/ 704011 w 827167"/>
                <a:gd name="connsiteY213" fmla="*/ 72858 h 1019337"/>
                <a:gd name="connsiteX214" fmla="*/ 653462 w 827167"/>
                <a:gd name="connsiteY214" fmla="*/ 123407 h 1019337"/>
                <a:gd name="connsiteX215" fmla="*/ 557460 w 827167"/>
                <a:gd name="connsiteY215" fmla="*/ 123407 h 1019337"/>
                <a:gd name="connsiteX216" fmla="*/ 557460 w 827167"/>
                <a:gd name="connsiteY216" fmla="*/ 202196 h 1019337"/>
                <a:gd name="connsiteX217" fmla="*/ 506911 w 827167"/>
                <a:gd name="connsiteY217" fmla="*/ 252746 h 1019337"/>
                <a:gd name="connsiteX218" fmla="*/ 431380 w 827167"/>
                <a:gd name="connsiteY218" fmla="*/ 252746 h 1019337"/>
                <a:gd name="connsiteX219" fmla="*/ 431380 w 827167"/>
                <a:gd name="connsiteY219" fmla="*/ 252746 h 1019337"/>
                <a:gd name="connsiteX220" fmla="*/ 145297 w 827167"/>
                <a:gd name="connsiteY220" fmla="*/ 712701 h 1019337"/>
                <a:gd name="connsiteX221" fmla="*/ 145297 w 827167"/>
                <a:gd name="connsiteY221" fmla="*/ 712701 h 1019337"/>
                <a:gd name="connsiteX222" fmla="*/ 145297 w 827167"/>
                <a:gd name="connsiteY222" fmla="*/ 712701 h 1019337"/>
                <a:gd name="connsiteX223" fmla="*/ 145297 w 827167"/>
                <a:gd name="connsiteY223" fmla="*/ 712701 h 1019337"/>
                <a:gd name="connsiteX224" fmla="*/ 0 w 827167"/>
                <a:gd name="connsiteY224" fmla="*/ 582526 h 1019337"/>
                <a:gd name="connsiteX225" fmla="*/ 0 w 827167"/>
                <a:gd name="connsiteY225" fmla="*/ 582526 h 1019337"/>
                <a:gd name="connsiteX226" fmla="*/ 0 w 827167"/>
                <a:gd name="connsiteY226" fmla="*/ 582526 h 101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827167" h="1019337">
                  <a:moveTo>
                    <a:pt x="431380" y="252746"/>
                  </a:moveTo>
                  <a:lnTo>
                    <a:pt x="431129" y="252746"/>
                  </a:lnTo>
                  <a:lnTo>
                    <a:pt x="147720" y="252746"/>
                  </a:lnTo>
                  <a:lnTo>
                    <a:pt x="147720" y="456864"/>
                  </a:lnTo>
                  <a:cubicBezTo>
                    <a:pt x="147720" y="484603"/>
                    <a:pt x="124994" y="507413"/>
                    <a:pt x="97171" y="507413"/>
                  </a:cubicBezTo>
                  <a:lnTo>
                    <a:pt x="0" y="507413"/>
                  </a:lnTo>
                  <a:lnTo>
                    <a:pt x="0" y="582526"/>
                  </a:lnTo>
                  <a:lnTo>
                    <a:pt x="0" y="583863"/>
                  </a:lnTo>
                  <a:lnTo>
                    <a:pt x="0" y="583863"/>
                  </a:lnTo>
                  <a:lnTo>
                    <a:pt x="83" y="585116"/>
                  </a:lnTo>
                  <a:lnTo>
                    <a:pt x="83" y="585116"/>
                  </a:lnTo>
                  <a:lnTo>
                    <a:pt x="167" y="586370"/>
                  </a:lnTo>
                  <a:lnTo>
                    <a:pt x="167" y="586370"/>
                  </a:lnTo>
                  <a:lnTo>
                    <a:pt x="251" y="587623"/>
                  </a:lnTo>
                  <a:lnTo>
                    <a:pt x="251" y="587623"/>
                  </a:lnTo>
                  <a:lnTo>
                    <a:pt x="418" y="588876"/>
                  </a:lnTo>
                  <a:lnTo>
                    <a:pt x="418" y="588876"/>
                  </a:lnTo>
                  <a:lnTo>
                    <a:pt x="585" y="590129"/>
                  </a:lnTo>
                  <a:lnTo>
                    <a:pt x="585" y="590129"/>
                  </a:lnTo>
                  <a:cubicBezTo>
                    <a:pt x="3175" y="605670"/>
                    <a:pt x="12282" y="618788"/>
                    <a:pt x="25985" y="626641"/>
                  </a:cubicBezTo>
                  <a:lnTo>
                    <a:pt x="26486" y="626892"/>
                  </a:lnTo>
                  <a:lnTo>
                    <a:pt x="26486" y="626892"/>
                  </a:lnTo>
                  <a:lnTo>
                    <a:pt x="27572" y="627477"/>
                  </a:lnTo>
                  <a:lnTo>
                    <a:pt x="27572" y="627477"/>
                  </a:lnTo>
                  <a:lnTo>
                    <a:pt x="28658" y="628062"/>
                  </a:lnTo>
                  <a:lnTo>
                    <a:pt x="28658" y="628062"/>
                  </a:lnTo>
                  <a:lnTo>
                    <a:pt x="29745" y="628564"/>
                  </a:lnTo>
                  <a:lnTo>
                    <a:pt x="29745" y="628564"/>
                  </a:lnTo>
                  <a:cubicBezTo>
                    <a:pt x="30079" y="628730"/>
                    <a:pt x="30497" y="628898"/>
                    <a:pt x="30831" y="629065"/>
                  </a:cubicBezTo>
                  <a:lnTo>
                    <a:pt x="30831" y="629065"/>
                  </a:lnTo>
                  <a:lnTo>
                    <a:pt x="32000" y="629566"/>
                  </a:lnTo>
                  <a:lnTo>
                    <a:pt x="32000" y="629566"/>
                  </a:lnTo>
                  <a:lnTo>
                    <a:pt x="33170" y="629984"/>
                  </a:lnTo>
                  <a:lnTo>
                    <a:pt x="33170" y="629984"/>
                  </a:lnTo>
                  <a:lnTo>
                    <a:pt x="34340" y="630401"/>
                  </a:lnTo>
                  <a:lnTo>
                    <a:pt x="34340" y="630401"/>
                  </a:lnTo>
                  <a:lnTo>
                    <a:pt x="34590" y="630485"/>
                  </a:lnTo>
                  <a:cubicBezTo>
                    <a:pt x="35259" y="630652"/>
                    <a:pt x="35760" y="630903"/>
                    <a:pt x="36429" y="631070"/>
                  </a:cubicBezTo>
                  <a:lnTo>
                    <a:pt x="36679" y="631154"/>
                  </a:lnTo>
                  <a:lnTo>
                    <a:pt x="36679" y="631154"/>
                  </a:lnTo>
                  <a:lnTo>
                    <a:pt x="37849" y="631488"/>
                  </a:lnTo>
                  <a:lnTo>
                    <a:pt x="37849" y="631488"/>
                  </a:lnTo>
                  <a:lnTo>
                    <a:pt x="39019" y="631822"/>
                  </a:lnTo>
                  <a:lnTo>
                    <a:pt x="39019" y="631822"/>
                  </a:lnTo>
                  <a:lnTo>
                    <a:pt x="40272" y="632073"/>
                  </a:lnTo>
                  <a:lnTo>
                    <a:pt x="40272" y="632073"/>
                  </a:lnTo>
                  <a:cubicBezTo>
                    <a:pt x="40690" y="632156"/>
                    <a:pt x="41108" y="632240"/>
                    <a:pt x="41525" y="632323"/>
                  </a:cubicBezTo>
                  <a:lnTo>
                    <a:pt x="41525" y="632323"/>
                  </a:lnTo>
                  <a:lnTo>
                    <a:pt x="41776" y="632323"/>
                  </a:lnTo>
                  <a:cubicBezTo>
                    <a:pt x="42528" y="632407"/>
                    <a:pt x="43113" y="632574"/>
                    <a:pt x="43865" y="632658"/>
                  </a:cubicBezTo>
                  <a:lnTo>
                    <a:pt x="44116" y="632658"/>
                  </a:lnTo>
                  <a:lnTo>
                    <a:pt x="44116" y="632658"/>
                  </a:lnTo>
                  <a:lnTo>
                    <a:pt x="45369" y="632825"/>
                  </a:lnTo>
                  <a:lnTo>
                    <a:pt x="45369" y="632825"/>
                  </a:lnTo>
                  <a:lnTo>
                    <a:pt x="46622" y="632908"/>
                  </a:lnTo>
                  <a:lnTo>
                    <a:pt x="46622" y="632908"/>
                  </a:lnTo>
                  <a:lnTo>
                    <a:pt x="47875" y="632992"/>
                  </a:lnTo>
                  <a:lnTo>
                    <a:pt x="47875" y="632992"/>
                  </a:lnTo>
                  <a:lnTo>
                    <a:pt x="48293" y="632992"/>
                  </a:lnTo>
                  <a:cubicBezTo>
                    <a:pt x="49296" y="632992"/>
                    <a:pt x="50048" y="633075"/>
                    <a:pt x="51050" y="633075"/>
                  </a:cubicBezTo>
                  <a:lnTo>
                    <a:pt x="68095" y="633075"/>
                  </a:lnTo>
                  <a:lnTo>
                    <a:pt x="74194" y="633075"/>
                  </a:lnTo>
                  <a:cubicBezTo>
                    <a:pt x="113297" y="633075"/>
                    <a:pt x="145214" y="664992"/>
                    <a:pt x="145214" y="704095"/>
                  </a:cubicBezTo>
                  <a:lnTo>
                    <a:pt x="145214" y="712701"/>
                  </a:lnTo>
                  <a:lnTo>
                    <a:pt x="145214" y="714037"/>
                  </a:lnTo>
                  <a:lnTo>
                    <a:pt x="145214" y="714037"/>
                  </a:lnTo>
                  <a:lnTo>
                    <a:pt x="145297" y="715291"/>
                  </a:lnTo>
                  <a:lnTo>
                    <a:pt x="145297" y="715291"/>
                  </a:lnTo>
                  <a:lnTo>
                    <a:pt x="145381" y="716544"/>
                  </a:lnTo>
                  <a:lnTo>
                    <a:pt x="145381" y="716544"/>
                  </a:lnTo>
                  <a:lnTo>
                    <a:pt x="145464" y="717797"/>
                  </a:lnTo>
                  <a:lnTo>
                    <a:pt x="145464" y="717797"/>
                  </a:lnTo>
                  <a:lnTo>
                    <a:pt x="145631" y="719050"/>
                  </a:lnTo>
                  <a:lnTo>
                    <a:pt x="145631" y="719050"/>
                  </a:lnTo>
                  <a:lnTo>
                    <a:pt x="145799" y="720304"/>
                  </a:lnTo>
                  <a:lnTo>
                    <a:pt x="145799" y="720304"/>
                  </a:lnTo>
                  <a:lnTo>
                    <a:pt x="146049" y="721557"/>
                  </a:lnTo>
                  <a:lnTo>
                    <a:pt x="146049" y="721557"/>
                  </a:lnTo>
                  <a:cubicBezTo>
                    <a:pt x="146133" y="721975"/>
                    <a:pt x="146216" y="722393"/>
                    <a:pt x="146300" y="722810"/>
                  </a:cubicBezTo>
                  <a:lnTo>
                    <a:pt x="146300" y="722810"/>
                  </a:lnTo>
                  <a:lnTo>
                    <a:pt x="146550" y="724064"/>
                  </a:lnTo>
                  <a:lnTo>
                    <a:pt x="146550" y="724064"/>
                  </a:lnTo>
                  <a:lnTo>
                    <a:pt x="146884" y="725317"/>
                  </a:lnTo>
                  <a:lnTo>
                    <a:pt x="146884" y="725317"/>
                  </a:lnTo>
                  <a:lnTo>
                    <a:pt x="147219" y="726487"/>
                  </a:lnTo>
                  <a:lnTo>
                    <a:pt x="147219" y="726487"/>
                  </a:lnTo>
                  <a:lnTo>
                    <a:pt x="147553" y="727656"/>
                  </a:lnTo>
                  <a:lnTo>
                    <a:pt x="147553" y="727656"/>
                  </a:lnTo>
                  <a:lnTo>
                    <a:pt x="147971" y="728826"/>
                  </a:lnTo>
                  <a:lnTo>
                    <a:pt x="147971" y="728826"/>
                  </a:lnTo>
                  <a:lnTo>
                    <a:pt x="148389" y="729996"/>
                  </a:lnTo>
                  <a:lnTo>
                    <a:pt x="148389" y="729996"/>
                  </a:lnTo>
                  <a:lnTo>
                    <a:pt x="148806" y="731165"/>
                  </a:lnTo>
                  <a:lnTo>
                    <a:pt x="148806" y="731165"/>
                  </a:lnTo>
                  <a:lnTo>
                    <a:pt x="149308" y="732335"/>
                  </a:lnTo>
                  <a:lnTo>
                    <a:pt x="149308" y="732335"/>
                  </a:lnTo>
                  <a:lnTo>
                    <a:pt x="149809" y="733421"/>
                  </a:lnTo>
                  <a:lnTo>
                    <a:pt x="149809" y="733421"/>
                  </a:lnTo>
                  <a:lnTo>
                    <a:pt x="150310" y="734508"/>
                  </a:lnTo>
                  <a:lnTo>
                    <a:pt x="150310" y="734508"/>
                  </a:lnTo>
                  <a:lnTo>
                    <a:pt x="150895" y="735594"/>
                  </a:lnTo>
                  <a:lnTo>
                    <a:pt x="150895" y="735594"/>
                  </a:lnTo>
                  <a:cubicBezTo>
                    <a:pt x="151062" y="735928"/>
                    <a:pt x="151229" y="736346"/>
                    <a:pt x="151480" y="736680"/>
                  </a:cubicBezTo>
                  <a:lnTo>
                    <a:pt x="151480" y="736680"/>
                  </a:lnTo>
                  <a:lnTo>
                    <a:pt x="152065" y="737766"/>
                  </a:lnTo>
                  <a:lnTo>
                    <a:pt x="152065" y="737766"/>
                  </a:lnTo>
                  <a:cubicBezTo>
                    <a:pt x="152232" y="738100"/>
                    <a:pt x="152483" y="738434"/>
                    <a:pt x="152650" y="738853"/>
                  </a:cubicBezTo>
                  <a:lnTo>
                    <a:pt x="152650" y="738853"/>
                  </a:lnTo>
                  <a:lnTo>
                    <a:pt x="153318" y="739855"/>
                  </a:lnTo>
                  <a:lnTo>
                    <a:pt x="153318" y="739855"/>
                  </a:lnTo>
                  <a:lnTo>
                    <a:pt x="153987" y="740858"/>
                  </a:lnTo>
                  <a:lnTo>
                    <a:pt x="153987" y="740858"/>
                  </a:lnTo>
                  <a:lnTo>
                    <a:pt x="154655" y="741860"/>
                  </a:lnTo>
                  <a:lnTo>
                    <a:pt x="154655" y="741860"/>
                  </a:lnTo>
                  <a:lnTo>
                    <a:pt x="155407" y="742863"/>
                  </a:lnTo>
                  <a:lnTo>
                    <a:pt x="155407" y="742863"/>
                  </a:lnTo>
                  <a:lnTo>
                    <a:pt x="156159" y="743866"/>
                  </a:lnTo>
                  <a:lnTo>
                    <a:pt x="156159" y="743866"/>
                  </a:lnTo>
                  <a:cubicBezTo>
                    <a:pt x="156410" y="744200"/>
                    <a:pt x="156660" y="744534"/>
                    <a:pt x="156911" y="744784"/>
                  </a:cubicBezTo>
                  <a:lnTo>
                    <a:pt x="156911" y="744784"/>
                  </a:lnTo>
                  <a:lnTo>
                    <a:pt x="157663" y="745703"/>
                  </a:lnTo>
                  <a:lnTo>
                    <a:pt x="157663" y="745703"/>
                  </a:lnTo>
                  <a:lnTo>
                    <a:pt x="158498" y="746623"/>
                  </a:lnTo>
                  <a:lnTo>
                    <a:pt x="158498" y="746623"/>
                  </a:lnTo>
                  <a:lnTo>
                    <a:pt x="159334" y="747542"/>
                  </a:lnTo>
                  <a:lnTo>
                    <a:pt x="159334" y="747542"/>
                  </a:lnTo>
                  <a:lnTo>
                    <a:pt x="160169" y="748377"/>
                  </a:lnTo>
                  <a:lnTo>
                    <a:pt x="160169" y="748377"/>
                  </a:lnTo>
                  <a:lnTo>
                    <a:pt x="161005" y="749213"/>
                  </a:lnTo>
                  <a:lnTo>
                    <a:pt x="161005" y="749213"/>
                  </a:lnTo>
                  <a:lnTo>
                    <a:pt x="161924" y="750048"/>
                  </a:lnTo>
                  <a:lnTo>
                    <a:pt x="161924" y="750048"/>
                  </a:lnTo>
                  <a:lnTo>
                    <a:pt x="162843" y="750884"/>
                  </a:lnTo>
                  <a:lnTo>
                    <a:pt x="162843" y="750884"/>
                  </a:lnTo>
                  <a:lnTo>
                    <a:pt x="163762" y="751636"/>
                  </a:lnTo>
                  <a:lnTo>
                    <a:pt x="163762" y="751636"/>
                  </a:lnTo>
                  <a:cubicBezTo>
                    <a:pt x="164097" y="751887"/>
                    <a:pt x="164431" y="752137"/>
                    <a:pt x="164681" y="752388"/>
                  </a:cubicBezTo>
                  <a:lnTo>
                    <a:pt x="164681" y="752388"/>
                  </a:lnTo>
                  <a:cubicBezTo>
                    <a:pt x="165016" y="752638"/>
                    <a:pt x="165350" y="752889"/>
                    <a:pt x="165601" y="753140"/>
                  </a:cubicBezTo>
                  <a:lnTo>
                    <a:pt x="165601" y="753140"/>
                  </a:lnTo>
                  <a:lnTo>
                    <a:pt x="166603" y="753892"/>
                  </a:lnTo>
                  <a:lnTo>
                    <a:pt x="166603" y="753892"/>
                  </a:lnTo>
                  <a:lnTo>
                    <a:pt x="167606" y="754560"/>
                  </a:lnTo>
                  <a:lnTo>
                    <a:pt x="167606" y="754560"/>
                  </a:lnTo>
                  <a:lnTo>
                    <a:pt x="168608" y="755229"/>
                  </a:lnTo>
                  <a:lnTo>
                    <a:pt x="168608" y="755229"/>
                  </a:lnTo>
                  <a:lnTo>
                    <a:pt x="169611" y="755897"/>
                  </a:lnTo>
                  <a:lnTo>
                    <a:pt x="169611" y="755897"/>
                  </a:lnTo>
                  <a:lnTo>
                    <a:pt x="170697" y="756482"/>
                  </a:lnTo>
                  <a:lnTo>
                    <a:pt x="170697" y="756482"/>
                  </a:lnTo>
                  <a:lnTo>
                    <a:pt x="171783" y="757067"/>
                  </a:lnTo>
                  <a:lnTo>
                    <a:pt x="171783" y="757067"/>
                  </a:lnTo>
                  <a:lnTo>
                    <a:pt x="172870" y="757652"/>
                  </a:lnTo>
                  <a:lnTo>
                    <a:pt x="172870" y="757652"/>
                  </a:lnTo>
                  <a:lnTo>
                    <a:pt x="173956" y="758236"/>
                  </a:lnTo>
                  <a:lnTo>
                    <a:pt x="173956" y="758236"/>
                  </a:lnTo>
                  <a:lnTo>
                    <a:pt x="175042" y="758738"/>
                  </a:lnTo>
                  <a:lnTo>
                    <a:pt x="175042" y="758738"/>
                  </a:lnTo>
                  <a:cubicBezTo>
                    <a:pt x="175376" y="758905"/>
                    <a:pt x="175794" y="759072"/>
                    <a:pt x="176128" y="759239"/>
                  </a:cubicBezTo>
                  <a:lnTo>
                    <a:pt x="176128" y="759239"/>
                  </a:lnTo>
                  <a:lnTo>
                    <a:pt x="177298" y="759741"/>
                  </a:lnTo>
                  <a:lnTo>
                    <a:pt x="177298" y="759741"/>
                  </a:lnTo>
                  <a:lnTo>
                    <a:pt x="178467" y="760158"/>
                  </a:lnTo>
                  <a:lnTo>
                    <a:pt x="178467" y="760158"/>
                  </a:lnTo>
                  <a:lnTo>
                    <a:pt x="179637" y="760576"/>
                  </a:lnTo>
                  <a:lnTo>
                    <a:pt x="179637" y="760576"/>
                  </a:lnTo>
                  <a:lnTo>
                    <a:pt x="180807" y="760994"/>
                  </a:lnTo>
                  <a:lnTo>
                    <a:pt x="180807" y="760994"/>
                  </a:lnTo>
                  <a:lnTo>
                    <a:pt x="181976" y="761328"/>
                  </a:lnTo>
                  <a:lnTo>
                    <a:pt x="181976" y="761328"/>
                  </a:lnTo>
                  <a:lnTo>
                    <a:pt x="183146" y="761662"/>
                  </a:lnTo>
                  <a:lnTo>
                    <a:pt x="183146" y="761662"/>
                  </a:lnTo>
                  <a:lnTo>
                    <a:pt x="184316" y="761996"/>
                  </a:lnTo>
                  <a:lnTo>
                    <a:pt x="184316" y="761996"/>
                  </a:lnTo>
                  <a:lnTo>
                    <a:pt x="185569" y="762247"/>
                  </a:lnTo>
                  <a:lnTo>
                    <a:pt x="185569" y="762247"/>
                  </a:lnTo>
                  <a:cubicBezTo>
                    <a:pt x="185987" y="762331"/>
                    <a:pt x="186405" y="762414"/>
                    <a:pt x="186823" y="762498"/>
                  </a:cubicBezTo>
                  <a:lnTo>
                    <a:pt x="186823" y="762498"/>
                  </a:lnTo>
                  <a:lnTo>
                    <a:pt x="188076" y="762748"/>
                  </a:lnTo>
                  <a:lnTo>
                    <a:pt x="188076" y="762748"/>
                  </a:lnTo>
                  <a:lnTo>
                    <a:pt x="189329" y="762915"/>
                  </a:lnTo>
                  <a:lnTo>
                    <a:pt x="189329" y="762915"/>
                  </a:lnTo>
                  <a:lnTo>
                    <a:pt x="190583" y="763082"/>
                  </a:lnTo>
                  <a:lnTo>
                    <a:pt x="190583" y="763082"/>
                  </a:lnTo>
                  <a:lnTo>
                    <a:pt x="191836" y="763166"/>
                  </a:lnTo>
                  <a:lnTo>
                    <a:pt x="191836" y="763166"/>
                  </a:lnTo>
                  <a:lnTo>
                    <a:pt x="193089" y="763250"/>
                  </a:lnTo>
                  <a:lnTo>
                    <a:pt x="193089" y="763250"/>
                  </a:lnTo>
                  <a:lnTo>
                    <a:pt x="193507" y="763250"/>
                  </a:lnTo>
                  <a:cubicBezTo>
                    <a:pt x="194426" y="763250"/>
                    <a:pt x="195262" y="763333"/>
                    <a:pt x="196264" y="763333"/>
                  </a:cubicBezTo>
                  <a:lnTo>
                    <a:pt x="207460" y="763333"/>
                  </a:lnTo>
                  <a:lnTo>
                    <a:pt x="220411" y="763333"/>
                  </a:lnTo>
                  <a:cubicBezTo>
                    <a:pt x="259513" y="763333"/>
                    <a:pt x="291430" y="795250"/>
                    <a:pt x="291430" y="834353"/>
                  </a:cubicBezTo>
                  <a:lnTo>
                    <a:pt x="291430" y="889915"/>
                  </a:lnTo>
                  <a:lnTo>
                    <a:pt x="291430" y="973216"/>
                  </a:lnTo>
                  <a:lnTo>
                    <a:pt x="291430" y="975973"/>
                  </a:lnTo>
                  <a:cubicBezTo>
                    <a:pt x="291430" y="1003713"/>
                    <a:pt x="314156" y="1026523"/>
                    <a:pt x="341979" y="1026523"/>
                  </a:cubicBezTo>
                  <a:lnTo>
                    <a:pt x="495381" y="1026523"/>
                  </a:lnTo>
                  <a:cubicBezTo>
                    <a:pt x="523204" y="1026523"/>
                    <a:pt x="545930" y="1003796"/>
                    <a:pt x="545930" y="975973"/>
                  </a:cubicBezTo>
                  <a:lnTo>
                    <a:pt x="545930" y="968872"/>
                  </a:lnTo>
                  <a:lnTo>
                    <a:pt x="547685" y="526880"/>
                  </a:lnTo>
                  <a:cubicBezTo>
                    <a:pt x="547351" y="508332"/>
                    <a:pt x="538327" y="490702"/>
                    <a:pt x="502566" y="490702"/>
                  </a:cubicBezTo>
                  <a:lnTo>
                    <a:pt x="464467" y="490702"/>
                  </a:lnTo>
                  <a:cubicBezTo>
                    <a:pt x="436644" y="490702"/>
                    <a:pt x="413918" y="467976"/>
                    <a:pt x="413918" y="440153"/>
                  </a:cubicBezTo>
                  <a:lnTo>
                    <a:pt x="413918" y="422607"/>
                  </a:lnTo>
                  <a:cubicBezTo>
                    <a:pt x="413918" y="394784"/>
                    <a:pt x="436644" y="372058"/>
                    <a:pt x="464467" y="372058"/>
                  </a:cubicBezTo>
                  <a:cubicBezTo>
                    <a:pt x="569325" y="372058"/>
                    <a:pt x="673514" y="371139"/>
                    <a:pt x="779208" y="371139"/>
                  </a:cubicBezTo>
                  <a:cubicBezTo>
                    <a:pt x="807031" y="371139"/>
                    <a:pt x="829757" y="348413"/>
                    <a:pt x="829757" y="320590"/>
                  </a:cubicBezTo>
                  <a:lnTo>
                    <a:pt x="829757" y="182729"/>
                  </a:lnTo>
                  <a:cubicBezTo>
                    <a:pt x="829757" y="180139"/>
                    <a:pt x="829757" y="177632"/>
                    <a:pt x="829339" y="177214"/>
                  </a:cubicBezTo>
                  <a:lnTo>
                    <a:pt x="829339" y="0"/>
                  </a:lnTo>
                  <a:lnTo>
                    <a:pt x="752388" y="0"/>
                  </a:lnTo>
                  <a:cubicBezTo>
                    <a:pt x="729661" y="0"/>
                    <a:pt x="710278" y="15290"/>
                    <a:pt x="704011" y="36011"/>
                  </a:cubicBezTo>
                  <a:lnTo>
                    <a:pt x="704011" y="72858"/>
                  </a:lnTo>
                  <a:cubicBezTo>
                    <a:pt x="704011" y="100597"/>
                    <a:pt x="681285" y="123407"/>
                    <a:pt x="653462" y="123407"/>
                  </a:cubicBezTo>
                  <a:lnTo>
                    <a:pt x="557460" y="123407"/>
                  </a:lnTo>
                  <a:lnTo>
                    <a:pt x="557460" y="202196"/>
                  </a:lnTo>
                  <a:cubicBezTo>
                    <a:pt x="557460" y="229936"/>
                    <a:pt x="534734" y="252746"/>
                    <a:pt x="506911" y="252746"/>
                  </a:cubicBezTo>
                  <a:lnTo>
                    <a:pt x="431380" y="252746"/>
                  </a:lnTo>
                  <a:lnTo>
                    <a:pt x="431380" y="252746"/>
                  </a:lnTo>
                  <a:close/>
                  <a:moveTo>
                    <a:pt x="145297" y="712701"/>
                  </a:moveTo>
                  <a:lnTo>
                    <a:pt x="145297" y="712701"/>
                  </a:lnTo>
                  <a:lnTo>
                    <a:pt x="145297" y="712701"/>
                  </a:lnTo>
                  <a:lnTo>
                    <a:pt x="145297" y="712701"/>
                  </a:lnTo>
                  <a:close/>
                  <a:moveTo>
                    <a:pt x="0" y="582526"/>
                  </a:moveTo>
                  <a:lnTo>
                    <a:pt x="0" y="582526"/>
                  </a:lnTo>
                  <a:lnTo>
                    <a:pt x="0" y="582526"/>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68" name="Freeform: Shape 167">
              <a:extLst>
                <a:ext uri="{FF2B5EF4-FFF2-40B4-BE49-F238E27FC236}">
                  <a16:creationId xmlns:a16="http://schemas.microsoft.com/office/drawing/2014/main" id="{D7BEF126-B6C6-4183-8341-6012C11F6AB8}"/>
                </a:ext>
              </a:extLst>
            </p:cNvPr>
            <p:cNvSpPr/>
            <p:nvPr/>
          </p:nvSpPr>
          <p:spPr>
            <a:xfrm>
              <a:off x="15773123" y="5676858"/>
              <a:ext cx="593221" cy="894009"/>
            </a:xfrm>
            <a:custGeom>
              <a:avLst/>
              <a:gdLst>
                <a:gd name="connsiteX0" fmla="*/ 328360 w 593220"/>
                <a:gd name="connsiteY0" fmla="*/ 895179 h 894008"/>
                <a:gd name="connsiteX1" fmla="*/ 595477 w 593220"/>
                <a:gd name="connsiteY1" fmla="*/ 895179 h 894008"/>
                <a:gd name="connsiteX2" fmla="*/ 595477 w 593220"/>
                <a:gd name="connsiteY2" fmla="*/ 0 h 894008"/>
                <a:gd name="connsiteX3" fmla="*/ 478002 w 593220"/>
                <a:gd name="connsiteY3" fmla="*/ 0 h 894008"/>
                <a:gd name="connsiteX4" fmla="*/ 416591 w 593220"/>
                <a:gd name="connsiteY4" fmla="*/ 61411 h 894008"/>
                <a:gd name="connsiteX5" fmla="*/ 416591 w 593220"/>
                <a:gd name="connsiteY5" fmla="*/ 134436 h 894008"/>
                <a:gd name="connsiteX6" fmla="*/ 205622 w 593220"/>
                <a:gd name="connsiteY6" fmla="*/ 134436 h 894008"/>
                <a:gd name="connsiteX7" fmla="*/ 144211 w 593220"/>
                <a:gd name="connsiteY7" fmla="*/ 195846 h 894008"/>
                <a:gd name="connsiteX8" fmla="*/ 144211 w 593220"/>
                <a:gd name="connsiteY8" fmla="*/ 249905 h 894008"/>
                <a:gd name="connsiteX9" fmla="*/ 61411 w 593220"/>
                <a:gd name="connsiteY9" fmla="*/ 249905 h 894008"/>
                <a:gd name="connsiteX10" fmla="*/ 0 w 593220"/>
                <a:gd name="connsiteY10" fmla="*/ 311316 h 894008"/>
                <a:gd name="connsiteX11" fmla="*/ 0 w 593220"/>
                <a:gd name="connsiteY11" fmla="*/ 581440 h 894008"/>
                <a:gd name="connsiteX12" fmla="*/ 61411 w 593220"/>
                <a:gd name="connsiteY12" fmla="*/ 642851 h 894008"/>
                <a:gd name="connsiteX13" fmla="*/ 107615 w 593220"/>
                <a:gd name="connsiteY13" fmla="*/ 642851 h 894008"/>
                <a:gd name="connsiteX14" fmla="*/ 144211 w 593220"/>
                <a:gd name="connsiteY14" fmla="*/ 681703 h 894008"/>
                <a:gd name="connsiteX15" fmla="*/ 144211 w 593220"/>
                <a:gd name="connsiteY15" fmla="*/ 707270 h 894008"/>
                <a:gd name="connsiteX16" fmla="*/ 205622 w 593220"/>
                <a:gd name="connsiteY16" fmla="*/ 768681 h 894008"/>
                <a:gd name="connsiteX17" fmla="*/ 277811 w 593220"/>
                <a:gd name="connsiteY17" fmla="*/ 768681 h 894008"/>
                <a:gd name="connsiteX18" fmla="*/ 277811 w 593220"/>
                <a:gd name="connsiteY18" fmla="*/ 844462 h 894008"/>
                <a:gd name="connsiteX19" fmla="*/ 328360 w 593220"/>
                <a:gd name="connsiteY19" fmla="*/ 895179 h 89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3220" h="894008">
                  <a:moveTo>
                    <a:pt x="328360" y="895179"/>
                  </a:moveTo>
                  <a:lnTo>
                    <a:pt x="595477" y="895179"/>
                  </a:lnTo>
                  <a:lnTo>
                    <a:pt x="595477" y="0"/>
                  </a:lnTo>
                  <a:lnTo>
                    <a:pt x="478002" y="0"/>
                  </a:lnTo>
                  <a:cubicBezTo>
                    <a:pt x="444247" y="0"/>
                    <a:pt x="416591" y="27656"/>
                    <a:pt x="416591" y="61411"/>
                  </a:cubicBezTo>
                  <a:lnTo>
                    <a:pt x="416591" y="134436"/>
                  </a:lnTo>
                  <a:lnTo>
                    <a:pt x="205622" y="134436"/>
                  </a:lnTo>
                  <a:cubicBezTo>
                    <a:pt x="171867" y="134436"/>
                    <a:pt x="144211" y="162092"/>
                    <a:pt x="144211" y="195846"/>
                  </a:cubicBezTo>
                  <a:lnTo>
                    <a:pt x="144211" y="249905"/>
                  </a:lnTo>
                  <a:lnTo>
                    <a:pt x="61411" y="249905"/>
                  </a:lnTo>
                  <a:cubicBezTo>
                    <a:pt x="27656" y="249905"/>
                    <a:pt x="0" y="277561"/>
                    <a:pt x="0" y="311316"/>
                  </a:cubicBezTo>
                  <a:lnTo>
                    <a:pt x="0" y="581440"/>
                  </a:lnTo>
                  <a:cubicBezTo>
                    <a:pt x="0" y="615195"/>
                    <a:pt x="27656" y="642851"/>
                    <a:pt x="61411" y="642851"/>
                  </a:cubicBezTo>
                  <a:lnTo>
                    <a:pt x="107615" y="642851"/>
                  </a:lnTo>
                  <a:cubicBezTo>
                    <a:pt x="130759" y="644606"/>
                    <a:pt x="145214" y="661817"/>
                    <a:pt x="144211" y="681703"/>
                  </a:cubicBezTo>
                  <a:lnTo>
                    <a:pt x="144211" y="707270"/>
                  </a:lnTo>
                  <a:cubicBezTo>
                    <a:pt x="144211" y="741025"/>
                    <a:pt x="171867" y="768681"/>
                    <a:pt x="205622" y="768681"/>
                  </a:cubicBezTo>
                  <a:lnTo>
                    <a:pt x="277811" y="768681"/>
                  </a:lnTo>
                  <a:lnTo>
                    <a:pt x="277811" y="844462"/>
                  </a:lnTo>
                  <a:cubicBezTo>
                    <a:pt x="277811" y="872452"/>
                    <a:pt x="300538" y="895179"/>
                    <a:pt x="328360" y="895179"/>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69" name="Freeform: Shape 168">
              <a:extLst>
                <a:ext uri="{FF2B5EF4-FFF2-40B4-BE49-F238E27FC236}">
                  <a16:creationId xmlns:a16="http://schemas.microsoft.com/office/drawing/2014/main" id="{41E68DEF-C7BA-4EDA-8890-76A11F94F205}"/>
                </a:ext>
              </a:extLst>
            </p:cNvPr>
            <p:cNvSpPr/>
            <p:nvPr/>
          </p:nvSpPr>
          <p:spPr>
            <a:xfrm>
              <a:off x="15351351" y="5314909"/>
              <a:ext cx="751970" cy="492958"/>
            </a:xfrm>
            <a:custGeom>
              <a:avLst/>
              <a:gdLst>
                <a:gd name="connsiteX0" fmla="*/ 0 w 751970"/>
                <a:gd name="connsiteY0" fmla="*/ 183314 h 492958"/>
                <a:gd name="connsiteX1" fmla="*/ 0 w 751970"/>
                <a:gd name="connsiteY1" fmla="*/ 493961 h 492958"/>
                <a:gd name="connsiteX2" fmla="*/ 88816 w 751970"/>
                <a:gd name="connsiteY2" fmla="*/ 493961 h 492958"/>
                <a:gd name="connsiteX3" fmla="*/ 139365 w 751970"/>
                <a:gd name="connsiteY3" fmla="*/ 443412 h 492958"/>
                <a:gd name="connsiteX4" fmla="*/ 139365 w 751970"/>
                <a:gd name="connsiteY4" fmla="*/ 364622 h 492958"/>
                <a:gd name="connsiteX5" fmla="*/ 235366 w 751970"/>
                <a:gd name="connsiteY5" fmla="*/ 364622 h 492958"/>
                <a:gd name="connsiteX6" fmla="*/ 285915 w 751970"/>
                <a:gd name="connsiteY6" fmla="*/ 314073 h 492958"/>
                <a:gd name="connsiteX7" fmla="*/ 285915 w 751970"/>
                <a:gd name="connsiteY7" fmla="*/ 282072 h 492958"/>
                <a:gd name="connsiteX8" fmla="*/ 334293 w 751970"/>
                <a:gd name="connsiteY8" fmla="*/ 246061 h 492958"/>
                <a:gd name="connsiteX9" fmla="*/ 758570 w 751970"/>
                <a:gd name="connsiteY9" fmla="*/ 245978 h 492958"/>
                <a:gd name="connsiteX10" fmla="*/ 758570 w 751970"/>
                <a:gd name="connsiteY10" fmla="*/ 244223 h 492958"/>
                <a:gd name="connsiteX11" fmla="*/ 751469 w 751970"/>
                <a:gd name="connsiteY11" fmla="*/ 244223 h 492958"/>
                <a:gd name="connsiteX12" fmla="*/ 700920 w 751970"/>
                <a:gd name="connsiteY12" fmla="*/ 193674 h 492958"/>
                <a:gd name="connsiteX13" fmla="*/ 700920 w 751970"/>
                <a:gd name="connsiteY13" fmla="*/ 1003 h 492958"/>
                <a:gd name="connsiteX14" fmla="*/ 689974 w 751970"/>
                <a:gd name="connsiteY14" fmla="*/ 0 h 492958"/>
                <a:gd name="connsiteX15" fmla="*/ 397876 w 751970"/>
                <a:gd name="connsiteY15" fmla="*/ 0 h 492958"/>
                <a:gd name="connsiteX16" fmla="*/ 354428 w 751970"/>
                <a:gd name="connsiteY16" fmla="*/ 0 h 492958"/>
                <a:gd name="connsiteX17" fmla="*/ 253247 w 751970"/>
                <a:gd name="connsiteY17" fmla="*/ 0 h 492958"/>
                <a:gd name="connsiteX18" fmla="*/ 192003 w 751970"/>
                <a:gd name="connsiteY18" fmla="*/ 56481 h 492958"/>
                <a:gd name="connsiteX19" fmla="*/ 121151 w 751970"/>
                <a:gd name="connsiteY19" fmla="*/ 121819 h 492958"/>
                <a:gd name="connsiteX20" fmla="*/ 61327 w 751970"/>
                <a:gd name="connsiteY20" fmla="*/ 121819 h 492958"/>
                <a:gd name="connsiteX21" fmla="*/ 0 w 751970"/>
                <a:gd name="connsiteY21" fmla="*/ 183314 h 49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51970" h="492958">
                  <a:moveTo>
                    <a:pt x="0" y="183314"/>
                  </a:moveTo>
                  <a:lnTo>
                    <a:pt x="0" y="493961"/>
                  </a:lnTo>
                  <a:lnTo>
                    <a:pt x="88816" y="493961"/>
                  </a:lnTo>
                  <a:cubicBezTo>
                    <a:pt x="116639" y="493961"/>
                    <a:pt x="139365" y="471235"/>
                    <a:pt x="139365" y="443412"/>
                  </a:cubicBezTo>
                  <a:lnTo>
                    <a:pt x="139365" y="364622"/>
                  </a:lnTo>
                  <a:lnTo>
                    <a:pt x="235366" y="364622"/>
                  </a:lnTo>
                  <a:cubicBezTo>
                    <a:pt x="263190" y="364622"/>
                    <a:pt x="285915" y="341896"/>
                    <a:pt x="285915" y="314073"/>
                  </a:cubicBezTo>
                  <a:lnTo>
                    <a:pt x="285915" y="282072"/>
                  </a:lnTo>
                  <a:cubicBezTo>
                    <a:pt x="292182" y="261268"/>
                    <a:pt x="311566" y="246061"/>
                    <a:pt x="334293" y="246061"/>
                  </a:cubicBezTo>
                  <a:cubicBezTo>
                    <a:pt x="479339" y="246061"/>
                    <a:pt x="342480" y="245978"/>
                    <a:pt x="758570" y="245978"/>
                  </a:cubicBezTo>
                  <a:lnTo>
                    <a:pt x="758570" y="244223"/>
                  </a:lnTo>
                  <a:lnTo>
                    <a:pt x="751469" y="244223"/>
                  </a:lnTo>
                  <a:cubicBezTo>
                    <a:pt x="723729" y="244223"/>
                    <a:pt x="700920" y="221497"/>
                    <a:pt x="700920" y="193674"/>
                  </a:cubicBezTo>
                  <a:lnTo>
                    <a:pt x="700920" y="1003"/>
                  </a:lnTo>
                  <a:cubicBezTo>
                    <a:pt x="697410" y="334"/>
                    <a:pt x="693734" y="0"/>
                    <a:pt x="689974" y="0"/>
                  </a:cubicBezTo>
                  <a:lnTo>
                    <a:pt x="397876" y="0"/>
                  </a:lnTo>
                  <a:lnTo>
                    <a:pt x="354428" y="0"/>
                  </a:lnTo>
                  <a:lnTo>
                    <a:pt x="253247" y="0"/>
                  </a:lnTo>
                  <a:cubicBezTo>
                    <a:pt x="221162" y="0"/>
                    <a:pt x="194509" y="24982"/>
                    <a:pt x="192003" y="56481"/>
                  </a:cubicBezTo>
                  <a:cubicBezTo>
                    <a:pt x="189079" y="93495"/>
                    <a:pt x="158332" y="121819"/>
                    <a:pt x="121151" y="121819"/>
                  </a:cubicBezTo>
                  <a:lnTo>
                    <a:pt x="61327" y="121819"/>
                  </a:lnTo>
                  <a:cubicBezTo>
                    <a:pt x="27656" y="121903"/>
                    <a:pt x="0" y="149558"/>
                    <a:pt x="0" y="183314"/>
                  </a:cubicBez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70" name="Freeform: Shape 169">
              <a:extLst>
                <a:ext uri="{FF2B5EF4-FFF2-40B4-BE49-F238E27FC236}">
                  <a16:creationId xmlns:a16="http://schemas.microsoft.com/office/drawing/2014/main" id="{233905DF-F2DC-4BE0-BE1B-954F056AEE93}"/>
                </a:ext>
              </a:extLst>
            </p:cNvPr>
            <p:cNvSpPr/>
            <p:nvPr/>
          </p:nvSpPr>
          <p:spPr>
            <a:xfrm>
              <a:off x="14241691" y="4658523"/>
              <a:ext cx="1002627" cy="375985"/>
            </a:xfrm>
            <a:custGeom>
              <a:avLst/>
              <a:gdLst>
                <a:gd name="connsiteX0" fmla="*/ 14291 w 1002626"/>
                <a:gd name="connsiteY0" fmla="*/ 383672 h 375985"/>
                <a:gd name="connsiteX1" fmla="*/ 813885 w 1002626"/>
                <a:gd name="connsiteY1" fmla="*/ 383672 h 375985"/>
                <a:gd name="connsiteX2" fmla="*/ 864434 w 1002626"/>
                <a:gd name="connsiteY2" fmla="*/ 333123 h 375985"/>
                <a:gd name="connsiteX3" fmla="*/ 864434 w 1002626"/>
                <a:gd name="connsiteY3" fmla="*/ 189663 h 375985"/>
                <a:gd name="connsiteX4" fmla="*/ 935454 w 1002626"/>
                <a:gd name="connsiteY4" fmla="*/ 118644 h 375985"/>
                <a:gd name="connsiteX5" fmla="*/ 958097 w 1002626"/>
                <a:gd name="connsiteY5" fmla="*/ 118644 h 375985"/>
                <a:gd name="connsiteX6" fmla="*/ 1008646 w 1002626"/>
                <a:gd name="connsiteY6" fmla="*/ 68095 h 375985"/>
                <a:gd name="connsiteX7" fmla="*/ 1008646 w 1002626"/>
                <a:gd name="connsiteY7" fmla="*/ 50549 h 375985"/>
                <a:gd name="connsiteX8" fmla="*/ 958097 w 1002626"/>
                <a:gd name="connsiteY8" fmla="*/ 0 h 375985"/>
                <a:gd name="connsiteX9" fmla="*/ 813885 w 1002626"/>
                <a:gd name="connsiteY9" fmla="*/ 0 h 375985"/>
                <a:gd name="connsiteX10" fmla="*/ 612859 w 1002626"/>
                <a:gd name="connsiteY10" fmla="*/ 0 h 375985"/>
                <a:gd name="connsiteX11" fmla="*/ 562560 w 1002626"/>
                <a:gd name="connsiteY11" fmla="*/ 62330 h 375985"/>
                <a:gd name="connsiteX12" fmla="*/ 501317 w 1002626"/>
                <a:gd name="connsiteY12" fmla="*/ 118811 h 375985"/>
                <a:gd name="connsiteX13" fmla="*/ 400135 w 1002626"/>
                <a:gd name="connsiteY13" fmla="*/ 118811 h 375985"/>
                <a:gd name="connsiteX14" fmla="*/ 356688 w 1002626"/>
                <a:gd name="connsiteY14" fmla="*/ 118811 h 375985"/>
                <a:gd name="connsiteX15" fmla="*/ 144966 w 1002626"/>
                <a:gd name="connsiteY15" fmla="*/ 118811 h 375985"/>
                <a:gd name="connsiteX16" fmla="*/ 144966 w 1002626"/>
                <a:gd name="connsiteY16" fmla="*/ 204118 h 375985"/>
                <a:gd name="connsiteX17" fmla="*/ 94417 w 1002626"/>
                <a:gd name="connsiteY17" fmla="*/ 254667 h 375985"/>
                <a:gd name="connsiteX18" fmla="*/ 63837 w 1002626"/>
                <a:gd name="connsiteY18" fmla="*/ 254667 h 375985"/>
                <a:gd name="connsiteX19" fmla="*/ 87 w 1002626"/>
                <a:gd name="connsiteY19" fmla="*/ 321927 h 375985"/>
                <a:gd name="connsiteX20" fmla="*/ 87 w 1002626"/>
                <a:gd name="connsiteY20" fmla="*/ 381583 h 375985"/>
                <a:gd name="connsiteX21" fmla="*/ 14291 w 1002626"/>
                <a:gd name="connsiteY21" fmla="*/ 383672 h 37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2626" h="375985">
                  <a:moveTo>
                    <a:pt x="14291" y="383672"/>
                  </a:moveTo>
                  <a:lnTo>
                    <a:pt x="813885" y="383672"/>
                  </a:lnTo>
                  <a:cubicBezTo>
                    <a:pt x="841708" y="383672"/>
                    <a:pt x="864434" y="360945"/>
                    <a:pt x="864434" y="333123"/>
                  </a:cubicBezTo>
                  <a:lnTo>
                    <a:pt x="864434" y="189663"/>
                  </a:lnTo>
                  <a:cubicBezTo>
                    <a:pt x="864434" y="150561"/>
                    <a:pt x="896351" y="118644"/>
                    <a:pt x="935454" y="118644"/>
                  </a:cubicBezTo>
                  <a:lnTo>
                    <a:pt x="958097" y="118644"/>
                  </a:lnTo>
                  <a:cubicBezTo>
                    <a:pt x="985920" y="118644"/>
                    <a:pt x="1008646" y="95918"/>
                    <a:pt x="1008646" y="68095"/>
                  </a:cubicBezTo>
                  <a:lnTo>
                    <a:pt x="1008646" y="50549"/>
                  </a:lnTo>
                  <a:cubicBezTo>
                    <a:pt x="1008646" y="22726"/>
                    <a:pt x="985920" y="0"/>
                    <a:pt x="958097" y="0"/>
                  </a:cubicBezTo>
                  <a:lnTo>
                    <a:pt x="813885" y="0"/>
                  </a:lnTo>
                  <a:lnTo>
                    <a:pt x="612859" y="0"/>
                  </a:lnTo>
                  <a:cubicBezTo>
                    <a:pt x="585454" y="8188"/>
                    <a:pt x="564984" y="32418"/>
                    <a:pt x="562560" y="62330"/>
                  </a:cubicBezTo>
                  <a:cubicBezTo>
                    <a:pt x="560054" y="93829"/>
                    <a:pt x="533484" y="118811"/>
                    <a:pt x="501317" y="118811"/>
                  </a:cubicBezTo>
                  <a:lnTo>
                    <a:pt x="400135" y="118811"/>
                  </a:lnTo>
                  <a:lnTo>
                    <a:pt x="356688" y="118811"/>
                  </a:lnTo>
                  <a:lnTo>
                    <a:pt x="144966" y="118811"/>
                  </a:lnTo>
                  <a:lnTo>
                    <a:pt x="144966" y="204118"/>
                  </a:lnTo>
                  <a:cubicBezTo>
                    <a:pt x="144966" y="231941"/>
                    <a:pt x="122240" y="254667"/>
                    <a:pt x="94417" y="254667"/>
                  </a:cubicBezTo>
                  <a:lnTo>
                    <a:pt x="63837" y="254667"/>
                  </a:lnTo>
                  <a:cubicBezTo>
                    <a:pt x="14458" y="254667"/>
                    <a:pt x="-1333" y="302960"/>
                    <a:pt x="87" y="321927"/>
                  </a:cubicBezTo>
                  <a:lnTo>
                    <a:pt x="87" y="381583"/>
                  </a:lnTo>
                  <a:cubicBezTo>
                    <a:pt x="4682" y="383003"/>
                    <a:pt x="9361" y="383672"/>
                    <a:pt x="14291" y="383672"/>
                  </a:cubicBezTo>
                  <a:close/>
                </a:path>
              </a:pathLst>
            </a:custGeom>
            <a:solidFill>
              <a:srgbClr val="545719"/>
            </a:solidFill>
            <a:ln w="22225" cap="flat">
              <a:solidFill>
                <a:srgbClr val="FFFFFF"/>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sz="1350">
                <a:latin typeface="Calibri" panose="020F0502020204030204" pitchFamily="34" charset="0"/>
                <a:cs typeface="Calibri" panose="020F0502020204030204" pitchFamily="34" charset="0"/>
              </a:endParaRPr>
            </a:p>
          </p:txBody>
        </p:sp>
        <p:sp>
          <p:nvSpPr>
            <p:cNvPr id="171" name="Freeform: Shape 170">
              <a:extLst>
                <a:ext uri="{FF2B5EF4-FFF2-40B4-BE49-F238E27FC236}">
                  <a16:creationId xmlns:a16="http://schemas.microsoft.com/office/drawing/2014/main" id="{F84ECF6C-5B96-487C-BC0A-650AFED68EEC}"/>
                </a:ext>
              </a:extLst>
            </p:cNvPr>
            <p:cNvSpPr/>
            <p:nvPr/>
          </p:nvSpPr>
          <p:spPr>
            <a:xfrm>
              <a:off x="14756125" y="5669589"/>
              <a:ext cx="317498" cy="392695"/>
            </a:xfrm>
            <a:custGeom>
              <a:avLst/>
              <a:gdLst>
                <a:gd name="connsiteX0" fmla="*/ 324517 w 317498"/>
                <a:gd name="connsiteY0" fmla="*/ 39019 h 392695"/>
                <a:gd name="connsiteX1" fmla="*/ 324517 w 317498"/>
                <a:gd name="connsiteY1" fmla="*/ 0 h 392695"/>
                <a:gd name="connsiteX2" fmla="*/ 0 w 317498"/>
                <a:gd name="connsiteY2" fmla="*/ 0 h 392695"/>
                <a:gd name="connsiteX3" fmla="*/ 84 w 317498"/>
                <a:gd name="connsiteY3" fmla="*/ 669 h 392695"/>
                <a:gd name="connsiteX4" fmla="*/ 49379 w 317498"/>
                <a:gd name="connsiteY4" fmla="*/ 46037 h 392695"/>
                <a:gd name="connsiteX5" fmla="*/ 48878 w 317498"/>
                <a:gd name="connsiteY5" fmla="*/ 220411 h 392695"/>
                <a:gd name="connsiteX6" fmla="*/ 48878 w 317498"/>
                <a:gd name="connsiteY6" fmla="*/ 223502 h 392695"/>
                <a:gd name="connsiteX7" fmla="*/ 48878 w 317498"/>
                <a:gd name="connsiteY7" fmla="*/ 224839 h 392695"/>
                <a:gd name="connsiteX8" fmla="*/ 48878 w 317498"/>
                <a:gd name="connsiteY8" fmla="*/ 224839 h 392695"/>
                <a:gd name="connsiteX9" fmla="*/ 48962 w 317498"/>
                <a:gd name="connsiteY9" fmla="*/ 226092 h 392695"/>
                <a:gd name="connsiteX10" fmla="*/ 48962 w 317498"/>
                <a:gd name="connsiteY10" fmla="*/ 226092 h 392695"/>
                <a:gd name="connsiteX11" fmla="*/ 49045 w 317498"/>
                <a:gd name="connsiteY11" fmla="*/ 227346 h 392695"/>
                <a:gd name="connsiteX12" fmla="*/ 49045 w 317498"/>
                <a:gd name="connsiteY12" fmla="*/ 227346 h 392695"/>
                <a:gd name="connsiteX13" fmla="*/ 49129 w 317498"/>
                <a:gd name="connsiteY13" fmla="*/ 228599 h 392695"/>
                <a:gd name="connsiteX14" fmla="*/ 49129 w 317498"/>
                <a:gd name="connsiteY14" fmla="*/ 228599 h 392695"/>
                <a:gd name="connsiteX15" fmla="*/ 49296 w 317498"/>
                <a:gd name="connsiteY15" fmla="*/ 229852 h 392695"/>
                <a:gd name="connsiteX16" fmla="*/ 49296 w 317498"/>
                <a:gd name="connsiteY16" fmla="*/ 229852 h 392695"/>
                <a:gd name="connsiteX17" fmla="*/ 49463 w 317498"/>
                <a:gd name="connsiteY17" fmla="*/ 231106 h 392695"/>
                <a:gd name="connsiteX18" fmla="*/ 49463 w 317498"/>
                <a:gd name="connsiteY18" fmla="*/ 231106 h 392695"/>
                <a:gd name="connsiteX19" fmla="*/ 49714 w 317498"/>
                <a:gd name="connsiteY19" fmla="*/ 232359 h 392695"/>
                <a:gd name="connsiteX20" fmla="*/ 49714 w 317498"/>
                <a:gd name="connsiteY20" fmla="*/ 232359 h 392695"/>
                <a:gd name="connsiteX21" fmla="*/ 49964 w 317498"/>
                <a:gd name="connsiteY21" fmla="*/ 233612 h 392695"/>
                <a:gd name="connsiteX22" fmla="*/ 49964 w 317498"/>
                <a:gd name="connsiteY22" fmla="*/ 233612 h 392695"/>
                <a:gd name="connsiteX23" fmla="*/ 50215 w 317498"/>
                <a:gd name="connsiteY23" fmla="*/ 234865 h 392695"/>
                <a:gd name="connsiteX24" fmla="*/ 50215 w 317498"/>
                <a:gd name="connsiteY24" fmla="*/ 234865 h 392695"/>
                <a:gd name="connsiteX25" fmla="*/ 50549 w 317498"/>
                <a:gd name="connsiteY25" fmla="*/ 236119 h 392695"/>
                <a:gd name="connsiteX26" fmla="*/ 50549 w 317498"/>
                <a:gd name="connsiteY26" fmla="*/ 236119 h 392695"/>
                <a:gd name="connsiteX27" fmla="*/ 95584 w 317498"/>
                <a:gd name="connsiteY27" fmla="*/ 273884 h 392695"/>
                <a:gd name="connsiteX28" fmla="*/ 95584 w 317498"/>
                <a:gd name="connsiteY28" fmla="*/ 273884 h 392695"/>
                <a:gd name="connsiteX29" fmla="*/ 96837 w 317498"/>
                <a:gd name="connsiteY29" fmla="*/ 273968 h 392695"/>
                <a:gd name="connsiteX30" fmla="*/ 96837 w 317498"/>
                <a:gd name="connsiteY30" fmla="*/ 273968 h 392695"/>
                <a:gd name="connsiteX31" fmla="*/ 97255 w 317498"/>
                <a:gd name="connsiteY31" fmla="*/ 273968 h 392695"/>
                <a:gd name="connsiteX32" fmla="*/ 100012 w 317498"/>
                <a:gd name="connsiteY32" fmla="*/ 274051 h 392695"/>
                <a:gd name="connsiteX33" fmla="*/ 106529 w 317498"/>
                <a:gd name="connsiteY33" fmla="*/ 274051 h 392695"/>
                <a:gd name="connsiteX34" fmla="*/ 177548 w 317498"/>
                <a:gd name="connsiteY34" fmla="*/ 345071 h 392695"/>
                <a:gd name="connsiteX35" fmla="*/ 177548 w 317498"/>
                <a:gd name="connsiteY35" fmla="*/ 393364 h 392695"/>
                <a:gd name="connsiteX36" fmla="*/ 274720 w 317498"/>
                <a:gd name="connsiteY36" fmla="*/ 393364 h 392695"/>
                <a:gd name="connsiteX37" fmla="*/ 324517 w 317498"/>
                <a:gd name="connsiteY37" fmla="*/ 350836 h 392695"/>
                <a:gd name="connsiteX38" fmla="*/ 324517 w 317498"/>
                <a:gd name="connsiteY38" fmla="*/ 44533 h 392695"/>
                <a:gd name="connsiteX39" fmla="*/ 324684 w 317498"/>
                <a:gd name="connsiteY39" fmla="*/ 41776 h 392695"/>
                <a:gd name="connsiteX40" fmla="*/ 324517 w 317498"/>
                <a:gd name="connsiteY40" fmla="*/ 39019 h 39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7498" h="392695">
                  <a:moveTo>
                    <a:pt x="324517" y="39019"/>
                  </a:moveTo>
                  <a:cubicBezTo>
                    <a:pt x="324517" y="39019"/>
                    <a:pt x="324517" y="17630"/>
                    <a:pt x="324517" y="0"/>
                  </a:cubicBezTo>
                  <a:lnTo>
                    <a:pt x="0" y="0"/>
                  </a:lnTo>
                  <a:cubicBezTo>
                    <a:pt x="84" y="2005"/>
                    <a:pt x="167" y="-1337"/>
                    <a:pt x="84" y="669"/>
                  </a:cubicBezTo>
                  <a:cubicBezTo>
                    <a:pt x="25400" y="3008"/>
                    <a:pt x="49463" y="12867"/>
                    <a:pt x="49379" y="46037"/>
                  </a:cubicBezTo>
                  <a:lnTo>
                    <a:pt x="48878" y="220411"/>
                  </a:lnTo>
                  <a:lnTo>
                    <a:pt x="48878" y="223502"/>
                  </a:lnTo>
                  <a:lnTo>
                    <a:pt x="48878" y="224839"/>
                  </a:lnTo>
                  <a:lnTo>
                    <a:pt x="48878" y="224839"/>
                  </a:lnTo>
                  <a:lnTo>
                    <a:pt x="48962" y="226092"/>
                  </a:lnTo>
                  <a:lnTo>
                    <a:pt x="48962" y="226092"/>
                  </a:lnTo>
                  <a:lnTo>
                    <a:pt x="49045" y="227346"/>
                  </a:lnTo>
                  <a:lnTo>
                    <a:pt x="49045" y="227346"/>
                  </a:lnTo>
                  <a:lnTo>
                    <a:pt x="49129" y="228599"/>
                  </a:lnTo>
                  <a:lnTo>
                    <a:pt x="49129" y="228599"/>
                  </a:lnTo>
                  <a:lnTo>
                    <a:pt x="49296" y="229852"/>
                  </a:lnTo>
                  <a:lnTo>
                    <a:pt x="49296" y="229852"/>
                  </a:lnTo>
                  <a:lnTo>
                    <a:pt x="49463" y="231106"/>
                  </a:lnTo>
                  <a:lnTo>
                    <a:pt x="49463" y="231106"/>
                  </a:lnTo>
                  <a:lnTo>
                    <a:pt x="49714" y="232359"/>
                  </a:lnTo>
                  <a:lnTo>
                    <a:pt x="49714" y="232359"/>
                  </a:lnTo>
                  <a:cubicBezTo>
                    <a:pt x="49797" y="232777"/>
                    <a:pt x="49881" y="233194"/>
                    <a:pt x="49964" y="233612"/>
                  </a:cubicBezTo>
                  <a:lnTo>
                    <a:pt x="49964" y="233612"/>
                  </a:lnTo>
                  <a:lnTo>
                    <a:pt x="50215" y="234865"/>
                  </a:lnTo>
                  <a:lnTo>
                    <a:pt x="50215" y="234865"/>
                  </a:lnTo>
                  <a:lnTo>
                    <a:pt x="50549" y="236119"/>
                  </a:lnTo>
                  <a:lnTo>
                    <a:pt x="50549" y="236119"/>
                  </a:lnTo>
                  <a:cubicBezTo>
                    <a:pt x="55980" y="256422"/>
                    <a:pt x="73777" y="272046"/>
                    <a:pt x="95584" y="273884"/>
                  </a:cubicBezTo>
                  <a:lnTo>
                    <a:pt x="95584" y="273884"/>
                  </a:lnTo>
                  <a:lnTo>
                    <a:pt x="96837" y="273968"/>
                  </a:lnTo>
                  <a:lnTo>
                    <a:pt x="96837" y="273968"/>
                  </a:lnTo>
                  <a:lnTo>
                    <a:pt x="97255" y="273968"/>
                  </a:lnTo>
                  <a:cubicBezTo>
                    <a:pt x="98258" y="273968"/>
                    <a:pt x="99009" y="274051"/>
                    <a:pt x="100012" y="274051"/>
                  </a:cubicBezTo>
                  <a:lnTo>
                    <a:pt x="106529" y="274051"/>
                  </a:lnTo>
                  <a:cubicBezTo>
                    <a:pt x="145632" y="274051"/>
                    <a:pt x="177548" y="305968"/>
                    <a:pt x="177548" y="345071"/>
                  </a:cubicBezTo>
                  <a:lnTo>
                    <a:pt x="177548" y="393364"/>
                  </a:lnTo>
                  <a:lnTo>
                    <a:pt x="274720" y="393364"/>
                  </a:lnTo>
                  <a:cubicBezTo>
                    <a:pt x="299786" y="393364"/>
                    <a:pt x="320674" y="374815"/>
                    <a:pt x="324517" y="350836"/>
                  </a:cubicBezTo>
                  <a:lnTo>
                    <a:pt x="324517" y="44533"/>
                  </a:lnTo>
                  <a:cubicBezTo>
                    <a:pt x="324517" y="43614"/>
                    <a:pt x="324600" y="42695"/>
                    <a:pt x="324684" y="41776"/>
                  </a:cubicBezTo>
                  <a:cubicBezTo>
                    <a:pt x="324600" y="40857"/>
                    <a:pt x="324517" y="39938"/>
                    <a:pt x="324517" y="39019"/>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72" name="Freeform: Shape 171">
              <a:extLst>
                <a:ext uri="{FF2B5EF4-FFF2-40B4-BE49-F238E27FC236}">
                  <a16:creationId xmlns:a16="http://schemas.microsoft.com/office/drawing/2014/main" id="{D6B55499-8D17-4854-938E-AE50CF52C8D1}"/>
                </a:ext>
              </a:extLst>
            </p:cNvPr>
            <p:cNvSpPr/>
            <p:nvPr/>
          </p:nvSpPr>
          <p:spPr>
            <a:xfrm>
              <a:off x="15081979" y="5565817"/>
              <a:ext cx="267367" cy="242301"/>
            </a:xfrm>
            <a:custGeom>
              <a:avLst/>
              <a:gdLst>
                <a:gd name="connsiteX0" fmla="*/ 101014 w 267367"/>
                <a:gd name="connsiteY0" fmla="*/ 83 h 242301"/>
                <a:gd name="connsiteX1" fmla="*/ 0 w 267367"/>
                <a:gd name="connsiteY1" fmla="*/ 100346 h 242301"/>
                <a:gd name="connsiteX2" fmla="*/ 0 w 267367"/>
                <a:gd name="connsiteY2" fmla="*/ 144211 h 242301"/>
                <a:gd name="connsiteX3" fmla="*/ 167 w 267367"/>
                <a:gd name="connsiteY3" fmla="*/ 146968 h 242301"/>
                <a:gd name="connsiteX4" fmla="*/ 0 w 267367"/>
                <a:gd name="connsiteY4" fmla="*/ 149725 h 242301"/>
                <a:gd name="connsiteX5" fmla="*/ 0 w 267367"/>
                <a:gd name="connsiteY5" fmla="*/ 244390 h 242301"/>
                <a:gd name="connsiteX6" fmla="*/ 101014 w 267367"/>
                <a:gd name="connsiteY6" fmla="*/ 244390 h 242301"/>
                <a:gd name="connsiteX7" fmla="*/ 135354 w 267367"/>
                <a:gd name="connsiteY7" fmla="*/ 244390 h 242301"/>
                <a:gd name="connsiteX8" fmla="*/ 270041 w 267367"/>
                <a:gd name="connsiteY8" fmla="*/ 244390 h 242301"/>
                <a:gd name="connsiteX9" fmla="*/ 270041 w 267367"/>
                <a:gd name="connsiteY9" fmla="*/ 0 h 242301"/>
                <a:gd name="connsiteX10" fmla="*/ 101014 w 267367"/>
                <a:gd name="connsiteY10" fmla="*/ 0 h 24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367" h="242301">
                  <a:moveTo>
                    <a:pt x="101014" y="83"/>
                  </a:moveTo>
                  <a:cubicBezTo>
                    <a:pt x="45452" y="83"/>
                    <a:pt x="0" y="45202"/>
                    <a:pt x="0" y="100346"/>
                  </a:cubicBezTo>
                  <a:lnTo>
                    <a:pt x="0" y="144211"/>
                  </a:lnTo>
                  <a:cubicBezTo>
                    <a:pt x="0" y="145130"/>
                    <a:pt x="83" y="146049"/>
                    <a:pt x="167" y="146968"/>
                  </a:cubicBezTo>
                  <a:cubicBezTo>
                    <a:pt x="83" y="147887"/>
                    <a:pt x="0" y="148807"/>
                    <a:pt x="0" y="149725"/>
                  </a:cubicBezTo>
                  <a:lnTo>
                    <a:pt x="0" y="244390"/>
                  </a:lnTo>
                  <a:lnTo>
                    <a:pt x="101014" y="244390"/>
                  </a:lnTo>
                  <a:lnTo>
                    <a:pt x="135354" y="244390"/>
                  </a:lnTo>
                  <a:lnTo>
                    <a:pt x="270041" y="244390"/>
                  </a:lnTo>
                  <a:lnTo>
                    <a:pt x="270041" y="0"/>
                  </a:lnTo>
                  <a:lnTo>
                    <a:pt x="101014" y="0"/>
                  </a:lnTo>
                  <a:close/>
                </a:path>
              </a:pathLst>
            </a:custGeom>
            <a:solidFill>
              <a:srgbClr val="B8BC5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73" name="Freeform: Shape 172">
              <a:extLst>
                <a:ext uri="{FF2B5EF4-FFF2-40B4-BE49-F238E27FC236}">
                  <a16:creationId xmlns:a16="http://schemas.microsoft.com/office/drawing/2014/main" id="{1DA1FC2E-33C7-495D-9661-E4E4D5AA9EC0}"/>
                </a:ext>
              </a:extLst>
            </p:cNvPr>
            <p:cNvSpPr/>
            <p:nvPr/>
          </p:nvSpPr>
          <p:spPr>
            <a:xfrm>
              <a:off x="14383984" y="5165936"/>
              <a:ext cx="409406" cy="367630"/>
            </a:xfrm>
            <a:custGeom>
              <a:avLst/>
              <a:gdLst>
                <a:gd name="connsiteX0" fmla="*/ 50549 w 409405"/>
                <a:gd name="connsiteY0" fmla="*/ 501 h 367629"/>
                <a:gd name="connsiteX1" fmla="*/ 0 w 409405"/>
                <a:gd name="connsiteY1" fmla="*/ 51051 h 367629"/>
                <a:gd name="connsiteX2" fmla="*/ 0 w 409405"/>
                <a:gd name="connsiteY2" fmla="*/ 68596 h 367629"/>
                <a:gd name="connsiteX3" fmla="*/ 50549 w 409405"/>
                <a:gd name="connsiteY3" fmla="*/ 119146 h 367629"/>
                <a:gd name="connsiteX4" fmla="*/ 63834 w 409405"/>
                <a:gd name="connsiteY4" fmla="*/ 119146 h 367629"/>
                <a:gd name="connsiteX5" fmla="*/ 136274 w 409405"/>
                <a:gd name="connsiteY5" fmla="*/ 179888 h 367629"/>
                <a:gd name="connsiteX6" fmla="*/ 138112 w 409405"/>
                <a:gd name="connsiteY6" fmla="*/ 280652 h 367629"/>
                <a:gd name="connsiteX7" fmla="*/ 139365 w 409405"/>
                <a:gd name="connsiteY7" fmla="*/ 285916 h 367629"/>
                <a:gd name="connsiteX8" fmla="*/ 139365 w 409405"/>
                <a:gd name="connsiteY8" fmla="*/ 305133 h 367629"/>
                <a:gd name="connsiteX9" fmla="*/ 201946 w 409405"/>
                <a:gd name="connsiteY9" fmla="*/ 367713 h 367629"/>
                <a:gd name="connsiteX10" fmla="*/ 257257 w 409405"/>
                <a:gd name="connsiteY10" fmla="*/ 367713 h 367629"/>
                <a:gd name="connsiteX11" fmla="*/ 257257 w 409405"/>
                <a:gd name="connsiteY11" fmla="*/ 366962 h 367629"/>
                <a:gd name="connsiteX12" fmla="*/ 335713 w 409405"/>
                <a:gd name="connsiteY12" fmla="*/ 366962 h 367629"/>
                <a:gd name="connsiteX13" fmla="*/ 412999 w 409405"/>
                <a:gd name="connsiteY13" fmla="*/ 289676 h 367629"/>
                <a:gd name="connsiteX14" fmla="*/ 412999 w 409405"/>
                <a:gd name="connsiteY14" fmla="*/ 0 h 367629"/>
                <a:gd name="connsiteX15" fmla="*/ 50549 w 409405"/>
                <a:gd name="connsiteY15" fmla="*/ 501 h 36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9405" h="367629">
                  <a:moveTo>
                    <a:pt x="50549" y="501"/>
                  </a:moveTo>
                  <a:cubicBezTo>
                    <a:pt x="22726" y="501"/>
                    <a:pt x="0" y="23228"/>
                    <a:pt x="0" y="51051"/>
                  </a:cubicBezTo>
                  <a:lnTo>
                    <a:pt x="0" y="68596"/>
                  </a:lnTo>
                  <a:cubicBezTo>
                    <a:pt x="0" y="96419"/>
                    <a:pt x="22726" y="119146"/>
                    <a:pt x="50549" y="119146"/>
                  </a:cubicBezTo>
                  <a:lnTo>
                    <a:pt x="63834" y="119146"/>
                  </a:lnTo>
                  <a:cubicBezTo>
                    <a:pt x="77202" y="119563"/>
                    <a:pt x="135187" y="116806"/>
                    <a:pt x="136274" y="179888"/>
                  </a:cubicBezTo>
                  <a:lnTo>
                    <a:pt x="138112" y="280652"/>
                  </a:lnTo>
                  <a:cubicBezTo>
                    <a:pt x="138613" y="282323"/>
                    <a:pt x="139031" y="284078"/>
                    <a:pt x="139365" y="285916"/>
                  </a:cubicBezTo>
                  <a:lnTo>
                    <a:pt x="139365" y="305133"/>
                  </a:lnTo>
                  <a:cubicBezTo>
                    <a:pt x="139365" y="339556"/>
                    <a:pt x="167522" y="367713"/>
                    <a:pt x="201946" y="367713"/>
                  </a:cubicBezTo>
                  <a:lnTo>
                    <a:pt x="257257" y="367713"/>
                  </a:lnTo>
                  <a:lnTo>
                    <a:pt x="257257" y="366962"/>
                  </a:lnTo>
                  <a:lnTo>
                    <a:pt x="335713" y="366962"/>
                  </a:lnTo>
                  <a:cubicBezTo>
                    <a:pt x="378241" y="366962"/>
                    <a:pt x="412999" y="332204"/>
                    <a:pt x="412999" y="289676"/>
                  </a:cubicBezTo>
                  <a:lnTo>
                    <a:pt x="412999" y="0"/>
                  </a:lnTo>
                  <a:lnTo>
                    <a:pt x="50549" y="501"/>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74" name="Freeform: Shape 173">
              <a:extLst>
                <a:ext uri="{FF2B5EF4-FFF2-40B4-BE49-F238E27FC236}">
                  <a16:creationId xmlns:a16="http://schemas.microsoft.com/office/drawing/2014/main" id="{A6782D5A-3D4C-4326-B181-A98DE097AF8E}"/>
                </a:ext>
              </a:extLst>
            </p:cNvPr>
            <p:cNvSpPr/>
            <p:nvPr/>
          </p:nvSpPr>
          <p:spPr>
            <a:xfrm>
              <a:off x="15105959" y="4649499"/>
              <a:ext cx="1253283" cy="827167"/>
            </a:xfrm>
            <a:custGeom>
              <a:avLst/>
              <a:gdLst>
                <a:gd name="connsiteX0" fmla="*/ 1167809 w 1253283"/>
                <a:gd name="connsiteY0" fmla="*/ 107782 h 827167"/>
                <a:gd name="connsiteX1" fmla="*/ 1067546 w 1253283"/>
                <a:gd name="connsiteY1" fmla="*/ 7520 h 827167"/>
                <a:gd name="connsiteX2" fmla="*/ 1067546 w 1253283"/>
                <a:gd name="connsiteY2" fmla="*/ 0 h 827167"/>
                <a:gd name="connsiteX3" fmla="*/ 446419 w 1253283"/>
                <a:gd name="connsiteY3" fmla="*/ 0 h 827167"/>
                <a:gd name="connsiteX4" fmla="*/ 402972 w 1253283"/>
                <a:gd name="connsiteY4" fmla="*/ 0 h 827167"/>
                <a:gd name="connsiteX5" fmla="*/ 301791 w 1253283"/>
                <a:gd name="connsiteY5" fmla="*/ 0 h 827167"/>
                <a:gd name="connsiteX6" fmla="*/ 240547 w 1253283"/>
                <a:gd name="connsiteY6" fmla="*/ 56481 h 827167"/>
                <a:gd name="connsiteX7" fmla="*/ 169695 w 1253283"/>
                <a:gd name="connsiteY7" fmla="*/ 121819 h 827167"/>
                <a:gd name="connsiteX8" fmla="*/ 61411 w 1253283"/>
                <a:gd name="connsiteY8" fmla="*/ 121819 h 827167"/>
                <a:gd name="connsiteX9" fmla="*/ 0 w 1253283"/>
                <a:gd name="connsiteY9" fmla="*/ 183230 h 827167"/>
                <a:gd name="connsiteX10" fmla="*/ 0 w 1253283"/>
                <a:gd name="connsiteY10" fmla="*/ 392111 h 827167"/>
                <a:gd name="connsiteX11" fmla="*/ 195596 w 1253283"/>
                <a:gd name="connsiteY11" fmla="*/ 392111 h 827167"/>
                <a:gd name="connsiteX12" fmla="*/ 247147 w 1253283"/>
                <a:gd name="connsiteY12" fmla="*/ 443662 h 827167"/>
                <a:gd name="connsiteX13" fmla="*/ 247147 w 1253283"/>
                <a:gd name="connsiteY13" fmla="*/ 475663 h 827167"/>
                <a:gd name="connsiteX14" fmla="*/ 247147 w 1253283"/>
                <a:gd name="connsiteY14" fmla="*/ 834687 h 827167"/>
                <a:gd name="connsiteX15" fmla="*/ 306887 w 1253283"/>
                <a:gd name="connsiteY15" fmla="*/ 787229 h 827167"/>
                <a:gd name="connsiteX16" fmla="*/ 366710 w 1253283"/>
                <a:gd name="connsiteY16" fmla="*/ 787229 h 827167"/>
                <a:gd name="connsiteX17" fmla="*/ 437563 w 1253283"/>
                <a:gd name="connsiteY17" fmla="*/ 721891 h 827167"/>
                <a:gd name="connsiteX18" fmla="*/ 498807 w 1253283"/>
                <a:gd name="connsiteY18" fmla="*/ 665410 h 827167"/>
                <a:gd name="connsiteX19" fmla="*/ 599989 w 1253283"/>
                <a:gd name="connsiteY19" fmla="*/ 665410 h 827167"/>
                <a:gd name="connsiteX20" fmla="*/ 643436 w 1253283"/>
                <a:gd name="connsiteY20" fmla="*/ 665410 h 827167"/>
                <a:gd name="connsiteX21" fmla="*/ 935534 w 1253283"/>
                <a:gd name="connsiteY21" fmla="*/ 665410 h 827167"/>
                <a:gd name="connsiteX22" fmla="*/ 946479 w 1253283"/>
                <a:gd name="connsiteY22" fmla="*/ 666413 h 827167"/>
                <a:gd name="connsiteX23" fmla="*/ 946479 w 1253283"/>
                <a:gd name="connsiteY23" fmla="*/ 541669 h 827167"/>
                <a:gd name="connsiteX24" fmla="*/ 997028 w 1253283"/>
                <a:gd name="connsiteY24" fmla="*/ 491120 h 827167"/>
                <a:gd name="connsiteX25" fmla="*/ 1014575 w 1253283"/>
                <a:gd name="connsiteY25" fmla="*/ 491120 h 827167"/>
                <a:gd name="connsiteX26" fmla="*/ 1016079 w 1253283"/>
                <a:gd name="connsiteY26" fmla="*/ 491120 h 827167"/>
                <a:gd name="connsiteX27" fmla="*/ 1060696 w 1253283"/>
                <a:gd name="connsiteY27" fmla="*/ 491120 h 827167"/>
                <a:gd name="connsiteX28" fmla="*/ 1111245 w 1253283"/>
                <a:gd name="connsiteY28" fmla="*/ 440571 h 827167"/>
                <a:gd name="connsiteX29" fmla="*/ 1111245 w 1253283"/>
                <a:gd name="connsiteY29" fmla="*/ 373479 h 827167"/>
                <a:gd name="connsiteX30" fmla="*/ 1183433 w 1253283"/>
                <a:gd name="connsiteY30" fmla="*/ 373479 h 827167"/>
                <a:gd name="connsiteX31" fmla="*/ 1256625 w 1253283"/>
                <a:gd name="connsiteY31" fmla="*/ 300287 h 827167"/>
                <a:gd name="connsiteX32" fmla="*/ 1256625 w 1253283"/>
                <a:gd name="connsiteY32" fmla="*/ 107699 h 827167"/>
                <a:gd name="connsiteX33" fmla="*/ 1167809 w 1253283"/>
                <a:gd name="connsiteY33" fmla="*/ 107699 h 82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53283" h="827167">
                  <a:moveTo>
                    <a:pt x="1167809" y="107782"/>
                  </a:moveTo>
                  <a:cubicBezTo>
                    <a:pt x="1112665" y="107782"/>
                    <a:pt x="1067546" y="62664"/>
                    <a:pt x="1067546" y="7520"/>
                  </a:cubicBezTo>
                  <a:lnTo>
                    <a:pt x="1067546" y="0"/>
                  </a:lnTo>
                  <a:lnTo>
                    <a:pt x="446419" y="0"/>
                  </a:lnTo>
                  <a:lnTo>
                    <a:pt x="402972" y="0"/>
                  </a:lnTo>
                  <a:lnTo>
                    <a:pt x="301791" y="0"/>
                  </a:lnTo>
                  <a:cubicBezTo>
                    <a:pt x="269706" y="0"/>
                    <a:pt x="243053" y="24982"/>
                    <a:pt x="240547" y="56481"/>
                  </a:cubicBezTo>
                  <a:cubicBezTo>
                    <a:pt x="237623" y="93495"/>
                    <a:pt x="206875" y="121819"/>
                    <a:pt x="169695" y="121819"/>
                  </a:cubicBezTo>
                  <a:lnTo>
                    <a:pt x="61411" y="121819"/>
                  </a:lnTo>
                  <a:cubicBezTo>
                    <a:pt x="27656" y="121819"/>
                    <a:pt x="0" y="149558"/>
                    <a:pt x="0" y="183230"/>
                  </a:cubicBezTo>
                  <a:lnTo>
                    <a:pt x="0" y="392111"/>
                  </a:lnTo>
                  <a:lnTo>
                    <a:pt x="195596" y="392111"/>
                  </a:lnTo>
                  <a:cubicBezTo>
                    <a:pt x="223920" y="392111"/>
                    <a:pt x="247147" y="415338"/>
                    <a:pt x="247147" y="443662"/>
                  </a:cubicBezTo>
                  <a:lnTo>
                    <a:pt x="247147" y="475663"/>
                  </a:lnTo>
                  <a:lnTo>
                    <a:pt x="247147" y="834687"/>
                  </a:lnTo>
                  <a:cubicBezTo>
                    <a:pt x="253497" y="807616"/>
                    <a:pt x="277978" y="787229"/>
                    <a:pt x="306887" y="787229"/>
                  </a:cubicBezTo>
                  <a:lnTo>
                    <a:pt x="366710" y="787229"/>
                  </a:lnTo>
                  <a:cubicBezTo>
                    <a:pt x="403808" y="787229"/>
                    <a:pt x="434555" y="758905"/>
                    <a:pt x="437563" y="721891"/>
                  </a:cubicBezTo>
                  <a:cubicBezTo>
                    <a:pt x="440069" y="690392"/>
                    <a:pt x="466723" y="665410"/>
                    <a:pt x="498807" y="665410"/>
                  </a:cubicBezTo>
                  <a:lnTo>
                    <a:pt x="599989" y="665410"/>
                  </a:lnTo>
                  <a:lnTo>
                    <a:pt x="643436" y="665410"/>
                  </a:lnTo>
                  <a:lnTo>
                    <a:pt x="935534" y="665410"/>
                  </a:lnTo>
                  <a:cubicBezTo>
                    <a:pt x="939294" y="665410"/>
                    <a:pt x="942887" y="665744"/>
                    <a:pt x="946479" y="666413"/>
                  </a:cubicBezTo>
                  <a:lnTo>
                    <a:pt x="946479" y="541669"/>
                  </a:lnTo>
                  <a:cubicBezTo>
                    <a:pt x="946479" y="513846"/>
                    <a:pt x="969206" y="491120"/>
                    <a:pt x="997028" y="491120"/>
                  </a:cubicBezTo>
                  <a:lnTo>
                    <a:pt x="1014575" y="491120"/>
                  </a:lnTo>
                  <a:cubicBezTo>
                    <a:pt x="1015076" y="491120"/>
                    <a:pt x="1015577" y="491120"/>
                    <a:pt x="1016079" y="491120"/>
                  </a:cubicBezTo>
                  <a:lnTo>
                    <a:pt x="1060696" y="491120"/>
                  </a:lnTo>
                  <a:cubicBezTo>
                    <a:pt x="1088518" y="491120"/>
                    <a:pt x="1111245" y="468394"/>
                    <a:pt x="1111245" y="440571"/>
                  </a:cubicBezTo>
                  <a:lnTo>
                    <a:pt x="1111245" y="373479"/>
                  </a:lnTo>
                  <a:lnTo>
                    <a:pt x="1183433" y="373479"/>
                  </a:lnTo>
                  <a:cubicBezTo>
                    <a:pt x="1223706" y="373479"/>
                    <a:pt x="1256625" y="340559"/>
                    <a:pt x="1256625" y="300287"/>
                  </a:cubicBezTo>
                  <a:lnTo>
                    <a:pt x="1256625" y="107699"/>
                  </a:lnTo>
                  <a:lnTo>
                    <a:pt x="1167809" y="107699"/>
                  </a:lnTo>
                  <a:close/>
                </a:path>
              </a:pathLst>
            </a:custGeom>
            <a:solidFill>
              <a:srgbClr val="575A1A"/>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75" name="Freeform: Shape 174">
              <a:extLst>
                <a:ext uri="{FF2B5EF4-FFF2-40B4-BE49-F238E27FC236}">
                  <a16:creationId xmlns:a16="http://schemas.microsoft.com/office/drawing/2014/main" id="{FEE6C66A-5170-43A7-AC3C-4227EF793E7D}"/>
                </a:ext>
              </a:extLst>
            </p:cNvPr>
            <p:cNvSpPr/>
            <p:nvPr/>
          </p:nvSpPr>
          <p:spPr>
            <a:xfrm>
              <a:off x="14604812" y="5041694"/>
              <a:ext cx="743615" cy="626642"/>
            </a:xfrm>
            <a:custGeom>
              <a:avLst/>
              <a:gdLst>
                <a:gd name="connsiteX0" fmla="*/ 696742 w 743614"/>
                <a:gd name="connsiteY0" fmla="*/ 0 h 626641"/>
                <a:gd name="connsiteX1" fmla="*/ 607174 w 743614"/>
                <a:gd name="connsiteY1" fmla="*/ 0 h 626641"/>
                <a:gd name="connsiteX2" fmla="*/ 432216 w 743614"/>
                <a:gd name="connsiteY2" fmla="*/ 0 h 626641"/>
                <a:gd name="connsiteX3" fmla="*/ 409072 w 743614"/>
                <a:gd name="connsiteY3" fmla="*/ 0 h 626641"/>
                <a:gd name="connsiteX4" fmla="*/ 397291 w 743614"/>
                <a:gd name="connsiteY4" fmla="*/ 752 h 626641"/>
                <a:gd name="connsiteX5" fmla="*/ 264693 w 743614"/>
                <a:gd name="connsiteY5" fmla="*/ 1086 h 626641"/>
                <a:gd name="connsiteX6" fmla="*/ 193006 w 743614"/>
                <a:gd name="connsiteY6" fmla="*/ 668 h 626641"/>
                <a:gd name="connsiteX7" fmla="*/ 193006 w 743614"/>
                <a:gd name="connsiteY7" fmla="*/ 124242 h 626641"/>
                <a:gd name="connsiteX8" fmla="*/ 192337 w 743614"/>
                <a:gd name="connsiteY8" fmla="*/ 124242 h 626641"/>
                <a:gd name="connsiteX9" fmla="*/ 192337 w 743614"/>
                <a:gd name="connsiteY9" fmla="*/ 413918 h 626641"/>
                <a:gd name="connsiteX10" fmla="*/ 115051 w 743614"/>
                <a:gd name="connsiteY10" fmla="*/ 491204 h 626641"/>
                <a:gd name="connsiteX11" fmla="*/ 36596 w 743614"/>
                <a:gd name="connsiteY11" fmla="*/ 491204 h 626641"/>
                <a:gd name="connsiteX12" fmla="*/ 36596 w 743614"/>
                <a:gd name="connsiteY12" fmla="*/ 491956 h 626641"/>
                <a:gd name="connsiteX13" fmla="*/ 0 w 743614"/>
                <a:gd name="connsiteY13" fmla="*/ 491956 h 626641"/>
                <a:gd name="connsiteX14" fmla="*/ 66925 w 743614"/>
                <a:gd name="connsiteY14" fmla="*/ 562808 h 626641"/>
                <a:gd name="connsiteX15" fmla="*/ 66925 w 743614"/>
                <a:gd name="connsiteY15" fmla="*/ 577430 h 626641"/>
                <a:gd name="connsiteX16" fmla="*/ 66925 w 743614"/>
                <a:gd name="connsiteY16" fmla="*/ 578766 h 626641"/>
                <a:gd name="connsiteX17" fmla="*/ 66925 w 743614"/>
                <a:gd name="connsiteY17" fmla="*/ 578766 h 626641"/>
                <a:gd name="connsiteX18" fmla="*/ 67009 w 743614"/>
                <a:gd name="connsiteY18" fmla="*/ 580020 h 626641"/>
                <a:gd name="connsiteX19" fmla="*/ 67009 w 743614"/>
                <a:gd name="connsiteY19" fmla="*/ 580020 h 626641"/>
                <a:gd name="connsiteX20" fmla="*/ 67092 w 743614"/>
                <a:gd name="connsiteY20" fmla="*/ 581273 h 626641"/>
                <a:gd name="connsiteX21" fmla="*/ 67092 w 743614"/>
                <a:gd name="connsiteY21" fmla="*/ 581273 h 626641"/>
                <a:gd name="connsiteX22" fmla="*/ 67176 w 743614"/>
                <a:gd name="connsiteY22" fmla="*/ 582526 h 626641"/>
                <a:gd name="connsiteX23" fmla="*/ 67176 w 743614"/>
                <a:gd name="connsiteY23" fmla="*/ 582526 h 626641"/>
                <a:gd name="connsiteX24" fmla="*/ 67343 w 743614"/>
                <a:gd name="connsiteY24" fmla="*/ 583779 h 626641"/>
                <a:gd name="connsiteX25" fmla="*/ 67343 w 743614"/>
                <a:gd name="connsiteY25" fmla="*/ 583779 h 626641"/>
                <a:gd name="connsiteX26" fmla="*/ 67510 w 743614"/>
                <a:gd name="connsiteY26" fmla="*/ 585033 h 626641"/>
                <a:gd name="connsiteX27" fmla="*/ 67510 w 743614"/>
                <a:gd name="connsiteY27" fmla="*/ 585033 h 626641"/>
                <a:gd name="connsiteX28" fmla="*/ 67761 w 743614"/>
                <a:gd name="connsiteY28" fmla="*/ 586286 h 626641"/>
                <a:gd name="connsiteX29" fmla="*/ 67761 w 743614"/>
                <a:gd name="connsiteY29" fmla="*/ 586286 h 626641"/>
                <a:gd name="connsiteX30" fmla="*/ 87312 w 743614"/>
                <a:gd name="connsiteY30" fmla="*/ 617869 h 626641"/>
                <a:gd name="connsiteX31" fmla="*/ 87312 w 743614"/>
                <a:gd name="connsiteY31" fmla="*/ 617869 h 626641"/>
                <a:gd name="connsiteX32" fmla="*/ 88315 w 743614"/>
                <a:gd name="connsiteY32" fmla="*/ 618621 h 626641"/>
                <a:gd name="connsiteX33" fmla="*/ 88315 w 743614"/>
                <a:gd name="connsiteY33" fmla="*/ 618621 h 626641"/>
                <a:gd name="connsiteX34" fmla="*/ 89317 w 743614"/>
                <a:gd name="connsiteY34" fmla="*/ 619289 h 626641"/>
                <a:gd name="connsiteX35" fmla="*/ 89317 w 743614"/>
                <a:gd name="connsiteY35" fmla="*/ 619289 h 626641"/>
                <a:gd name="connsiteX36" fmla="*/ 90320 w 743614"/>
                <a:gd name="connsiteY36" fmla="*/ 619958 h 626641"/>
                <a:gd name="connsiteX37" fmla="*/ 90320 w 743614"/>
                <a:gd name="connsiteY37" fmla="*/ 619958 h 626641"/>
                <a:gd name="connsiteX38" fmla="*/ 91323 w 743614"/>
                <a:gd name="connsiteY38" fmla="*/ 620626 h 626641"/>
                <a:gd name="connsiteX39" fmla="*/ 91824 w 743614"/>
                <a:gd name="connsiteY39" fmla="*/ 620877 h 626641"/>
                <a:gd name="connsiteX40" fmla="*/ 92994 w 743614"/>
                <a:gd name="connsiteY40" fmla="*/ 621545 h 626641"/>
                <a:gd name="connsiteX41" fmla="*/ 93495 w 743614"/>
                <a:gd name="connsiteY41" fmla="*/ 621796 h 626641"/>
                <a:gd name="connsiteX42" fmla="*/ 93495 w 743614"/>
                <a:gd name="connsiteY42" fmla="*/ 621796 h 626641"/>
                <a:gd name="connsiteX43" fmla="*/ 94581 w 743614"/>
                <a:gd name="connsiteY43" fmla="*/ 622381 h 626641"/>
                <a:gd name="connsiteX44" fmla="*/ 94581 w 743614"/>
                <a:gd name="connsiteY44" fmla="*/ 622381 h 626641"/>
                <a:gd name="connsiteX45" fmla="*/ 95667 w 743614"/>
                <a:gd name="connsiteY45" fmla="*/ 622965 h 626641"/>
                <a:gd name="connsiteX46" fmla="*/ 95667 w 743614"/>
                <a:gd name="connsiteY46" fmla="*/ 622965 h 626641"/>
                <a:gd name="connsiteX47" fmla="*/ 96753 w 743614"/>
                <a:gd name="connsiteY47" fmla="*/ 623467 h 626641"/>
                <a:gd name="connsiteX48" fmla="*/ 96753 w 743614"/>
                <a:gd name="connsiteY48" fmla="*/ 623467 h 626641"/>
                <a:gd name="connsiteX49" fmla="*/ 97840 w 743614"/>
                <a:gd name="connsiteY49" fmla="*/ 623968 h 626641"/>
                <a:gd name="connsiteX50" fmla="*/ 97840 w 743614"/>
                <a:gd name="connsiteY50" fmla="*/ 623968 h 626641"/>
                <a:gd name="connsiteX51" fmla="*/ 99009 w 743614"/>
                <a:gd name="connsiteY51" fmla="*/ 624469 h 626641"/>
                <a:gd name="connsiteX52" fmla="*/ 99009 w 743614"/>
                <a:gd name="connsiteY52" fmla="*/ 624469 h 626641"/>
                <a:gd name="connsiteX53" fmla="*/ 100179 w 743614"/>
                <a:gd name="connsiteY53" fmla="*/ 624887 h 626641"/>
                <a:gd name="connsiteX54" fmla="*/ 100179 w 743614"/>
                <a:gd name="connsiteY54" fmla="*/ 624887 h 626641"/>
                <a:gd name="connsiteX55" fmla="*/ 101349 w 743614"/>
                <a:gd name="connsiteY55" fmla="*/ 625305 h 626641"/>
                <a:gd name="connsiteX56" fmla="*/ 101349 w 743614"/>
                <a:gd name="connsiteY56" fmla="*/ 625305 h 626641"/>
                <a:gd name="connsiteX57" fmla="*/ 101600 w 743614"/>
                <a:gd name="connsiteY57" fmla="*/ 625389 h 626641"/>
                <a:gd name="connsiteX58" fmla="*/ 103438 w 743614"/>
                <a:gd name="connsiteY58" fmla="*/ 625973 h 626641"/>
                <a:gd name="connsiteX59" fmla="*/ 103688 w 743614"/>
                <a:gd name="connsiteY59" fmla="*/ 626057 h 626641"/>
                <a:gd name="connsiteX60" fmla="*/ 103688 w 743614"/>
                <a:gd name="connsiteY60" fmla="*/ 626057 h 626641"/>
                <a:gd name="connsiteX61" fmla="*/ 104858 w 743614"/>
                <a:gd name="connsiteY61" fmla="*/ 626391 h 626641"/>
                <a:gd name="connsiteX62" fmla="*/ 104858 w 743614"/>
                <a:gd name="connsiteY62" fmla="*/ 626391 h 626641"/>
                <a:gd name="connsiteX63" fmla="*/ 106028 w 743614"/>
                <a:gd name="connsiteY63" fmla="*/ 626725 h 626641"/>
                <a:gd name="connsiteX64" fmla="*/ 106028 w 743614"/>
                <a:gd name="connsiteY64" fmla="*/ 626725 h 626641"/>
                <a:gd name="connsiteX65" fmla="*/ 107281 w 743614"/>
                <a:gd name="connsiteY65" fmla="*/ 626976 h 626641"/>
                <a:gd name="connsiteX66" fmla="*/ 107281 w 743614"/>
                <a:gd name="connsiteY66" fmla="*/ 626976 h 626641"/>
                <a:gd name="connsiteX67" fmla="*/ 108534 w 743614"/>
                <a:gd name="connsiteY67" fmla="*/ 627227 h 626641"/>
                <a:gd name="connsiteX68" fmla="*/ 108534 w 743614"/>
                <a:gd name="connsiteY68" fmla="*/ 627227 h 626641"/>
                <a:gd name="connsiteX69" fmla="*/ 108785 w 743614"/>
                <a:gd name="connsiteY69" fmla="*/ 627227 h 626641"/>
                <a:gd name="connsiteX70" fmla="*/ 110790 w 743614"/>
                <a:gd name="connsiteY70" fmla="*/ 627561 h 626641"/>
                <a:gd name="connsiteX71" fmla="*/ 475997 w 743614"/>
                <a:gd name="connsiteY71" fmla="*/ 627561 h 626641"/>
                <a:gd name="connsiteX72" fmla="*/ 475997 w 743614"/>
                <a:gd name="connsiteY72" fmla="*/ 623216 h 626641"/>
                <a:gd name="connsiteX73" fmla="*/ 576260 w 743614"/>
                <a:gd name="connsiteY73" fmla="*/ 522953 h 626641"/>
                <a:gd name="connsiteX74" fmla="*/ 748377 w 743614"/>
                <a:gd name="connsiteY74" fmla="*/ 522953 h 626641"/>
                <a:gd name="connsiteX75" fmla="*/ 748377 w 743614"/>
                <a:gd name="connsiteY75" fmla="*/ 449929 h 626641"/>
                <a:gd name="connsiteX76" fmla="*/ 748377 w 743614"/>
                <a:gd name="connsiteY76" fmla="*/ 204452 h 626641"/>
                <a:gd name="connsiteX77" fmla="*/ 748377 w 743614"/>
                <a:gd name="connsiteY77" fmla="*/ 51552 h 626641"/>
                <a:gd name="connsiteX78" fmla="*/ 696742 w 743614"/>
                <a:gd name="connsiteY78" fmla="*/ 0 h 62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43614" h="626641">
                  <a:moveTo>
                    <a:pt x="696742" y="0"/>
                  </a:moveTo>
                  <a:lnTo>
                    <a:pt x="607174" y="0"/>
                  </a:lnTo>
                  <a:lnTo>
                    <a:pt x="432216" y="0"/>
                  </a:lnTo>
                  <a:lnTo>
                    <a:pt x="409072" y="0"/>
                  </a:lnTo>
                  <a:cubicBezTo>
                    <a:pt x="405061" y="0"/>
                    <a:pt x="401134" y="334"/>
                    <a:pt x="397291" y="752"/>
                  </a:cubicBezTo>
                  <a:lnTo>
                    <a:pt x="264693" y="1086"/>
                  </a:lnTo>
                  <a:lnTo>
                    <a:pt x="193006" y="668"/>
                  </a:lnTo>
                  <a:lnTo>
                    <a:pt x="193006" y="124242"/>
                  </a:lnTo>
                  <a:lnTo>
                    <a:pt x="192337" y="124242"/>
                  </a:lnTo>
                  <a:lnTo>
                    <a:pt x="192337" y="413918"/>
                  </a:lnTo>
                  <a:cubicBezTo>
                    <a:pt x="192337" y="456446"/>
                    <a:pt x="157579" y="491204"/>
                    <a:pt x="115051" y="491204"/>
                  </a:cubicBezTo>
                  <a:lnTo>
                    <a:pt x="36596" y="491204"/>
                  </a:lnTo>
                  <a:lnTo>
                    <a:pt x="36596" y="491956"/>
                  </a:lnTo>
                  <a:lnTo>
                    <a:pt x="0" y="491956"/>
                  </a:lnTo>
                  <a:cubicBezTo>
                    <a:pt x="37264" y="494128"/>
                    <a:pt x="66925" y="525042"/>
                    <a:pt x="66925" y="562808"/>
                  </a:cubicBezTo>
                  <a:lnTo>
                    <a:pt x="66925" y="577430"/>
                  </a:lnTo>
                  <a:lnTo>
                    <a:pt x="66925" y="578766"/>
                  </a:lnTo>
                  <a:lnTo>
                    <a:pt x="66925" y="578766"/>
                  </a:lnTo>
                  <a:lnTo>
                    <a:pt x="67009" y="580020"/>
                  </a:lnTo>
                  <a:lnTo>
                    <a:pt x="67009" y="580020"/>
                  </a:lnTo>
                  <a:lnTo>
                    <a:pt x="67092" y="581273"/>
                  </a:lnTo>
                  <a:lnTo>
                    <a:pt x="67092" y="581273"/>
                  </a:lnTo>
                  <a:lnTo>
                    <a:pt x="67176" y="582526"/>
                  </a:lnTo>
                  <a:lnTo>
                    <a:pt x="67176" y="582526"/>
                  </a:lnTo>
                  <a:lnTo>
                    <a:pt x="67343" y="583779"/>
                  </a:lnTo>
                  <a:lnTo>
                    <a:pt x="67343" y="583779"/>
                  </a:lnTo>
                  <a:lnTo>
                    <a:pt x="67510" y="585033"/>
                  </a:lnTo>
                  <a:lnTo>
                    <a:pt x="67510" y="585033"/>
                  </a:lnTo>
                  <a:lnTo>
                    <a:pt x="67761" y="586286"/>
                  </a:lnTo>
                  <a:lnTo>
                    <a:pt x="67761" y="586286"/>
                  </a:lnTo>
                  <a:cubicBezTo>
                    <a:pt x="69933" y="598735"/>
                    <a:pt x="77119" y="610098"/>
                    <a:pt x="87312" y="617869"/>
                  </a:cubicBezTo>
                  <a:lnTo>
                    <a:pt x="87312" y="617869"/>
                  </a:lnTo>
                  <a:lnTo>
                    <a:pt x="88315" y="618621"/>
                  </a:lnTo>
                  <a:lnTo>
                    <a:pt x="88315" y="618621"/>
                  </a:lnTo>
                  <a:lnTo>
                    <a:pt x="89317" y="619289"/>
                  </a:lnTo>
                  <a:lnTo>
                    <a:pt x="89317" y="619289"/>
                  </a:lnTo>
                  <a:lnTo>
                    <a:pt x="90320" y="619958"/>
                  </a:lnTo>
                  <a:lnTo>
                    <a:pt x="90320" y="619958"/>
                  </a:lnTo>
                  <a:lnTo>
                    <a:pt x="91323" y="620626"/>
                  </a:lnTo>
                  <a:lnTo>
                    <a:pt x="91824" y="620877"/>
                  </a:lnTo>
                  <a:cubicBezTo>
                    <a:pt x="92242" y="621127"/>
                    <a:pt x="92576" y="621295"/>
                    <a:pt x="92994" y="621545"/>
                  </a:cubicBezTo>
                  <a:lnTo>
                    <a:pt x="93495" y="621796"/>
                  </a:lnTo>
                  <a:lnTo>
                    <a:pt x="93495" y="621796"/>
                  </a:lnTo>
                  <a:lnTo>
                    <a:pt x="94581" y="622381"/>
                  </a:lnTo>
                  <a:lnTo>
                    <a:pt x="94581" y="622381"/>
                  </a:lnTo>
                  <a:lnTo>
                    <a:pt x="95667" y="622965"/>
                  </a:lnTo>
                  <a:lnTo>
                    <a:pt x="95667" y="622965"/>
                  </a:lnTo>
                  <a:lnTo>
                    <a:pt x="96753" y="623467"/>
                  </a:lnTo>
                  <a:lnTo>
                    <a:pt x="96753" y="623467"/>
                  </a:lnTo>
                  <a:cubicBezTo>
                    <a:pt x="97088" y="623634"/>
                    <a:pt x="97505" y="623801"/>
                    <a:pt x="97840" y="623968"/>
                  </a:cubicBezTo>
                  <a:lnTo>
                    <a:pt x="97840" y="623968"/>
                  </a:lnTo>
                  <a:lnTo>
                    <a:pt x="99009" y="624469"/>
                  </a:lnTo>
                  <a:lnTo>
                    <a:pt x="99009" y="624469"/>
                  </a:lnTo>
                  <a:lnTo>
                    <a:pt x="100179" y="624887"/>
                  </a:lnTo>
                  <a:lnTo>
                    <a:pt x="100179" y="624887"/>
                  </a:lnTo>
                  <a:lnTo>
                    <a:pt x="101349" y="625305"/>
                  </a:lnTo>
                  <a:lnTo>
                    <a:pt x="101349" y="625305"/>
                  </a:lnTo>
                  <a:lnTo>
                    <a:pt x="101600" y="625389"/>
                  </a:lnTo>
                  <a:cubicBezTo>
                    <a:pt x="102268" y="625556"/>
                    <a:pt x="102769" y="625723"/>
                    <a:pt x="103438" y="625973"/>
                  </a:cubicBezTo>
                  <a:lnTo>
                    <a:pt x="103688" y="626057"/>
                  </a:lnTo>
                  <a:lnTo>
                    <a:pt x="103688" y="626057"/>
                  </a:lnTo>
                  <a:lnTo>
                    <a:pt x="104858" y="626391"/>
                  </a:lnTo>
                  <a:lnTo>
                    <a:pt x="104858" y="626391"/>
                  </a:lnTo>
                  <a:lnTo>
                    <a:pt x="106028" y="626725"/>
                  </a:lnTo>
                  <a:lnTo>
                    <a:pt x="106028" y="626725"/>
                  </a:lnTo>
                  <a:lnTo>
                    <a:pt x="107281" y="626976"/>
                  </a:lnTo>
                  <a:lnTo>
                    <a:pt x="107281" y="626976"/>
                  </a:lnTo>
                  <a:cubicBezTo>
                    <a:pt x="107699" y="627059"/>
                    <a:pt x="108117" y="627143"/>
                    <a:pt x="108534" y="627227"/>
                  </a:cubicBezTo>
                  <a:lnTo>
                    <a:pt x="108534" y="627227"/>
                  </a:lnTo>
                  <a:lnTo>
                    <a:pt x="108785" y="627227"/>
                  </a:lnTo>
                  <a:cubicBezTo>
                    <a:pt x="109453" y="627310"/>
                    <a:pt x="110038" y="627477"/>
                    <a:pt x="110790" y="627561"/>
                  </a:cubicBezTo>
                  <a:lnTo>
                    <a:pt x="475997" y="627561"/>
                  </a:lnTo>
                  <a:lnTo>
                    <a:pt x="475997" y="623216"/>
                  </a:lnTo>
                  <a:cubicBezTo>
                    <a:pt x="475997" y="568072"/>
                    <a:pt x="521115" y="522953"/>
                    <a:pt x="576260" y="522953"/>
                  </a:cubicBezTo>
                  <a:lnTo>
                    <a:pt x="748377" y="522953"/>
                  </a:lnTo>
                  <a:lnTo>
                    <a:pt x="748377" y="449929"/>
                  </a:lnTo>
                  <a:lnTo>
                    <a:pt x="748377" y="204452"/>
                  </a:lnTo>
                  <a:lnTo>
                    <a:pt x="748377" y="51552"/>
                  </a:lnTo>
                  <a:cubicBezTo>
                    <a:pt x="748210" y="23144"/>
                    <a:pt x="725066" y="0"/>
                    <a:pt x="696742" y="0"/>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76" name="Freeform: Shape 175">
              <a:extLst>
                <a:ext uri="{FF2B5EF4-FFF2-40B4-BE49-F238E27FC236}">
                  <a16:creationId xmlns:a16="http://schemas.microsoft.com/office/drawing/2014/main" id="{6D3B5DD6-3B1F-41BB-A832-0036DAA03AA1}"/>
                </a:ext>
              </a:extLst>
            </p:cNvPr>
            <p:cNvSpPr/>
            <p:nvPr/>
          </p:nvSpPr>
          <p:spPr>
            <a:xfrm>
              <a:off x="13564169" y="2018189"/>
              <a:ext cx="1002627" cy="1604203"/>
            </a:xfrm>
            <a:custGeom>
              <a:avLst/>
              <a:gdLst>
                <a:gd name="connsiteX0" fmla="*/ 820567 w 1002626"/>
                <a:gd name="connsiteY0" fmla="*/ 0 h 1604202"/>
                <a:gd name="connsiteX1" fmla="*/ 565231 w 1002626"/>
                <a:gd name="connsiteY1" fmla="*/ 0 h 1604202"/>
                <a:gd name="connsiteX2" fmla="*/ 383254 w 1002626"/>
                <a:gd name="connsiteY2" fmla="*/ 0 h 1604202"/>
                <a:gd name="connsiteX3" fmla="*/ 298282 w 1002626"/>
                <a:gd name="connsiteY3" fmla="*/ 84973 h 1604202"/>
                <a:gd name="connsiteX4" fmla="*/ 298282 w 1002626"/>
                <a:gd name="connsiteY4" fmla="*/ 345405 h 1604202"/>
                <a:gd name="connsiteX5" fmla="*/ 86644 w 1002626"/>
                <a:gd name="connsiteY5" fmla="*/ 345405 h 1604202"/>
                <a:gd name="connsiteX6" fmla="*/ 1671 w 1002626"/>
                <a:gd name="connsiteY6" fmla="*/ 430378 h 1604202"/>
                <a:gd name="connsiteX7" fmla="*/ 1671 w 1002626"/>
                <a:gd name="connsiteY7" fmla="*/ 578599 h 1604202"/>
                <a:gd name="connsiteX8" fmla="*/ 0 w 1002626"/>
                <a:gd name="connsiteY8" fmla="*/ 578850 h 1604202"/>
                <a:gd name="connsiteX9" fmla="*/ 0 w 1002626"/>
                <a:gd name="connsiteY9" fmla="*/ 803772 h 1604202"/>
                <a:gd name="connsiteX10" fmla="*/ 0 w 1002626"/>
                <a:gd name="connsiteY10" fmla="*/ 875794 h 1604202"/>
                <a:gd name="connsiteX11" fmla="*/ 0 w 1002626"/>
                <a:gd name="connsiteY11" fmla="*/ 1154023 h 1604202"/>
                <a:gd name="connsiteX12" fmla="*/ 68847 w 1002626"/>
                <a:gd name="connsiteY12" fmla="*/ 1227048 h 1604202"/>
                <a:gd name="connsiteX13" fmla="*/ 135689 w 1002626"/>
                <a:gd name="connsiteY13" fmla="*/ 1297984 h 1604202"/>
                <a:gd name="connsiteX14" fmla="*/ 135689 w 1002626"/>
                <a:gd name="connsiteY14" fmla="*/ 1404680 h 1604202"/>
                <a:gd name="connsiteX15" fmla="*/ 205706 w 1002626"/>
                <a:gd name="connsiteY15" fmla="*/ 1477788 h 1604202"/>
                <a:gd name="connsiteX16" fmla="*/ 273717 w 1002626"/>
                <a:gd name="connsiteY16" fmla="*/ 1548808 h 1604202"/>
                <a:gd name="connsiteX17" fmla="*/ 273717 w 1002626"/>
                <a:gd name="connsiteY17" fmla="*/ 1558416 h 1604202"/>
                <a:gd name="connsiteX18" fmla="*/ 324266 w 1002626"/>
                <a:gd name="connsiteY18" fmla="*/ 1608965 h 1604202"/>
                <a:gd name="connsiteX19" fmla="*/ 341812 w 1002626"/>
                <a:gd name="connsiteY19" fmla="*/ 1608965 h 1604202"/>
                <a:gd name="connsiteX20" fmla="*/ 392361 w 1002626"/>
                <a:gd name="connsiteY20" fmla="*/ 1558416 h 1604202"/>
                <a:gd name="connsiteX21" fmla="*/ 392361 w 1002626"/>
                <a:gd name="connsiteY21" fmla="*/ 1548891 h 1604202"/>
                <a:gd name="connsiteX22" fmla="*/ 463381 w 1002626"/>
                <a:gd name="connsiteY22" fmla="*/ 1477872 h 1604202"/>
                <a:gd name="connsiteX23" fmla="*/ 597649 w 1002626"/>
                <a:gd name="connsiteY23" fmla="*/ 1477872 h 1604202"/>
                <a:gd name="connsiteX24" fmla="*/ 670841 w 1002626"/>
                <a:gd name="connsiteY24" fmla="*/ 1404680 h 1604202"/>
                <a:gd name="connsiteX25" fmla="*/ 670841 w 1002626"/>
                <a:gd name="connsiteY25" fmla="*/ 1183183 h 1604202"/>
                <a:gd name="connsiteX26" fmla="*/ 597649 w 1002626"/>
                <a:gd name="connsiteY26" fmla="*/ 1109991 h 1604202"/>
                <a:gd name="connsiteX27" fmla="*/ 528217 w 1002626"/>
                <a:gd name="connsiteY27" fmla="*/ 1041144 h 1604202"/>
                <a:gd name="connsiteX28" fmla="*/ 599237 w 1002626"/>
                <a:gd name="connsiteY28" fmla="*/ 970125 h 1604202"/>
                <a:gd name="connsiteX29" fmla="*/ 755145 w 1002626"/>
                <a:gd name="connsiteY29" fmla="*/ 970125 h 1604202"/>
                <a:gd name="connsiteX30" fmla="*/ 805694 w 1002626"/>
                <a:gd name="connsiteY30" fmla="*/ 919576 h 1604202"/>
                <a:gd name="connsiteX31" fmla="*/ 805694 w 1002626"/>
                <a:gd name="connsiteY31" fmla="*/ 902030 h 1604202"/>
                <a:gd name="connsiteX32" fmla="*/ 755145 w 1002626"/>
                <a:gd name="connsiteY32" fmla="*/ 851481 h 1604202"/>
                <a:gd name="connsiteX33" fmla="*/ 741860 w 1002626"/>
                <a:gd name="connsiteY33" fmla="*/ 851481 h 1604202"/>
                <a:gd name="connsiteX34" fmla="*/ 670841 w 1002626"/>
                <a:gd name="connsiteY34" fmla="*/ 780461 h 1604202"/>
                <a:gd name="connsiteX35" fmla="*/ 670841 w 1002626"/>
                <a:gd name="connsiteY35" fmla="*/ 665828 h 1604202"/>
                <a:gd name="connsiteX36" fmla="*/ 670089 w 1002626"/>
                <a:gd name="connsiteY36" fmla="*/ 640595 h 1604202"/>
                <a:gd name="connsiteX37" fmla="*/ 700753 w 1002626"/>
                <a:gd name="connsiteY37" fmla="*/ 640595 h 1604202"/>
                <a:gd name="connsiteX38" fmla="*/ 820483 w 1002626"/>
                <a:gd name="connsiteY38" fmla="*/ 562223 h 1604202"/>
                <a:gd name="connsiteX39" fmla="*/ 820483 w 1002626"/>
                <a:gd name="connsiteY39" fmla="*/ 558380 h 1604202"/>
                <a:gd name="connsiteX40" fmla="*/ 820483 w 1002626"/>
                <a:gd name="connsiteY40" fmla="*/ 549607 h 1604202"/>
                <a:gd name="connsiteX41" fmla="*/ 882646 w 1002626"/>
                <a:gd name="connsiteY41" fmla="*/ 549607 h 1604202"/>
                <a:gd name="connsiteX42" fmla="*/ 1008642 w 1002626"/>
                <a:gd name="connsiteY42" fmla="*/ 429876 h 1604202"/>
                <a:gd name="connsiteX43" fmla="*/ 1008642 w 1002626"/>
                <a:gd name="connsiteY43" fmla="*/ 0 h 1604202"/>
                <a:gd name="connsiteX44" fmla="*/ 820567 w 1002626"/>
                <a:gd name="connsiteY44" fmla="*/ 0 h 160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02626" h="1604202">
                  <a:moveTo>
                    <a:pt x="820567" y="0"/>
                  </a:moveTo>
                  <a:lnTo>
                    <a:pt x="565231" y="0"/>
                  </a:lnTo>
                  <a:lnTo>
                    <a:pt x="383254" y="0"/>
                  </a:lnTo>
                  <a:cubicBezTo>
                    <a:pt x="336381" y="0"/>
                    <a:pt x="298282" y="38016"/>
                    <a:pt x="298282" y="84973"/>
                  </a:cubicBezTo>
                  <a:lnTo>
                    <a:pt x="298282" y="345405"/>
                  </a:lnTo>
                  <a:lnTo>
                    <a:pt x="86644" y="345405"/>
                  </a:lnTo>
                  <a:cubicBezTo>
                    <a:pt x="39771" y="345405"/>
                    <a:pt x="1671" y="383421"/>
                    <a:pt x="1671" y="430378"/>
                  </a:cubicBezTo>
                  <a:lnTo>
                    <a:pt x="1671" y="578599"/>
                  </a:lnTo>
                  <a:lnTo>
                    <a:pt x="0" y="578850"/>
                  </a:lnTo>
                  <a:lnTo>
                    <a:pt x="0" y="803772"/>
                  </a:lnTo>
                  <a:lnTo>
                    <a:pt x="0" y="875794"/>
                  </a:lnTo>
                  <a:lnTo>
                    <a:pt x="0" y="1154023"/>
                  </a:lnTo>
                  <a:cubicBezTo>
                    <a:pt x="0" y="1192792"/>
                    <a:pt x="30580" y="1224792"/>
                    <a:pt x="68847" y="1227048"/>
                  </a:cubicBezTo>
                  <a:cubicBezTo>
                    <a:pt x="106446" y="1229304"/>
                    <a:pt x="135689" y="1260302"/>
                    <a:pt x="135689" y="1297984"/>
                  </a:cubicBezTo>
                  <a:lnTo>
                    <a:pt x="135689" y="1404680"/>
                  </a:lnTo>
                  <a:cubicBezTo>
                    <a:pt x="135689" y="1443866"/>
                    <a:pt x="166937" y="1476117"/>
                    <a:pt x="205706" y="1477788"/>
                  </a:cubicBezTo>
                  <a:cubicBezTo>
                    <a:pt x="243722" y="1479459"/>
                    <a:pt x="273717" y="1510708"/>
                    <a:pt x="273717" y="1548808"/>
                  </a:cubicBezTo>
                  <a:lnTo>
                    <a:pt x="273717" y="1558416"/>
                  </a:lnTo>
                  <a:cubicBezTo>
                    <a:pt x="273717" y="1586239"/>
                    <a:pt x="296443" y="1608965"/>
                    <a:pt x="324266" y="1608965"/>
                  </a:cubicBezTo>
                  <a:lnTo>
                    <a:pt x="341812" y="1608965"/>
                  </a:lnTo>
                  <a:cubicBezTo>
                    <a:pt x="369635" y="1608965"/>
                    <a:pt x="392361" y="1586239"/>
                    <a:pt x="392361" y="1558416"/>
                  </a:cubicBezTo>
                  <a:lnTo>
                    <a:pt x="392361" y="1548891"/>
                  </a:lnTo>
                  <a:cubicBezTo>
                    <a:pt x="392361" y="1509789"/>
                    <a:pt x="424278" y="1477872"/>
                    <a:pt x="463381" y="1477872"/>
                  </a:cubicBezTo>
                  <a:lnTo>
                    <a:pt x="597649" y="1477872"/>
                  </a:lnTo>
                  <a:cubicBezTo>
                    <a:pt x="637921" y="1477872"/>
                    <a:pt x="670841" y="1444952"/>
                    <a:pt x="670841" y="1404680"/>
                  </a:cubicBezTo>
                  <a:lnTo>
                    <a:pt x="670841" y="1183183"/>
                  </a:lnTo>
                  <a:cubicBezTo>
                    <a:pt x="670841" y="1142911"/>
                    <a:pt x="637420" y="1103725"/>
                    <a:pt x="597649" y="1109991"/>
                  </a:cubicBezTo>
                  <a:cubicBezTo>
                    <a:pt x="555706" y="1116592"/>
                    <a:pt x="527215" y="1102054"/>
                    <a:pt x="528217" y="1041144"/>
                  </a:cubicBezTo>
                  <a:cubicBezTo>
                    <a:pt x="528886" y="1002042"/>
                    <a:pt x="560134" y="970125"/>
                    <a:pt x="599237" y="970125"/>
                  </a:cubicBezTo>
                  <a:lnTo>
                    <a:pt x="755145" y="970125"/>
                  </a:lnTo>
                  <a:cubicBezTo>
                    <a:pt x="782968" y="970125"/>
                    <a:pt x="805694" y="947399"/>
                    <a:pt x="805694" y="919576"/>
                  </a:cubicBezTo>
                  <a:lnTo>
                    <a:pt x="805694" y="902030"/>
                  </a:lnTo>
                  <a:cubicBezTo>
                    <a:pt x="805694" y="874207"/>
                    <a:pt x="782968" y="851481"/>
                    <a:pt x="755145" y="851481"/>
                  </a:cubicBezTo>
                  <a:lnTo>
                    <a:pt x="741860" y="851481"/>
                  </a:lnTo>
                  <a:cubicBezTo>
                    <a:pt x="702758" y="851481"/>
                    <a:pt x="670841" y="819564"/>
                    <a:pt x="670841" y="780461"/>
                  </a:cubicBezTo>
                  <a:lnTo>
                    <a:pt x="670841" y="665828"/>
                  </a:lnTo>
                  <a:cubicBezTo>
                    <a:pt x="670841" y="656971"/>
                    <a:pt x="670507" y="649953"/>
                    <a:pt x="670089" y="640595"/>
                  </a:cubicBezTo>
                  <a:lnTo>
                    <a:pt x="700753" y="640595"/>
                  </a:lnTo>
                  <a:cubicBezTo>
                    <a:pt x="766926" y="640595"/>
                    <a:pt x="820483" y="628396"/>
                    <a:pt x="820483" y="562223"/>
                  </a:cubicBezTo>
                  <a:lnTo>
                    <a:pt x="820483" y="558380"/>
                  </a:lnTo>
                  <a:lnTo>
                    <a:pt x="820483" y="549607"/>
                  </a:lnTo>
                  <a:lnTo>
                    <a:pt x="882646" y="549607"/>
                  </a:lnTo>
                  <a:cubicBezTo>
                    <a:pt x="948819" y="549607"/>
                    <a:pt x="1008642" y="495966"/>
                    <a:pt x="1008642" y="429876"/>
                  </a:cubicBezTo>
                  <a:lnTo>
                    <a:pt x="1008642" y="0"/>
                  </a:lnTo>
                  <a:lnTo>
                    <a:pt x="820567" y="0"/>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77" name="Freeform: Shape 176">
              <a:extLst>
                <a:ext uri="{FF2B5EF4-FFF2-40B4-BE49-F238E27FC236}">
                  <a16:creationId xmlns:a16="http://schemas.microsoft.com/office/drawing/2014/main" id="{1B708D48-7B46-4B19-AC7E-412676D35417}"/>
                </a:ext>
              </a:extLst>
            </p:cNvPr>
            <p:cNvSpPr/>
            <p:nvPr/>
          </p:nvSpPr>
          <p:spPr>
            <a:xfrm>
              <a:off x="14930666" y="1661672"/>
              <a:ext cx="1428743" cy="3108143"/>
            </a:xfrm>
            <a:custGeom>
              <a:avLst/>
              <a:gdLst>
                <a:gd name="connsiteX0" fmla="*/ 1313107 w 1428743"/>
                <a:gd name="connsiteY0" fmla="*/ 1082168 h 3108142"/>
                <a:gd name="connsiteX1" fmla="*/ 1260469 w 1428743"/>
                <a:gd name="connsiteY1" fmla="*/ 1029531 h 3108142"/>
                <a:gd name="connsiteX2" fmla="*/ 1260469 w 1428743"/>
                <a:gd name="connsiteY2" fmla="*/ 1011233 h 3108142"/>
                <a:gd name="connsiteX3" fmla="*/ 1313107 w 1428743"/>
                <a:gd name="connsiteY3" fmla="*/ 958595 h 3108142"/>
                <a:gd name="connsiteX4" fmla="*/ 1429244 w 1428743"/>
                <a:gd name="connsiteY4" fmla="*/ 958595 h 3108142"/>
                <a:gd name="connsiteX5" fmla="*/ 1429662 w 1428743"/>
                <a:gd name="connsiteY5" fmla="*/ 523622 h 3108142"/>
                <a:gd name="connsiteX6" fmla="*/ 1109156 w 1428743"/>
                <a:gd name="connsiteY6" fmla="*/ 523622 h 3108142"/>
                <a:gd name="connsiteX7" fmla="*/ 1109156 w 1428743"/>
                <a:gd name="connsiteY7" fmla="*/ 84973 h 3108142"/>
                <a:gd name="connsiteX8" fmla="*/ 1024183 w 1428743"/>
                <a:gd name="connsiteY8" fmla="*/ 0 h 3108142"/>
                <a:gd name="connsiteX9" fmla="*/ 0 w 1428743"/>
                <a:gd name="connsiteY9" fmla="*/ 0 h 3108142"/>
                <a:gd name="connsiteX10" fmla="*/ 0 w 1428743"/>
                <a:gd name="connsiteY10" fmla="*/ 250406 h 3108142"/>
                <a:gd name="connsiteX11" fmla="*/ 72189 w 1428743"/>
                <a:gd name="connsiteY11" fmla="*/ 250406 h 3108142"/>
                <a:gd name="connsiteX12" fmla="*/ 191919 w 1428743"/>
                <a:gd name="connsiteY12" fmla="*/ 370136 h 3108142"/>
                <a:gd name="connsiteX13" fmla="*/ 191919 w 1428743"/>
                <a:gd name="connsiteY13" fmla="*/ 526296 h 3108142"/>
                <a:gd name="connsiteX14" fmla="*/ 774195 w 1428743"/>
                <a:gd name="connsiteY14" fmla="*/ 526296 h 3108142"/>
                <a:gd name="connsiteX15" fmla="*/ 771855 w 1428743"/>
                <a:gd name="connsiteY15" fmla="*/ 933613 h 3108142"/>
                <a:gd name="connsiteX16" fmla="*/ 771855 w 1428743"/>
                <a:gd name="connsiteY16" fmla="*/ 944307 h 3108142"/>
                <a:gd name="connsiteX17" fmla="*/ 765756 w 1428743"/>
                <a:gd name="connsiteY17" fmla="*/ 944307 h 3108142"/>
                <a:gd name="connsiteX18" fmla="*/ 758069 w 1428743"/>
                <a:gd name="connsiteY18" fmla="*/ 944307 h 3108142"/>
                <a:gd name="connsiteX19" fmla="*/ 750884 w 1428743"/>
                <a:gd name="connsiteY19" fmla="*/ 944642 h 3108142"/>
                <a:gd name="connsiteX20" fmla="*/ 748628 w 1428743"/>
                <a:gd name="connsiteY20" fmla="*/ 944976 h 3108142"/>
                <a:gd name="connsiteX21" fmla="*/ 743949 w 1428743"/>
                <a:gd name="connsiteY21" fmla="*/ 945728 h 3108142"/>
                <a:gd name="connsiteX22" fmla="*/ 743364 w 1428743"/>
                <a:gd name="connsiteY22" fmla="*/ 945895 h 3108142"/>
                <a:gd name="connsiteX23" fmla="*/ 741359 w 1428743"/>
                <a:gd name="connsiteY23" fmla="*/ 946396 h 3108142"/>
                <a:gd name="connsiteX24" fmla="*/ 737265 w 1428743"/>
                <a:gd name="connsiteY24" fmla="*/ 947482 h 3108142"/>
                <a:gd name="connsiteX25" fmla="*/ 734591 w 1428743"/>
                <a:gd name="connsiteY25" fmla="*/ 948401 h 3108142"/>
                <a:gd name="connsiteX26" fmla="*/ 730748 w 1428743"/>
                <a:gd name="connsiteY26" fmla="*/ 949822 h 3108142"/>
                <a:gd name="connsiteX27" fmla="*/ 728158 w 1428743"/>
                <a:gd name="connsiteY27" fmla="*/ 950991 h 3108142"/>
                <a:gd name="connsiteX28" fmla="*/ 724565 w 1428743"/>
                <a:gd name="connsiteY28" fmla="*/ 952746 h 3108142"/>
                <a:gd name="connsiteX29" fmla="*/ 723228 w 1428743"/>
                <a:gd name="connsiteY29" fmla="*/ 953498 h 3108142"/>
                <a:gd name="connsiteX30" fmla="*/ 721975 w 1428743"/>
                <a:gd name="connsiteY30" fmla="*/ 954167 h 3108142"/>
                <a:gd name="connsiteX31" fmla="*/ 718549 w 1428743"/>
                <a:gd name="connsiteY31" fmla="*/ 956255 h 3108142"/>
                <a:gd name="connsiteX32" fmla="*/ 718131 w 1428743"/>
                <a:gd name="connsiteY32" fmla="*/ 956506 h 3108142"/>
                <a:gd name="connsiteX33" fmla="*/ 716210 w 1428743"/>
                <a:gd name="connsiteY33" fmla="*/ 957843 h 3108142"/>
                <a:gd name="connsiteX34" fmla="*/ 712951 w 1428743"/>
                <a:gd name="connsiteY34" fmla="*/ 960266 h 3108142"/>
                <a:gd name="connsiteX35" fmla="*/ 710779 w 1428743"/>
                <a:gd name="connsiteY35" fmla="*/ 962020 h 3108142"/>
                <a:gd name="connsiteX36" fmla="*/ 707687 w 1428743"/>
                <a:gd name="connsiteY36" fmla="*/ 964778 h 3108142"/>
                <a:gd name="connsiteX37" fmla="*/ 705766 w 1428743"/>
                <a:gd name="connsiteY37" fmla="*/ 966616 h 3108142"/>
                <a:gd name="connsiteX38" fmla="*/ 702758 w 1428743"/>
                <a:gd name="connsiteY38" fmla="*/ 969874 h 3108142"/>
                <a:gd name="connsiteX39" fmla="*/ 701254 w 1428743"/>
                <a:gd name="connsiteY39" fmla="*/ 971629 h 3108142"/>
                <a:gd name="connsiteX40" fmla="*/ 698162 w 1428743"/>
                <a:gd name="connsiteY40" fmla="*/ 975723 h 3108142"/>
                <a:gd name="connsiteX41" fmla="*/ 698079 w 1428743"/>
                <a:gd name="connsiteY41" fmla="*/ 975890 h 3108142"/>
                <a:gd name="connsiteX42" fmla="*/ 697243 w 1428743"/>
                <a:gd name="connsiteY42" fmla="*/ 977060 h 3108142"/>
                <a:gd name="connsiteX43" fmla="*/ 693651 w 1428743"/>
                <a:gd name="connsiteY43" fmla="*/ 982908 h 3108142"/>
                <a:gd name="connsiteX44" fmla="*/ 693400 w 1428743"/>
                <a:gd name="connsiteY44" fmla="*/ 983410 h 3108142"/>
                <a:gd name="connsiteX45" fmla="*/ 690643 w 1428743"/>
                <a:gd name="connsiteY45" fmla="*/ 989091 h 3108142"/>
                <a:gd name="connsiteX46" fmla="*/ 689891 w 1428743"/>
                <a:gd name="connsiteY46" fmla="*/ 991180 h 3108142"/>
                <a:gd name="connsiteX47" fmla="*/ 688303 w 1428743"/>
                <a:gd name="connsiteY47" fmla="*/ 995525 h 3108142"/>
                <a:gd name="connsiteX48" fmla="*/ 687635 w 1428743"/>
                <a:gd name="connsiteY48" fmla="*/ 997948 h 3108142"/>
                <a:gd name="connsiteX49" fmla="*/ 687635 w 1428743"/>
                <a:gd name="connsiteY49" fmla="*/ 998115 h 3108142"/>
                <a:gd name="connsiteX50" fmla="*/ 686549 w 1428743"/>
                <a:gd name="connsiteY50" fmla="*/ 1002209 h 3108142"/>
                <a:gd name="connsiteX51" fmla="*/ 686465 w 1428743"/>
                <a:gd name="connsiteY51" fmla="*/ 1002627 h 3108142"/>
                <a:gd name="connsiteX52" fmla="*/ 686047 w 1428743"/>
                <a:gd name="connsiteY52" fmla="*/ 1005050 h 3108142"/>
                <a:gd name="connsiteX53" fmla="*/ 684878 w 1428743"/>
                <a:gd name="connsiteY53" fmla="*/ 1017833 h 3108142"/>
                <a:gd name="connsiteX54" fmla="*/ 622381 w 1428743"/>
                <a:gd name="connsiteY54" fmla="*/ 1068800 h 3108142"/>
                <a:gd name="connsiteX55" fmla="*/ 616532 w 1428743"/>
                <a:gd name="connsiteY55" fmla="*/ 1069134 h 3108142"/>
                <a:gd name="connsiteX56" fmla="*/ 614694 w 1428743"/>
                <a:gd name="connsiteY56" fmla="*/ 1069302 h 3108142"/>
                <a:gd name="connsiteX57" fmla="*/ 613858 w 1428743"/>
                <a:gd name="connsiteY57" fmla="*/ 1069385 h 3108142"/>
                <a:gd name="connsiteX58" fmla="*/ 608594 w 1428743"/>
                <a:gd name="connsiteY58" fmla="*/ 1070221 h 3108142"/>
                <a:gd name="connsiteX59" fmla="*/ 607508 w 1428743"/>
                <a:gd name="connsiteY59" fmla="*/ 1070388 h 3108142"/>
                <a:gd name="connsiteX60" fmla="*/ 550024 w 1428743"/>
                <a:gd name="connsiteY60" fmla="*/ 1132383 h 3108142"/>
                <a:gd name="connsiteX61" fmla="*/ 549774 w 1428743"/>
                <a:gd name="connsiteY61" fmla="*/ 1192875 h 3108142"/>
                <a:gd name="connsiteX62" fmla="*/ 549273 w 1428743"/>
                <a:gd name="connsiteY62" fmla="*/ 1192875 h 3108142"/>
                <a:gd name="connsiteX63" fmla="*/ 549273 w 1428743"/>
                <a:gd name="connsiteY63" fmla="*/ 1192875 h 3108142"/>
                <a:gd name="connsiteX64" fmla="*/ 778373 w 1428743"/>
                <a:gd name="connsiteY64" fmla="*/ 1192875 h 3108142"/>
                <a:gd name="connsiteX65" fmla="*/ 839783 w 1428743"/>
                <a:gd name="connsiteY65" fmla="*/ 1254286 h 3108142"/>
                <a:gd name="connsiteX66" fmla="*/ 839783 w 1428743"/>
                <a:gd name="connsiteY66" fmla="*/ 1275675 h 3108142"/>
                <a:gd name="connsiteX67" fmla="*/ 778373 w 1428743"/>
                <a:gd name="connsiteY67" fmla="*/ 1337086 h 3108142"/>
                <a:gd name="connsiteX68" fmla="*/ 549273 w 1428743"/>
                <a:gd name="connsiteY68" fmla="*/ 1337086 h 3108142"/>
                <a:gd name="connsiteX69" fmla="*/ 549273 w 1428743"/>
                <a:gd name="connsiteY69" fmla="*/ 1591586 h 3108142"/>
                <a:gd name="connsiteX70" fmla="*/ 549273 w 1428743"/>
                <a:gd name="connsiteY70" fmla="*/ 1845418 h 3108142"/>
                <a:gd name="connsiteX71" fmla="*/ 549356 w 1428743"/>
                <a:gd name="connsiteY71" fmla="*/ 1845418 h 3108142"/>
                <a:gd name="connsiteX72" fmla="*/ 549356 w 1428743"/>
                <a:gd name="connsiteY72" fmla="*/ 1900730 h 3108142"/>
                <a:gd name="connsiteX73" fmla="*/ 549356 w 1428743"/>
                <a:gd name="connsiteY73" fmla="*/ 1912009 h 3108142"/>
                <a:gd name="connsiteX74" fmla="*/ 549356 w 1428743"/>
                <a:gd name="connsiteY74" fmla="*/ 1919195 h 3108142"/>
                <a:gd name="connsiteX75" fmla="*/ 549273 w 1428743"/>
                <a:gd name="connsiteY75" fmla="*/ 1920281 h 3108142"/>
                <a:gd name="connsiteX76" fmla="*/ 549273 w 1428743"/>
                <a:gd name="connsiteY76" fmla="*/ 1921618 h 3108142"/>
                <a:gd name="connsiteX77" fmla="*/ 549105 w 1428743"/>
                <a:gd name="connsiteY77" fmla="*/ 1923122 h 3108142"/>
                <a:gd name="connsiteX78" fmla="*/ 548854 w 1428743"/>
                <a:gd name="connsiteY78" fmla="*/ 1925712 h 3108142"/>
                <a:gd name="connsiteX79" fmla="*/ 548437 w 1428743"/>
                <a:gd name="connsiteY79" fmla="*/ 1928385 h 3108142"/>
                <a:gd name="connsiteX80" fmla="*/ 547935 w 1428743"/>
                <a:gd name="connsiteY80" fmla="*/ 1930892 h 3108142"/>
                <a:gd name="connsiteX81" fmla="*/ 547267 w 1428743"/>
                <a:gd name="connsiteY81" fmla="*/ 1933482 h 3108142"/>
                <a:gd name="connsiteX82" fmla="*/ 546515 w 1428743"/>
                <a:gd name="connsiteY82" fmla="*/ 1935905 h 3108142"/>
                <a:gd name="connsiteX83" fmla="*/ 545596 w 1428743"/>
                <a:gd name="connsiteY83" fmla="*/ 1938328 h 3108142"/>
                <a:gd name="connsiteX84" fmla="*/ 544677 w 1428743"/>
                <a:gd name="connsiteY84" fmla="*/ 1940668 h 3108142"/>
                <a:gd name="connsiteX85" fmla="*/ 543591 w 1428743"/>
                <a:gd name="connsiteY85" fmla="*/ 1942924 h 3108142"/>
                <a:gd name="connsiteX86" fmla="*/ 542421 w 1428743"/>
                <a:gd name="connsiteY86" fmla="*/ 1945180 h 3108142"/>
                <a:gd name="connsiteX87" fmla="*/ 541084 w 1428743"/>
                <a:gd name="connsiteY87" fmla="*/ 1947352 h 3108142"/>
                <a:gd name="connsiteX88" fmla="*/ 539747 w 1428743"/>
                <a:gd name="connsiteY88" fmla="*/ 1949441 h 3108142"/>
                <a:gd name="connsiteX89" fmla="*/ 538244 w 1428743"/>
                <a:gd name="connsiteY89" fmla="*/ 1951446 h 3108142"/>
                <a:gd name="connsiteX90" fmla="*/ 536656 w 1428743"/>
                <a:gd name="connsiteY90" fmla="*/ 1953451 h 3108142"/>
                <a:gd name="connsiteX91" fmla="*/ 534985 w 1428743"/>
                <a:gd name="connsiteY91" fmla="*/ 1955289 h 3108142"/>
                <a:gd name="connsiteX92" fmla="*/ 533230 w 1428743"/>
                <a:gd name="connsiteY92" fmla="*/ 1957127 h 3108142"/>
                <a:gd name="connsiteX93" fmla="*/ 531309 w 1428743"/>
                <a:gd name="connsiteY93" fmla="*/ 1958798 h 3108142"/>
                <a:gd name="connsiteX94" fmla="*/ 529470 w 1428743"/>
                <a:gd name="connsiteY94" fmla="*/ 1960386 h 3108142"/>
                <a:gd name="connsiteX95" fmla="*/ 527381 w 1428743"/>
                <a:gd name="connsiteY95" fmla="*/ 1961890 h 3108142"/>
                <a:gd name="connsiteX96" fmla="*/ 525376 w 1428743"/>
                <a:gd name="connsiteY96" fmla="*/ 1963310 h 3108142"/>
                <a:gd name="connsiteX97" fmla="*/ 523121 w 1428743"/>
                <a:gd name="connsiteY97" fmla="*/ 1964647 h 3108142"/>
                <a:gd name="connsiteX98" fmla="*/ 521032 w 1428743"/>
                <a:gd name="connsiteY98" fmla="*/ 1965900 h 3108142"/>
                <a:gd name="connsiteX99" fmla="*/ 518608 w 1428743"/>
                <a:gd name="connsiteY99" fmla="*/ 1967070 h 3108142"/>
                <a:gd name="connsiteX100" fmla="*/ 516436 w 1428743"/>
                <a:gd name="connsiteY100" fmla="*/ 1968073 h 3108142"/>
                <a:gd name="connsiteX101" fmla="*/ 513763 w 1428743"/>
                <a:gd name="connsiteY101" fmla="*/ 1969075 h 3108142"/>
                <a:gd name="connsiteX102" fmla="*/ 511674 w 1428743"/>
                <a:gd name="connsiteY102" fmla="*/ 1969827 h 3108142"/>
                <a:gd name="connsiteX103" fmla="*/ 508749 w 1428743"/>
                <a:gd name="connsiteY103" fmla="*/ 1970579 h 3108142"/>
                <a:gd name="connsiteX104" fmla="*/ 506661 w 1428743"/>
                <a:gd name="connsiteY104" fmla="*/ 1971081 h 3108142"/>
                <a:gd name="connsiteX105" fmla="*/ 503235 w 1428743"/>
                <a:gd name="connsiteY105" fmla="*/ 1971582 h 3108142"/>
                <a:gd name="connsiteX106" fmla="*/ 501480 w 1428743"/>
                <a:gd name="connsiteY106" fmla="*/ 1971833 h 3108142"/>
                <a:gd name="connsiteX107" fmla="*/ 496133 w 1428743"/>
                <a:gd name="connsiteY107" fmla="*/ 1972083 h 3108142"/>
                <a:gd name="connsiteX108" fmla="*/ 417093 w 1428743"/>
                <a:gd name="connsiteY108" fmla="*/ 1972083 h 3108142"/>
                <a:gd name="connsiteX109" fmla="*/ 417093 w 1428743"/>
                <a:gd name="connsiteY109" fmla="*/ 2038507 h 3108142"/>
                <a:gd name="connsiteX110" fmla="*/ 364037 w 1428743"/>
                <a:gd name="connsiteY110" fmla="*/ 2091563 h 3108142"/>
                <a:gd name="connsiteX111" fmla="*/ 278981 w 1428743"/>
                <a:gd name="connsiteY111" fmla="*/ 2091563 h 3108142"/>
                <a:gd name="connsiteX112" fmla="*/ 278981 w 1428743"/>
                <a:gd name="connsiteY112" fmla="*/ 2388341 h 3108142"/>
                <a:gd name="connsiteX113" fmla="*/ 278981 w 1428743"/>
                <a:gd name="connsiteY113" fmla="*/ 2434294 h 3108142"/>
                <a:gd name="connsiteX114" fmla="*/ 316329 w 1428743"/>
                <a:gd name="connsiteY114" fmla="*/ 2484927 h 3108142"/>
                <a:gd name="connsiteX115" fmla="*/ 332037 w 1428743"/>
                <a:gd name="connsiteY115" fmla="*/ 2487350 h 3108142"/>
                <a:gd name="connsiteX116" fmla="*/ 414837 w 1428743"/>
                <a:gd name="connsiteY116" fmla="*/ 2487350 h 3108142"/>
                <a:gd name="connsiteX117" fmla="*/ 416257 w 1428743"/>
                <a:gd name="connsiteY117" fmla="*/ 2487350 h 3108142"/>
                <a:gd name="connsiteX118" fmla="*/ 416842 w 1428743"/>
                <a:gd name="connsiteY118" fmla="*/ 2729986 h 3108142"/>
                <a:gd name="connsiteX119" fmla="*/ 416842 w 1428743"/>
                <a:gd name="connsiteY119" fmla="*/ 2731907 h 3108142"/>
                <a:gd name="connsiteX120" fmla="*/ 416842 w 1428743"/>
                <a:gd name="connsiteY120" fmla="*/ 2731907 h 3108142"/>
                <a:gd name="connsiteX121" fmla="*/ 345071 w 1428743"/>
                <a:gd name="connsiteY121" fmla="*/ 2731907 h 3108142"/>
                <a:gd name="connsiteX122" fmla="*/ 282824 w 1428743"/>
                <a:gd name="connsiteY122" fmla="*/ 2778947 h 3108142"/>
                <a:gd name="connsiteX123" fmla="*/ 281404 w 1428743"/>
                <a:gd name="connsiteY123" fmla="*/ 2791229 h 3108142"/>
                <a:gd name="connsiteX124" fmla="*/ 281237 w 1428743"/>
                <a:gd name="connsiteY124" fmla="*/ 2818384 h 3108142"/>
                <a:gd name="connsiteX125" fmla="*/ 228181 w 1428743"/>
                <a:gd name="connsiteY125" fmla="*/ 2871440 h 3108142"/>
                <a:gd name="connsiteX126" fmla="*/ 141036 w 1428743"/>
                <a:gd name="connsiteY126" fmla="*/ 2871440 h 3108142"/>
                <a:gd name="connsiteX127" fmla="*/ 141036 w 1428743"/>
                <a:gd name="connsiteY127" fmla="*/ 2994011 h 3108142"/>
                <a:gd name="connsiteX128" fmla="*/ 140702 w 1428743"/>
                <a:gd name="connsiteY128" fmla="*/ 2994011 h 3108142"/>
                <a:gd name="connsiteX129" fmla="*/ 140702 w 1428743"/>
                <a:gd name="connsiteY129" fmla="*/ 2997019 h 3108142"/>
                <a:gd name="connsiteX130" fmla="*/ 268871 w 1428743"/>
                <a:gd name="connsiteY130" fmla="*/ 2997019 h 3108142"/>
                <a:gd name="connsiteX131" fmla="*/ 319420 w 1428743"/>
                <a:gd name="connsiteY131" fmla="*/ 3047568 h 3108142"/>
                <a:gd name="connsiteX132" fmla="*/ 319420 w 1428743"/>
                <a:gd name="connsiteY132" fmla="*/ 3065114 h 3108142"/>
                <a:gd name="connsiteX133" fmla="*/ 292349 w 1428743"/>
                <a:gd name="connsiteY133" fmla="*/ 3109814 h 3108142"/>
                <a:gd name="connsiteX134" fmla="*/ 344736 w 1428743"/>
                <a:gd name="connsiteY134" fmla="*/ 3109814 h 3108142"/>
                <a:gd name="connsiteX135" fmla="*/ 415589 w 1428743"/>
                <a:gd name="connsiteY135" fmla="*/ 3044476 h 3108142"/>
                <a:gd name="connsiteX136" fmla="*/ 476832 w 1428743"/>
                <a:gd name="connsiteY136" fmla="*/ 2987995 h 3108142"/>
                <a:gd name="connsiteX137" fmla="*/ 578015 w 1428743"/>
                <a:gd name="connsiteY137" fmla="*/ 2987995 h 3108142"/>
                <a:gd name="connsiteX138" fmla="*/ 621461 w 1428743"/>
                <a:gd name="connsiteY138" fmla="*/ 2987995 h 3108142"/>
                <a:gd name="connsiteX139" fmla="*/ 1242589 w 1428743"/>
                <a:gd name="connsiteY139" fmla="*/ 2987995 h 3108142"/>
                <a:gd name="connsiteX140" fmla="*/ 1242589 w 1428743"/>
                <a:gd name="connsiteY140" fmla="*/ 2995515 h 3108142"/>
                <a:gd name="connsiteX141" fmla="*/ 1342851 w 1428743"/>
                <a:gd name="connsiteY141" fmla="*/ 3095777 h 3108142"/>
                <a:gd name="connsiteX142" fmla="*/ 1431417 w 1428743"/>
                <a:gd name="connsiteY142" fmla="*/ 3095777 h 3108142"/>
                <a:gd name="connsiteX143" fmla="*/ 1431417 w 1428743"/>
                <a:gd name="connsiteY143" fmla="*/ 3081490 h 3108142"/>
                <a:gd name="connsiteX144" fmla="*/ 1431417 w 1428743"/>
                <a:gd name="connsiteY144" fmla="*/ 2684283 h 3108142"/>
                <a:gd name="connsiteX145" fmla="*/ 1431417 w 1428743"/>
                <a:gd name="connsiteY145" fmla="*/ 1082168 h 3108142"/>
                <a:gd name="connsiteX146" fmla="*/ 1313107 w 1428743"/>
                <a:gd name="connsiteY146" fmla="*/ 1082168 h 3108142"/>
                <a:gd name="connsiteX147" fmla="*/ 1120519 w 1428743"/>
                <a:gd name="connsiteY147" fmla="*/ 1150848 h 3108142"/>
                <a:gd name="connsiteX148" fmla="*/ 1067881 w 1428743"/>
                <a:gd name="connsiteY148" fmla="*/ 1203486 h 3108142"/>
                <a:gd name="connsiteX149" fmla="*/ 1049583 w 1428743"/>
                <a:gd name="connsiteY149" fmla="*/ 1203486 h 3108142"/>
                <a:gd name="connsiteX150" fmla="*/ 996945 w 1428743"/>
                <a:gd name="connsiteY150" fmla="*/ 1151851 h 3108142"/>
                <a:gd name="connsiteX151" fmla="*/ 925926 w 1428743"/>
                <a:gd name="connsiteY151" fmla="*/ 1082085 h 3108142"/>
                <a:gd name="connsiteX152" fmla="*/ 891418 w 1428743"/>
                <a:gd name="connsiteY152" fmla="*/ 1082085 h 3108142"/>
                <a:gd name="connsiteX153" fmla="*/ 838781 w 1428743"/>
                <a:gd name="connsiteY153" fmla="*/ 1029447 h 3108142"/>
                <a:gd name="connsiteX154" fmla="*/ 838781 w 1428743"/>
                <a:gd name="connsiteY154" fmla="*/ 1011149 h 3108142"/>
                <a:gd name="connsiteX155" fmla="*/ 891418 w 1428743"/>
                <a:gd name="connsiteY155" fmla="*/ 958511 h 3108142"/>
                <a:gd name="connsiteX156" fmla="*/ 1035964 w 1428743"/>
                <a:gd name="connsiteY156" fmla="*/ 958511 h 3108142"/>
                <a:gd name="connsiteX157" fmla="*/ 1043818 w 1428743"/>
                <a:gd name="connsiteY157" fmla="*/ 958093 h 3108142"/>
                <a:gd name="connsiteX158" fmla="*/ 1049583 w 1428743"/>
                <a:gd name="connsiteY158" fmla="*/ 957759 h 3108142"/>
                <a:gd name="connsiteX159" fmla="*/ 1067881 w 1428743"/>
                <a:gd name="connsiteY159" fmla="*/ 957759 h 3108142"/>
                <a:gd name="connsiteX160" fmla="*/ 1120519 w 1428743"/>
                <a:gd name="connsiteY160" fmla="*/ 1010397 h 3108142"/>
                <a:gd name="connsiteX161" fmla="*/ 1120519 w 1428743"/>
                <a:gd name="connsiteY161" fmla="*/ 1150848 h 310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428743" h="3108142">
                  <a:moveTo>
                    <a:pt x="1313107" y="1082168"/>
                  </a:moveTo>
                  <a:cubicBezTo>
                    <a:pt x="1284198" y="1082168"/>
                    <a:pt x="1260469" y="1058440"/>
                    <a:pt x="1260469" y="1029531"/>
                  </a:cubicBezTo>
                  <a:lnTo>
                    <a:pt x="1260469" y="1011233"/>
                  </a:lnTo>
                  <a:cubicBezTo>
                    <a:pt x="1260469" y="982324"/>
                    <a:pt x="1284114" y="958595"/>
                    <a:pt x="1313107" y="958595"/>
                  </a:cubicBezTo>
                  <a:lnTo>
                    <a:pt x="1429244" y="958595"/>
                  </a:lnTo>
                  <a:lnTo>
                    <a:pt x="1429662" y="523622"/>
                  </a:lnTo>
                  <a:lnTo>
                    <a:pt x="1109156" y="523622"/>
                  </a:lnTo>
                  <a:lnTo>
                    <a:pt x="1109156" y="84973"/>
                  </a:lnTo>
                  <a:cubicBezTo>
                    <a:pt x="1109156" y="38100"/>
                    <a:pt x="1071139" y="0"/>
                    <a:pt x="1024183" y="0"/>
                  </a:cubicBezTo>
                  <a:lnTo>
                    <a:pt x="0" y="0"/>
                  </a:lnTo>
                  <a:lnTo>
                    <a:pt x="0" y="250406"/>
                  </a:lnTo>
                  <a:lnTo>
                    <a:pt x="72189" y="250406"/>
                  </a:lnTo>
                  <a:cubicBezTo>
                    <a:pt x="138362" y="250406"/>
                    <a:pt x="191919" y="304047"/>
                    <a:pt x="191919" y="370136"/>
                  </a:cubicBezTo>
                  <a:lnTo>
                    <a:pt x="191919" y="526296"/>
                  </a:lnTo>
                  <a:lnTo>
                    <a:pt x="774195" y="526296"/>
                  </a:lnTo>
                  <a:cubicBezTo>
                    <a:pt x="774195" y="693734"/>
                    <a:pt x="771605" y="807282"/>
                    <a:pt x="771855" y="933613"/>
                  </a:cubicBezTo>
                  <a:cubicBezTo>
                    <a:pt x="772775" y="940547"/>
                    <a:pt x="772858" y="944307"/>
                    <a:pt x="771855" y="944307"/>
                  </a:cubicBezTo>
                  <a:lnTo>
                    <a:pt x="765756" y="944307"/>
                  </a:lnTo>
                  <a:cubicBezTo>
                    <a:pt x="762748" y="944391"/>
                    <a:pt x="760075" y="944307"/>
                    <a:pt x="758069" y="944307"/>
                  </a:cubicBezTo>
                  <a:cubicBezTo>
                    <a:pt x="755646" y="944307"/>
                    <a:pt x="753223" y="944474"/>
                    <a:pt x="750884" y="944642"/>
                  </a:cubicBezTo>
                  <a:cubicBezTo>
                    <a:pt x="750132" y="944725"/>
                    <a:pt x="749380" y="944892"/>
                    <a:pt x="748628" y="944976"/>
                  </a:cubicBezTo>
                  <a:cubicBezTo>
                    <a:pt x="747040" y="945143"/>
                    <a:pt x="745453" y="945394"/>
                    <a:pt x="743949" y="945728"/>
                  </a:cubicBezTo>
                  <a:cubicBezTo>
                    <a:pt x="743782" y="945728"/>
                    <a:pt x="743531" y="945811"/>
                    <a:pt x="743364" y="945895"/>
                  </a:cubicBezTo>
                  <a:cubicBezTo>
                    <a:pt x="742696" y="946062"/>
                    <a:pt x="742027" y="946229"/>
                    <a:pt x="741359" y="946396"/>
                  </a:cubicBezTo>
                  <a:cubicBezTo>
                    <a:pt x="739938" y="946730"/>
                    <a:pt x="738602" y="947065"/>
                    <a:pt x="737265" y="947482"/>
                  </a:cubicBezTo>
                  <a:cubicBezTo>
                    <a:pt x="736346" y="947733"/>
                    <a:pt x="735510" y="948067"/>
                    <a:pt x="734591" y="948401"/>
                  </a:cubicBezTo>
                  <a:cubicBezTo>
                    <a:pt x="733338" y="948819"/>
                    <a:pt x="732001" y="949320"/>
                    <a:pt x="730748" y="949822"/>
                  </a:cubicBezTo>
                  <a:cubicBezTo>
                    <a:pt x="729829" y="950156"/>
                    <a:pt x="728993" y="950574"/>
                    <a:pt x="728158" y="950991"/>
                  </a:cubicBezTo>
                  <a:cubicBezTo>
                    <a:pt x="726904" y="951576"/>
                    <a:pt x="725735" y="952078"/>
                    <a:pt x="724565" y="952746"/>
                  </a:cubicBezTo>
                  <a:cubicBezTo>
                    <a:pt x="724147" y="952997"/>
                    <a:pt x="723729" y="953247"/>
                    <a:pt x="723228" y="953498"/>
                  </a:cubicBezTo>
                  <a:cubicBezTo>
                    <a:pt x="722810" y="953749"/>
                    <a:pt x="722392" y="953916"/>
                    <a:pt x="721975" y="954167"/>
                  </a:cubicBezTo>
                  <a:cubicBezTo>
                    <a:pt x="720805" y="954835"/>
                    <a:pt x="719719" y="955503"/>
                    <a:pt x="718549" y="956255"/>
                  </a:cubicBezTo>
                  <a:cubicBezTo>
                    <a:pt x="718382" y="956339"/>
                    <a:pt x="718299" y="956422"/>
                    <a:pt x="718131" y="956506"/>
                  </a:cubicBezTo>
                  <a:cubicBezTo>
                    <a:pt x="717463" y="956924"/>
                    <a:pt x="716795" y="957341"/>
                    <a:pt x="716210" y="957843"/>
                  </a:cubicBezTo>
                  <a:cubicBezTo>
                    <a:pt x="715123" y="958595"/>
                    <a:pt x="714037" y="959430"/>
                    <a:pt x="712951" y="960266"/>
                  </a:cubicBezTo>
                  <a:cubicBezTo>
                    <a:pt x="712199" y="960851"/>
                    <a:pt x="711531" y="961352"/>
                    <a:pt x="710779" y="962020"/>
                  </a:cubicBezTo>
                  <a:cubicBezTo>
                    <a:pt x="709692" y="962939"/>
                    <a:pt x="708690" y="963859"/>
                    <a:pt x="707687" y="964778"/>
                  </a:cubicBezTo>
                  <a:cubicBezTo>
                    <a:pt x="707019" y="965362"/>
                    <a:pt x="706434" y="965947"/>
                    <a:pt x="705766" y="966616"/>
                  </a:cubicBezTo>
                  <a:cubicBezTo>
                    <a:pt x="704763" y="967702"/>
                    <a:pt x="703761" y="968788"/>
                    <a:pt x="702758" y="969874"/>
                  </a:cubicBezTo>
                  <a:cubicBezTo>
                    <a:pt x="702257" y="970459"/>
                    <a:pt x="701672" y="971044"/>
                    <a:pt x="701254" y="971629"/>
                  </a:cubicBezTo>
                  <a:cubicBezTo>
                    <a:pt x="700168" y="972966"/>
                    <a:pt x="699165" y="974303"/>
                    <a:pt x="698162" y="975723"/>
                  </a:cubicBezTo>
                  <a:cubicBezTo>
                    <a:pt x="698162" y="975807"/>
                    <a:pt x="698079" y="975807"/>
                    <a:pt x="698079" y="975890"/>
                  </a:cubicBezTo>
                  <a:cubicBezTo>
                    <a:pt x="697828" y="976308"/>
                    <a:pt x="697494" y="976642"/>
                    <a:pt x="697243" y="977060"/>
                  </a:cubicBezTo>
                  <a:cubicBezTo>
                    <a:pt x="695990" y="978982"/>
                    <a:pt x="694737" y="980903"/>
                    <a:pt x="693651" y="982908"/>
                  </a:cubicBezTo>
                  <a:cubicBezTo>
                    <a:pt x="693567" y="983076"/>
                    <a:pt x="693483" y="983243"/>
                    <a:pt x="693400" y="983410"/>
                  </a:cubicBezTo>
                  <a:cubicBezTo>
                    <a:pt x="692397" y="985248"/>
                    <a:pt x="691478" y="987170"/>
                    <a:pt x="690643" y="989091"/>
                  </a:cubicBezTo>
                  <a:cubicBezTo>
                    <a:pt x="690392" y="989760"/>
                    <a:pt x="690141" y="990428"/>
                    <a:pt x="689891" y="991180"/>
                  </a:cubicBezTo>
                  <a:cubicBezTo>
                    <a:pt x="689306" y="992601"/>
                    <a:pt x="688721" y="994104"/>
                    <a:pt x="688303" y="995525"/>
                  </a:cubicBezTo>
                  <a:cubicBezTo>
                    <a:pt x="688053" y="996360"/>
                    <a:pt x="687802" y="997112"/>
                    <a:pt x="687635" y="997948"/>
                  </a:cubicBezTo>
                  <a:cubicBezTo>
                    <a:pt x="687635" y="998031"/>
                    <a:pt x="687635" y="998031"/>
                    <a:pt x="687635" y="998115"/>
                  </a:cubicBezTo>
                  <a:cubicBezTo>
                    <a:pt x="687217" y="999452"/>
                    <a:pt x="686883" y="1000872"/>
                    <a:pt x="686549" y="1002209"/>
                  </a:cubicBezTo>
                  <a:cubicBezTo>
                    <a:pt x="686549" y="1002376"/>
                    <a:pt x="686465" y="1002543"/>
                    <a:pt x="686465" y="1002627"/>
                  </a:cubicBezTo>
                  <a:cubicBezTo>
                    <a:pt x="686298" y="1003462"/>
                    <a:pt x="686131" y="1004214"/>
                    <a:pt x="686047" y="1005050"/>
                  </a:cubicBezTo>
                  <a:cubicBezTo>
                    <a:pt x="685295" y="1009227"/>
                    <a:pt x="684878" y="1013405"/>
                    <a:pt x="684878" y="1017833"/>
                  </a:cubicBezTo>
                  <a:cubicBezTo>
                    <a:pt x="684460" y="1040225"/>
                    <a:pt x="653295" y="1068215"/>
                    <a:pt x="622381" y="1068800"/>
                  </a:cubicBezTo>
                  <a:cubicBezTo>
                    <a:pt x="620375" y="1068800"/>
                    <a:pt x="618454" y="1068967"/>
                    <a:pt x="616532" y="1069134"/>
                  </a:cubicBezTo>
                  <a:cubicBezTo>
                    <a:pt x="615947" y="1069218"/>
                    <a:pt x="615278" y="1069218"/>
                    <a:pt x="614694" y="1069302"/>
                  </a:cubicBezTo>
                  <a:cubicBezTo>
                    <a:pt x="614443" y="1069302"/>
                    <a:pt x="614109" y="1069385"/>
                    <a:pt x="613858" y="1069385"/>
                  </a:cubicBezTo>
                  <a:cubicBezTo>
                    <a:pt x="612103" y="1069636"/>
                    <a:pt x="610349" y="1069886"/>
                    <a:pt x="608594" y="1070221"/>
                  </a:cubicBezTo>
                  <a:cubicBezTo>
                    <a:pt x="608260" y="1070304"/>
                    <a:pt x="607842" y="1070388"/>
                    <a:pt x="607508" y="1070388"/>
                  </a:cubicBezTo>
                  <a:cubicBezTo>
                    <a:pt x="577430" y="1076738"/>
                    <a:pt x="554118" y="1101636"/>
                    <a:pt x="550024" y="1132383"/>
                  </a:cubicBezTo>
                  <a:lnTo>
                    <a:pt x="549774" y="1192875"/>
                  </a:lnTo>
                  <a:lnTo>
                    <a:pt x="549273" y="1192875"/>
                  </a:lnTo>
                  <a:lnTo>
                    <a:pt x="549273" y="1192875"/>
                  </a:lnTo>
                  <a:lnTo>
                    <a:pt x="778373" y="1192875"/>
                  </a:lnTo>
                  <a:cubicBezTo>
                    <a:pt x="812127" y="1192875"/>
                    <a:pt x="839783" y="1220531"/>
                    <a:pt x="839783" y="1254286"/>
                  </a:cubicBezTo>
                  <a:lnTo>
                    <a:pt x="839783" y="1275675"/>
                  </a:lnTo>
                  <a:cubicBezTo>
                    <a:pt x="839783" y="1309431"/>
                    <a:pt x="812127" y="1337086"/>
                    <a:pt x="778373" y="1337086"/>
                  </a:cubicBezTo>
                  <a:lnTo>
                    <a:pt x="549273" y="1337086"/>
                  </a:lnTo>
                  <a:lnTo>
                    <a:pt x="549273" y="1591586"/>
                  </a:lnTo>
                  <a:lnTo>
                    <a:pt x="549273" y="1845418"/>
                  </a:lnTo>
                  <a:lnTo>
                    <a:pt x="549356" y="1845418"/>
                  </a:lnTo>
                  <a:lnTo>
                    <a:pt x="549356" y="1900730"/>
                  </a:lnTo>
                  <a:lnTo>
                    <a:pt x="549356" y="1912009"/>
                  </a:lnTo>
                  <a:lnTo>
                    <a:pt x="549356" y="1919195"/>
                  </a:lnTo>
                  <a:cubicBezTo>
                    <a:pt x="549356" y="1919529"/>
                    <a:pt x="549273" y="1919947"/>
                    <a:pt x="549273" y="1920281"/>
                  </a:cubicBezTo>
                  <a:lnTo>
                    <a:pt x="549273" y="1921618"/>
                  </a:lnTo>
                  <a:cubicBezTo>
                    <a:pt x="549273" y="1922119"/>
                    <a:pt x="549189" y="1922620"/>
                    <a:pt x="549105" y="1923122"/>
                  </a:cubicBezTo>
                  <a:cubicBezTo>
                    <a:pt x="549022" y="1923957"/>
                    <a:pt x="548938" y="1924793"/>
                    <a:pt x="548854" y="1925712"/>
                  </a:cubicBezTo>
                  <a:cubicBezTo>
                    <a:pt x="548771" y="1926631"/>
                    <a:pt x="548604" y="1927466"/>
                    <a:pt x="548437" y="1928385"/>
                  </a:cubicBezTo>
                  <a:cubicBezTo>
                    <a:pt x="548269" y="1929221"/>
                    <a:pt x="548103" y="1930057"/>
                    <a:pt x="547935" y="1930892"/>
                  </a:cubicBezTo>
                  <a:cubicBezTo>
                    <a:pt x="547768" y="1931728"/>
                    <a:pt x="547518" y="1932563"/>
                    <a:pt x="547267" y="1933482"/>
                  </a:cubicBezTo>
                  <a:cubicBezTo>
                    <a:pt x="547016" y="1934318"/>
                    <a:pt x="546849" y="1935070"/>
                    <a:pt x="546515" y="1935905"/>
                  </a:cubicBezTo>
                  <a:cubicBezTo>
                    <a:pt x="546264" y="1936741"/>
                    <a:pt x="545930" y="1937493"/>
                    <a:pt x="545596" y="1938328"/>
                  </a:cubicBezTo>
                  <a:cubicBezTo>
                    <a:pt x="545262" y="1939080"/>
                    <a:pt x="545011" y="1939916"/>
                    <a:pt x="544677" y="1940668"/>
                  </a:cubicBezTo>
                  <a:cubicBezTo>
                    <a:pt x="544343" y="1941420"/>
                    <a:pt x="543925" y="1942172"/>
                    <a:pt x="543591" y="1942924"/>
                  </a:cubicBezTo>
                  <a:cubicBezTo>
                    <a:pt x="543173" y="1943676"/>
                    <a:pt x="542839" y="1944428"/>
                    <a:pt x="542421" y="1945180"/>
                  </a:cubicBezTo>
                  <a:cubicBezTo>
                    <a:pt x="542003" y="1945931"/>
                    <a:pt x="541585" y="1946600"/>
                    <a:pt x="541084" y="1947352"/>
                  </a:cubicBezTo>
                  <a:cubicBezTo>
                    <a:pt x="540666" y="1948020"/>
                    <a:pt x="540165" y="1948772"/>
                    <a:pt x="539747" y="1949441"/>
                  </a:cubicBezTo>
                  <a:cubicBezTo>
                    <a:pt x="539246" y="1950109"/>
                    <a:pt x="538745" y="1950778"/>
                    <a:pt x="538244" y="1951446"/>
                  </a:cubicBezTo>
                  <a:cubicBezTo>
                    <a:pt x="537742" y="1952114"/>
                    <a:pt x="537241" y="1952783"/>
                    <a:pt x="536656" y="1953451"/>
                  </a:cubicBezTo>
                  <a:cubicBezTo>
                    <a:pt x="536155" y="1954120"/>
                    <a:pt x="535570" y="1954704"/>
                    <a:pt x="534985" y="1955289"/>
                  </a:cubicBezTo>
                  <a:cubicBezTo>
                    <a:pt x="534400" y="1955874"/>
                    <a:pt x="533815" y="1956543"/>
                    <a:pt x="533230" y="1957127"/>
                  </a:cubicBezTo>
                  <a:cubicBezTo>
                    <a:pt x="532645" y="1957712"/>
                    <a:pt x="531977" y="1958297"/>
                    <a:pt x="531309" y="1958798"/>
                  </a:cubicBezTo>
                  <a:cubicBezTo>
                    <a:pt x="530724" y="1959383"/>
                    <a:pt x="530055" y="1959885"/>
                    <a:pt x="529470" y="1960386"/>
                  </a:cubicBezTo>
                  <a:cubicBezTo>
                    <a:pt x="528802" y="1960887"/>
                    <a:pt x="528134" y="1961389"/>
                    <a:pt x="527381" y="1961890"/>
                  </a:cubicBezTo>
                  <a:cubicBezTo>
                    <a:pt x="526713" y="1962391"/>
                    <a:pt x="526045" y="1962893"/>
                    <a:pt x="525376" y="1963310"/>
                  </a:cubicBezTo>
                  <a:cubicBezTo>
                    <a:pt x="524625" y="1963812"/>
                    <a:pt x="523872" y="1964229"/>
                    <a:pt x="523121" y="1964647"/>
                  </a:cubicBezTo>
                  <a:cubicBezTo>
                    <a:pt x="522452" y="1965065"/>
                    <a:pt x="521784" y="1965483"/>
                    <a:pt x="521032" y="1965900"/>
                  </a:cubicBezTo>
                  <a:cubicBezTo>
                    <a:pt x="520196" y="1966318"/>
                    <a:pt x="519444" y="1966736"/>
                    <a:pt x="518608" y="1967070"/>
                  </a:cubicBezTo>
                  <a:cubicBezTo>
                    <a:pt x="517857" y="1967404"/>
                    <a:pt x="517188" y="1967739"/>
                    <a:pt x="516436" y="1968073"/>
                  </a:cubicBezTo>
                  <a:cubicBezTo>
                    <a:pt x="515601" y="1968407"/>
                    <a:pt x="514682" y="1968741"/>
                    <a:pt x="513763" y="1969075"/>
                  </a:cubicBezTo>
                  <a:cubicBezTo>
                    <a:pt x="513094" y="1969326"/>
                    <a:pt x="512342" y="1969577"/>
                    <a:pt x="511674" y="1969827"/>
                  </a:cubicBezTo>
                  <a:cubicBezTo>
                    <a:pt x="510671" y="1970162"/>
                    <a:pt x="509752" y="1970329"/>
                    <a:pt x="508749" y="1970579"/>
                  </a:cubicBezTo>
                  <a:cubicBezTo>
                    <a:pt x="508081" y="1970747"/>
                    <a:pt x="507413" y="1970997"/>
                    <a:pt x="506661" y="1971081"/>
                  </a:cubicBezTo>
                  <a:cubicBezTo>
                    <a:pt x="505491" y="1971331"/>
                    <a:pt x="504321" y="1971415"/>
                    <a:pt x="503235" y="1971582"/>
                  </a:cubicBezTo>
                  <a:cubicBezTo>
                    <a:pt x="502650" y="1971666"/>
                    <a:pt x="502065" y="1971749"/>
                    <a:pt x="501480" y="1971833"/>
                  </a:cubicBezTo>
                  <a:cubicBezTo>
                    <a:pt x="499726" y="1972000"/>
                    <a:pt x="497971" y="1972083"/>
                    <a:pt x="496133" y="1972083"/>
                  </a:cubicBezTo>
                  <a:lnTo>
                    <a:pt x="417093" y="1972083"/>
                  </a:lnTo>
                  <a:lnTo>
                    <a:pt x="417093" y="2038507"/>
                  </a:lnTo>
                  <a:cubicBezTo>
                    <a:pt x="417093" y="2067667"/>
                    <a:pt x="393197" y="2091563"/>
                    <a:pt x="364037" y="2091563"/>
                  </a:cubicBezTo>
                  <a:lnTo>
                    <a:pt x="278981" y="2091563"/>
                  </a:lnTo>
                  <a:lnTo>
                    <a:pt x="278981" y="2388341"/>
                  </a:lnTo>
                  <a:lnTo>
                    <a:pt x="278981" y="2434294"/>
                  </a:lnTo>
                  <a:cubicBezTo>
                    <a:pt x="278981" y="2458023"/>
                    <a:pt x="294772" y="2478159"/>
                    <a:pt x="316329" y="2484927"/>
                  </a:cubicBezTo>
                  <a:cubicBezTo>
                    <a:pt x="321342" y="2486514"/>
                    <a:pt x="326606" y="2487350"/>
                    <a:pt x="332037" y="2487350"/>
                  </a:cubicBezTo>
                  <a:lnTo>
                    <a:pt x="414837" y="2487350"/>
                  </a:lnTo>
                  <a:lnTo>
                    <a:pt x="416257" y="2487350"/>
                  </a:lnTo>
                  <a:lnTo>
                    <a:pt x="416842" y="2729986"/>
                  </a:lnTo>
                  <a:lnTo>
                    <a:pt x="416842" y="2731907"/>
                  </a:lnTo>
                  <a:lnTo>
                    <a:pt x="416842" y="2731907"/>
                  </a:lnTo>
                  <a:lnTo>
                    <a:pt x="345071" y="2731907"/>
                  </a:lnTo>
                  <a:cubicBezTo>
                    <a:pt x="315493" y="2731907"/>
                    <a:pt x="289091" y="2751458"/>
                    <a:pt x="282824" y="2778947"/>
                  </a:cubicBezTo>
                  <a:cubicBezTo>
                    <a:pt x="281905" y="2782874"/>
                    <a:pt x="281487" y="2786968"/>
                    <a:pt x="281404" y="2791229"/>
                  </a:cubicBezTo>
                  <a:lnTo>
                    <a:pt x="281237" y="2818384"/>
                  </a:lnTo>
                  <a:cubicBezTo>
                    <a:pt x="281070" y="2847544"/>
                    <a:pt x="257341" y="2871440"/>
                    <a:pt x="228181" y="2871440"/>
                  </a:cubicBezTo>
                  <a:lnTo>
                    <a:pt x="141036" y="2871440"/>
                  </a:lnTo>
                  <a:lnTo>
                    <a:pt x="141036" y="2994011"/>
                  </a:lnTo>
                  <a:lnTo>
                    <a:pt x="140702" y="2994011"/>
                  </a:lnTo>
                  <a:lnTo>
                    <a:pt x="140702" y="2997019"/>
                  </a:lnTo>
                  <a:lnTo>
                    <a:pt x="268871" y="2997019"/>
                  </a:lnTo>
                  <a:cubicBezTo>
                    <a:pt x="296694" y="2997019"/>
                    <a:pt x="319420" y="3019745"/>
                    <a:pt x="319420" y="3047568"/>
                  </a:cubicBezTo>
                  <a:lnTo>
                    <a:pt x="319420" y="3065114"/>
                  </a:lnTo>
                  <a:cubicBezTo>
                    <a:pt x="319420" y="3084414"/>
                    <a:pt x="308391" y="3101292"/>
                    <a:pt x="292349" y="3109814"/>
                  </a:cubicBezTo>
                  <a:lnTo>
                    <a:pt x="344736" y="3109814"/>
                  </a:lnTo>
                  <a:cubicBezTo>
                    <a:pt x="381834" y="3109814"/>
                    <a:pt x="412581" y="3081490"/>
                    <a:pt x="415589" y="3044476"/>
                  </a:cubicBezTo>
                  <a:cubicBezTo>
                    <a:pt x="418095" y="3012977"/>
                    <a:pt x="444749" y="2987995"/>
                    <a:pt x="476832" y="2987995"/>
                  </a:cubicBezTo>
                  <a:lnTo>
                    <a:pt x="578015" y="2987995"/>
                  </a:lnTo>
                  <a:lnTo>
                    <a:pt x="621461" y="2987995"/>
                  </a:lnTo>
                  <a:lnTo>
                    <a:pt x="1242589" y="2987995"/>
                  </a:lnTo>
                  <a:lnTo>
                    <a:pt x="1242589" y="2995515"/>
                  </a:lnTo>
                  <a:cubicBezTo>
                    <a:pt x="1242589" y="3050659"/>
                    <a:pt x="1287707" y="3095777"/>
                    <a:pt x="1342851" y="3095777"/>
                  </a:cubicBezTo>
                  <a:lnTo>
                    <a:pt x="1431417" y="3095777"/>
                  </a:lnTo>
                  <a:lnTo>
                    <a:pt x="1431417" y="3081490"/>
                  </a:lnTo>
                  <a:lnTo>
                    <a:pt x="1431417" y="2684283"/>
                  </a:lnTo>
                  <a:lnTo>
                    <a:pt x="1431417" y="1082168"/>
                  </a:lnTo>
                  <a:lnTo>
                    <a:pt x="1313107" y="1082168"/>
                  </a:lnTo>
                  <a:close/>
                  <a:moveTo>
                    <a:pt x="1120519" y="1150848"/>
                  </a:moveTo>
                  <a:cubicBezTo>
                    <a:pt x="1120519" y="1179758"/>
                    <a:pt x="1096874" y="1203486"/>
                    <a:pt x="1067881" y="1203486"/>
                  </a:cubicBezTo>
                  <a:lnTo>
                    <a:pt x="1049583" y="1203486"/>
                  </a:lnTo>
                  <a:cubicBezTo>
                    <a:pt x="1021008" y="1203486"/>
                    <a:pt x="997530" y="1180342"/>
                    <a:pt x="996945" y="1151851"/>
                  </a:cubicBezTo>
                  <a:cubicBezTo>
                    <a:pt x="996193" y="1113166"/>
                    <a:pt x="964610" y="1082085"/>
                    <a:pt x="925926" y="1082085"/>
                  </a:cubicBezTo>
                  <a:lnTo>
                    <a:pt x="891418" y="1082085"/>
                  </a:lnTo>
                  <a:cubicBezTo>
                    <a:pt x="862510" y="1082085"/>
                    <a:pt x="838781" y="1058440"/>
                    <a:pt x="838781" y="1029447"/>
                  </a:cubicBezTo>
                  <a:lnTo>
                    <a:pt x="838781" y="1011149"/>
                  </a:lnTo>
                  <a:cubicBezTo>
                    <a:pt x="838781" y="982240"/>
                    <a:pt x="862426" y="958511"/>
                    <a:pt x="891418" y="958511"/>
                  </a:cubicBezTo>
                  <a:lnTo>
                    <a:pt x="1035964" y="958511"/>
                  </a:lnTo>
                  <a:cubicBezTo>
                    <a:pt x="1038721" y="958511"/>
                    <a:pt x="1041061" y="958344"/>
                    <a:pt x="1043818" y="958093"/>
                  </a:cubicBezTo>
                  <a:cubicBezTo>
                    <a:pt x="1045740" y="957843"/>
                    <a:pt x="1047661" y="957759"/>
                    <a:pt x="1049583" y="957759"/>
                  </a:cubicBezTo>
                  <a:lnTo>
                    <a:pt x="1067881" y="957759"/>
                  </a:lnTo>
                  <a:cubicBezTo>
                    <a:pt x="1096790" y="957759"/>
                    <a:pt x="1120519" y="981404"/>
                    <a:pt x="1120519" y="1010397"/>
                  </a:cubicBezTo>
                  <a:lnTo>
                    <a:pt x="1120519" y="1150848"/>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78" name="Freeform: Shape 177">
              <a:extLst>
                <a:ext uri="{FF2B5EF4-FFF2-40B4-BE49-F238E27FC236}">
                  <a16:creationId xmlns:a16="http://schemas.microsoft.com/office/drawing/2014/main" id="{E92BED0F-C119-4A05-8FC0-08EB4984B83F}"/>
                </a:ext>
              </a:extLst>
            </p:cNvPr>
            <p:cNvSpPr/>
            <p:nvPr/>
          </p:nvSpPr>
          <p:spPr>
            <a:xfrm>
              <a:off x="14572979" y="1912161"/>
              <a:ext cx="1127955" cy="935785"/>
            </a:xfrm>
            <a:custGeom>
              <a:avLst/>
              <a:gdLst>
                <a:gd name="connsiteX0" fmla="*/ 1131882 w 1127955"/>
                <a:gd name="connsiteY0" fmla="*/ 275889 h 935784"/>
                <a:gd name="connsiteX1" fmla="*/ 549607 w 1127955"/>
                <a:gd name="connsiteY1" fmla="*/ 275889 h 935784"/>
                <a:gd name="connsiteX2" fmla="*/ 549607 w 1127955"/>
                <a:gd name="connsiteY2" fmla="*/ 119730 h 935784"/>
                <a:gd name="connsiteX3" fmla="*/ 429876 w 1127955"/>
                <a:gd name="connsiteY3" fmla="*/ 0 h 935784"/>
                <a:gd name="connsiteX4" fmla="*/ 357687 w 1127955"/>
                <a:gd name="connsiteY4" fmla="*/ 0 h 935784"/>
                <a:gd name="connsiteX5" fmla="*/ 357687 w 1127955"/>
                <a:gd name="connsiteY5" fmla="*/ 251 h 935784"/>
                <a:gd name="connsiteX6" fmla="*/ 218405 w 1127955"/>
                <a:gd name="connsiteY6" fmla="*/ 251 h 935784"/>
                <a:gd name="connsiteX7" fmla="*/ 218405 w 1127955"/>
                <a:gd name="connsiteY7" fmla="*/ 25316 h 935784"/>
                <a:gd name="connsiteX8" fmla="*/ 137611 w 1127955"/>
                <a:gd name="connsiteY8" fmla="*/ 106111 h 935784"/>
                <a:gd name="connsiteX9" fmla="*/ 0 w 1127955"/>
                <a:gd name="connsiteY9" fmla="*/ 106111 h 935784"/>
                <a:gd name="connsiteX10" fmla="*/ 0 w 1127955"/>
                <a:gd name="connsiteY10" fmla="*/ 522285 h 935784"/>
                <a:gd name="connsiteX11" fmla="*/ 237706 w 1127955"/>
                <a:gd name="connsiteY11" fmla="*/ 522285 h 935784"/>
                <a:gd name="connsiteX12" fmla="*/ 237706 w 1127955"/>
                <a:gd name="connsiteY12" fmla="*/ 869110 h 935784"/>
                <a:gd name="connsiteX13" fmla="*/ 310898 w 1127955"/>
                <a:gd name="connsiteY13" fmla="*/ 942302 h 935784"/>
                <a:gd name="connsiteX14" fmla="*/ 837277 w 1127955"/>
                <a:gd name="connsiteY14" fmla="*/ 942302 h 935784"/>
                <a:gd name="connsiteX15" fmla="*/ 907377 w 1127955"/>
                <a:gd name="connsiteY15" fmla="*/ 942302 h 935784"/>
                <a:gd name="connsiteX16" fmla="*/ 907628 w 1127955"/>
                <a:gd name="connsiteY16" fmla="*/ 881225 h 935784"/>
                <a:gd name="connsiteX17" fmla="*/ 976475 w 1127955"/>
                <a:gd name="connsiteY17" fmla="*/ 818394 h 935784"/>
                <a:gd name="connsiteX18" fmla="*/ 1043316 w 1127955"/>
                <a:gd name="connsiteY18" fmla="*/ 757234 h 935784"/>
                <a:gd name="connsiteX19" fmla="*/ 1115840 w 1127955"/>
                <a:gd name="connsiteY19" fmla="*/ 694152 h 935784"/>
                <a:gd name="connsiteX20" fmla="*/ 1129626 w 1127955"/>
                <a:gd name="connsiteY20" fmla="*/ 694152 h 935784"/>
                <a:gd name="connsiteX21" fmla="*/ 1131882 w 1127955"/>
                <a:gd name="connsiteY21" fmla="*/ 275889 h 93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7955" h="935784">
                  <a:moveTo>
                    <a:pt x="1131882" y="275889"/>
                  </a:moveTo>
                  <a:lnTo>
                    <a:pt x="549607" y="275889"/>
                  </a:lnTo>
                  <a:lnTo>
                    <a:pt x="549607" y="119730"/>
                  </a:lnTo>
                  <a:cubicBezTo>
                    <a:pt x="549607" y="53557"/>
                    <a:pt x="495966" y="0"/>
                    <a:pt x="429876" y="0"/>
                  </a:cubicBezTo>
                  <a:lnTo>
                    <a:pt x="357687" y="0"/>
                  </a:lnTo>
                  <a:lnTo>
                    <a:pt x="357687" y="251"/>
                  </a:lnTo>
                  <a:lnTo>
                    <a:pt x="218405" y="251"/>
                  </a:lnTo>
                  <a:lnTo>
                    <a:pt x="218405" y="25316"/>
                  </a:lnTo>
                  <a:cubicBezTo>
                    <a:pt x="218405" y="69933"/>
                    <a:pt x="182227" y="106111"/>
                    <a:pt x="137611" y="106111"/>
                  </a:cubicBezTo>
                  <a:lnTo>
                    <a:pt x="0" y="106111"/>
                  </a:lnTo>
                  <a:lnTo>
                    <a:pt x="0" y="522285"/>
                  </a:lnTo>
                  <a:lnTo>
                    <a:pt x="237706" y="522285"/>
                  </a:lnTo>
                  <a:lnTo>
                    <a:pt x="237706" y="869110"/>
                  </a:lnTo>
                  <a:cubicBezTo>
                    <a:pt x="237706" y="909382"/>
                    <a:pt x="270626" y="942302"/>
                    <a:pt x="310898" y="942302"/>
                  </a:cubicBezTo>
                  <a:lnTo>
                    <a:pt x="837277" y="942302"/>
                  </a:lnTo>
                  <a:lnTo>
                    <a:pt x="907377" y="942302"/>
                  </a:lnTo>
                  <a:lnTo>
                    <a:pt x="907628" y="881225"/>
                  </a:lnTo>
                  <a:cubicBezTo>
                    <a:pt x="907795" y="846635"/>
                    <a:pt x="941299" y="820065"/>
                    <a:pt x="976475" y="818394"/>
                  </a:cubicBezTo>
                  <a:cubicBezTo>
                    <a:pt x="1010899" y="816723"/>
                    <a:pt x="1038554" y="791323"/>
                    <a:pt x="1043316" y="757234"/>
                  </a:cubicBezTo>
                  <a:cubicBezTo>
                    <a:pt x="1048246" y="721724"/>
                    <a:pt x="1078993" y="694152"/>
                    <a:pt x="1115840" y="694152"/>
                  </a:cubicBezTo>
                  <a:lnTo>
                    <a:pt x="1129626" y="694152"/>
                  </a:lnTo>
                  <a:cubicBezTo>
                    <a:pt x="1129125" y="590547"/>
                    <a:pt x="1131882" y="448592"/>
                    <a:pt x="1131882" y="275889"/>
                  </a:cubicBez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sp>
          <p:nvSpPr>
            <p:cNvPr id="179" name="Freeform: Shape 178">
              <a:extLst>
                <a:ext uri="{FF2B5EF4-FFF2-40B4-BE49-F238E27FC236}">
                  <a16:creationId xmlns:a16="http://schemas.microsoft.com/office/drawing/2014/main" id="{79732437-6B0E-41C7-898E-8C19D3DCAD5E}"/>
                </a:ext>
              </a:extLst>
            </p:cNvPr>
            <p:cNvSpPr/>
            <p:nvPr/>
          </p:nvSpPr>
          <p:spPr>
            <a:xfrm>
              <a:off x="12872190" y="1661672"/>
              <a:ext cx="2055385" cy="1587492"/>
            </a:xfrm>
            <a:custGeom>
              <a:avLst/>
              <a:gdLst>
                <a:gd name="connsiteX0" fmla="*/ 756398 w 2055384"/>
                <a:gd name="connsiteY0" fmla="*/ 0 h 1587492"/>
                <a:gd name="connsiteX1" fmla="*/ 574004 w 2055384"/>
                <a:gd name="connsiteY1" fmla="*/ 182395 h 1587492"/>
                <a:gd name="connsiteX2" fmla="*/ 574004 w 2055384"/>
                <a:gd name="connsiteY2" fmla="*/ 389855 h 1587492"/>
                <a:gd name="connsiteX3" fmla="*/ 450096 w 2055384"/>
                <a:gd name="connsiteY3" fmla="*/ 389855 h 1587492"/>
                <a:gd name="connsiteX4" fmla="*/ 267701 w 2055384"/>
                <a:gd name="connsiteY4" fmla="*/ 572249 h 1587492"/>
                <a:gd name="connsiteX5" fmla="*/ 267701 w 2055384"/>
                <a:gd name="connsiteY5" fmla="*/ 935534 h 1587492"/>
                <a:gd name="connsiteX6" fmla="*/ 235367 w 2055384"/>
                <a:gd name="connsiteY6" fmla="*/ 945728 h 1587492"/>
                <a:gd name="connsiteX7" fmla="*/ 206541 w 2055384"/>
                <a:gd name="connsiteY7" fmla="*/ 956422 h 1587492"/>
                <a:gd name="connsiteX8" fmla="*/ 142540 w 2055384"/>
                <a:gd name="connsiteY8" fmla="*/ 1029029 h 1587492"/>
                <a:gd name="connsiteX9" fmla="*/ 142540 w 2055384"/>
                <a:gd name="connsiteY9" fmla="*/ 1264229 h 1587492"/>
                <a:gd name="connsiteX10" fmla="*/ 71855 w 2055384"/>
                <a:gd name="connsiteY10" fmla="*/ 1335248 h 1587492"/>
                <a:gd name="connsiteX11" fmla="*/ 0 w 2055384"/>
                <a:gd name="connsiteY11" fmla="*/ 1408440 h 1587492"/>
                <a:gd name="connsiteX12" fmla="*/ 0 w 2055384"/>
                <a:gd name="connsiteY12" fmla="*/ 1517225 h 1587492"/>
                <a:gd name="connsiteX13" fmla="*/ 73192 w 2055384"/>
                <a:gd name="connsiteY13" fmla="*/ 1590417 h 1587492"/>
                <a:gd name="connsiteX14" fmla="*/ 319420 w 2055384"/>
                <a:gd name="connsiteY14" fmla="*/ 1590417 h 1587492"/>
                <a:gd name="connsiteX15" fmla="*/ 392528 w 2055384"/>
                <a:gd name="connsiteY15" fmla="*/ 1520400 h 1587492"/>
                <a:gd name="connsiteX16" fmla="*/ 462796 w 2055384"/>
                <a:gd name="connsiteY16" fmla="*/ 1452389 h 1587492"/>
                <a:gd name="connsiteX17" fmla="*/ 534734 w 2055384"/>
                <a:gd name="connsiteY17" fmla="*/ 1387552 h 1587492"/>
                <a:gd name="connsiteX18" fmla="*/ 603414 w 2055384"/>
                <a:gd name="connsiteY18" fmla="*/ 1323635 h 1587492"/>
                <a:gd name="connsiteX19" fmla="*/ 621211 w 2055384"/>
                <a:gd name="connsiteY19" fmla="*/ 1323635 h 1587492"/>
                <a:gd name="connsiteX20" fmla="*/ 692230 w 2055384"/>
                <a:gd name="connsiteY20" fmla="*/ 1394654 h 1587492"/>
                <a:gd name="connsiteX21" fmla="*/ 692230 w 2055384"/>
                <a:gd name="connsiteY21" fmla="*/ 1232061 h 1587492"/>
                <a:gd name="connsiteX22" fmla="*/ 692230 w 2055384"/>
                <a:gd name="connsiteY22" fmla="*/ 1160039 h 1587492"/>
                <a:gd name="connsiteX23" fmla="*/ 692230 w 2055384"/>
                <a:gd name="connsiteY23" fmla="*/ 935117 h 1587492"/>
                <a:gd name="connsiteX24" fmla="*/ 691144 w 2055384"/>
                <a:gd name="connsiteY24" fmla="*/ 935117 h 1587492"/>
                <a:gd name="connsiteX25" fmla="*/ 691144 w 2055384"/>
                <a:gd name="connsiteY25" fmla="*/ 768681 h 1587492"/>
                <a:gd name="connsiteX26" fmla="*/ 695906 w 2055384"/>
                <a:gd name="connsiteY26" fmla="*/ 768681 h 1587492"/>
                <a:gd name="connsiteX27" fmla="*/ 778874 w 2055384"/>
                <a:gd name="connsiteY27" fmla="*/ 701839 h 1587492"/>
                <a:gd name="connsiteX28" fmla="*/ 990512 w 2055384"/>
                <a:gd name="connsiteY28" fmla="*/ 701839 h 1587492"/>
                <a:gd name="connsiteX29" fmla="*/ 990512 w 2055384"/>
                <a:gd name="connsiteY29" fmla="*/ 441490 h 1587492"/>
                <a:gd name="connsiteX30" fmla="*/ 1075484 w 2055384"/>
                <a:gd name="connsiteY30" fmla="*/ 356517 h 1587492"/>
                <a:gd name="connsiteX31" fmla="*/ 1257461 w 2055384"/>
                <a:gd name="connsiteY31" fmla="*/ 356517 h 1587492"/>
                <a:gd name="connsiteX32" fmla="*/ 1512797 w 2055384"/>
                <a:gd name="connsiteY32" fmla="*/ 356517 h 1587492"/>
                <a:gd name="connsiteX33" fmla="*/ 1838650 w 2055384"/>
                <a:gd name="connsiteY33" fmla="*/ 356517 h 1587492"/>
                <a:gd name="connsiteX34" fmla="*/ 1919445 w 2055384"/>
                <a:gd name="connsiteY34" fmla="*/ 275722 h 1587492"/>
                <a:gd name="connsiteX35" fmla="*/ 1919445 w 2055384"/>
                <a:gd name="connsiteY35" fmla="*/ 250657 h 1587492"/>
                <a:gd name="connsiteX36" fmla="*/ 2058727 w 2055384"/>
                <a:gd name="connsiteY36" fmla="*/ 250657 h 1587492"/>
                <a:gd name="connsiteX37" fmla="*/ 2058727 w 2055384"/>
                <a:gd name="connsiteY37" fmla="*/ 0 h 1587492"/>
                <a:gd name="connsiteX38" fmla="*/ 756398 w 2055384"/>
                <a:gd name="connsiteY38" fmla="*/ 0 h 158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55384" h="1587492">
                  <a:moveTo>
                    <a:pt x="756398" y="0"/>
                  </a:moveTo>
                  <a:cubicBezTo>
                    <a:pt x="655634" y="0"/>
                    <a:pt x="574004" y="81714"/>
                    <a:pt x="574004" y="182395"/>
                  </a:cubicBezTo>
                  <a:lnTo>
                    <a:pt x="574004" y="389855"/>
                  </a:lnTo>
                  <a:lnTo>
                    <a:pt x="450096" y="389855"/>
                  </a:lnTo>
                  <a:cubicBezTo>
                    <a:pt x="349332" y="389855"/>
                    <a:pt x="267701" y="471569"/>
                    <a:pt x="267701" y="572249"/>
                  </a:cubicBezTo>
                  <a:lnTo>
                    <a:pt x="267701" y="935534"/>
                  </a:lnTo>
                  <a:cubicBezTo>
                    <a:pt x="256004" y="936453"/>
                    <a:pt x="244975" y="939963"/>
                    <a:pt x="235367" y="945728"/>
                  </a:cubicBezTo>
                  <a:cubicBezTo>
                    <a:pt x="226510" y="951075"/>
                    <a:pt x="216818" y="955086"/>
                    <a:pt x="206541" y="956422"/>
                  </a:cubicBezTo>
                  <a:cubicBezTo>
                    <a:pt x="170530" y="960934"/>
                    <a:pt x="142540" y="991849"/>
                    <a:pt x="142540" y="1029029"/>
                  </a:cubicBezTo>
                  <a:lnTo>
                    <a:pt x="142540" y="1264229"/>
                  </a:lnTo>
                  <a:cubicBezTo>
                    <a:pt x="142540" y="1303081"/>
                    <a:pt x="110707" y="1334580"/>
                    <a:pt x="71855" y="1335248"/>
                  </a:cubicBezTo>
                  <a:cubicBezTo>
                    <a:pt x="32168" y="1335917"/>
                    <a:pt x="0" y="1368586"/>
                    <a:pt x="0" y="1408440"/>
                  </a:cubicBezTo>
                  <a:lnTo>
                    <a:pt x="0" y="1517225"/>
                  </a:lnTo>
                  <a:cubicBezTo>
                    <a:pt x="0" y="1557497"/>
                    <a:pt x="32920" y="1590417"/>
                    <a:pt x="73192" y="1590417"/>
                  </a:cubicBezTo>
                  <a:lnTo>
                    <a:pt x="319420" y="1590417"/>
                  </a:lnTo>
                  <a:cubicBezTo>
                    <a:pt x="358606" y="1590417"/>
                    <a:pt x="390857" y="1559168"/>
                    <a:pt x="392528" y="1520400"/>
                  </a:cubicBezTo>
                  <a:cubicBezTo>
                    <a:pt x="394199" y="1482634"/>
                    <a:pt x="424947" y="1452806"/>
                    <a:pt x="462796" y="1452389"/>
                  </a:cubicBezTo>
                  <a:cubicBezTo>
                    <a:pt x="499893" y="1451971"/>
                    <a:pt x="530557" y="1423647"/>
                    <a:pt x="534734" y="1387552"/>
                  </a:cubicBezTo>
                  <a:cubicBezTo>
                    <a:pt x="538828" y="1351624"/>
                    <a:pt x="567320" y="1323635"/>
                    <a:pt x="603414" y="1323635"/>
                  </a:cubicBezTo>
                  <a:lnTo>
                    <a:pt x="621211" y="1323635"/>
                  </a:lnTo>
                  <a:cubicBezTo>
                    <a:pt x="660313" y="1323635"/>
                    <a:pt x="692230" y="1355551"/>
                    <a:pt x="692230" y="1394654"/>
                  </a:cubicBezTo>
                  <a:lnTo>
                    <a:pt x="692230" y="1232061"/>
                  </a:lnTo>
                  <a:lnTo>
                    <a:pt x="692230" y="1160039"/>
                  </a:lnTo>
                  <a:lnTo>
                    <a:pt x="692230" y="935117"/>
                  </a:lnTo>
                  <a:lnTo>
                    <a:pt x="691144" y="935117"/>
                  </a:lnTo>
                  <a:lnTo>
                    <a:pt x="691144" y="768681"/>
                  </a:lnTo>
                  <a:lnTo>
                    <a:pt x="695906" y="768681"/>
                  </a:lnTo>
                  <a:cubicBezTo>
                    <a:pt x="704178" y="730497"/>
                    <a:pt x="738184" y="701839"/>
                    <a:pt x="778874" y="701839"/>
                  </a:cubicBezTo>
                  <a:lnTo>
                    <a:pt x="990512" y="701839"/>
                  </a:lnTo>
                  <a:lnTo>
                    <a:pt x="990512" y="441490"/>
                  </a:lnTo>
                  <a:cubicBezTo>
                    <a:pt x="990512" y="394617"/>
                    <a:pt x="1028528" y="356517"/>
                    <a:pt x="1075484" y="356517"/>
                  </a:cubicBezTo>
                  <a:lnTo>
                    <a:pt x="1257461" y="356517"/>
                  </a:lnTo>
                  <a:lnTo>
                    <a:pt x="1512797" y="356517"/>
                  </a:lnTo>
                  <a:lnTo>
                    <a:pt x="1838650" y="356517"/>
                  </a:lnTo>
                  <a:cubicBezTo>
                    <a:pt x="1883267" y="356517"/>
                    <a:pt x="1919445" y="320339"/>
                    <a:pt x="1919445" y="275722"/>
                  </a:cubicBezTo>
                  <a:lnTo>
                    <a:pt x="1919445" y="250657"/>
                  </a:lnTo>
                  <a:lnTo>
                    <a:pt x="2058727" y="250657"/>
                  </a:lnTo>
                  <a:lnTo>
                    <a:pt x="2058727" y="0"/>
                  </a:lnTo>
                  <a:lnTo>
                    <a:pt x="756398" y="0"/>
                  </a:lnTo>
                  <a:close/>
                </a:path>
              </a:pathLst>
            </a:custGeom>
            <a:solidFill>
              <a:srgbClr val="545719"/>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35343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heme" Target="../theme/theme2.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778882E-133E-46DC-BEF5-3C62FBFE449C}"/>
              </a:ext>
            </a:extLst>
          </p:cNvPr>
          <p:cNvGraphicFramePr>
            <a:graphicFrameLocks noChangeAspect="1"/>
          </p:cNvGraphicFramePr>
          <p:nvPr userDrawn="1">
            <p:custDataLst>
              <p:tags r:id="rId8"/>
            </p:custDataLst>
            <p:extLst>
              <p:ext uri="{D42A27DB-BD31-4B8C-83A1-F6EECF244321}">
                <p14:modId xmlns:p14="http://schemas.microsoft.com/office/powerpoint/2010/main" val="676531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4" imgH="345" progId="TCLayout.ActiveDocument.1">
                  <p:embed/>
                </p:oleObj>
              </mc:Choice>
              <mc:Fallback>
                <p:oleObj name="think-cell Folie" r:id="rId9" imgW="344" imgH="345" progId="TCLayout.ActiveDocument.1">
                  <p:embed/>
                  <p:pic>
                    <p:nvPicPr>
                      <p:cNvPr id="9" name="Objekt 8" hidden="1">
                        <a:extLst>
                          <a:ext uri="{FF2B5EF4-FFF2-40B4-BE49-F238E27FC236}">
                            <a16:creationId xmlns:a16="http://schemas.microsoft.com/office/drawing/2014/main" id="{6778882E-133E-46DC-BEF5-3C62FBFE449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S" descr="80%"/>
          <p:cNvSpPr>
            <a:spLocks noChangeAspect="1"/>
          </p:cNvSpPr>
          <p:nvPr/>
        </p:nvSpPr>
        <p:spPr bwMode="auto">
          <a:xfrm>
            <a:off x="6699250" y="4576763"/>
            <a:ext cx="520700" cy="654050"/>
          </a:xfrm>
          <a:custGeom>
            <a:avLst/>
            <a:gdLst>
              <a:gd name="T0" fmla="*/ 152 w 414"/>
              <a:gd name="T1" fmla="*/ 4 h 550"/>
              <a:gd name="T2" fmla="*/ 213 w 414"/>
              <a:gd name="T3" fmla="*/ 1 h 550"/>
              <a:gd name="T4" fmla="*/ 228 w 414"/>
              <a:gd name="T5" fmla="*/ 17 h 550"/>
              <a:gd name="T6" fmla="*/ 237 w 414"/>
              <a:gd name="T7" fmla="*/ 30 h 550"/>
              <a:gd name="T8" fmla="*/ 248 w 414"/>
              <a:gd name="T9" fmla="*/ 82 h 550"/>
              <a:gd name="T10" fmla="*/ 282 w 414"/>
              <a:gd name="T11" fmla="*/ 94 h 550"/>
              <a:gd name="T12" fmla="*/ 297 w 414"/>
              <a:gd name="T13" fmla="*/ 168 h 550"/>
              <a:gd name="T14" fmla="*/ 319 w 414"/>
              <a:gd name="T15" fmla="*/ 188 h 550"/>
              <a:gd name="T16" fmla="*/ 357 w 414"/>
              <a:gd name="T17" fmla="*/ 181 h 550"/>
              <a:gd name="T18" fmla="*/ 384 w 414"/>
              <a:gd name="T19" fmla="*/ 222 h 550"/>
              <a:gd name="T20" fmla="*/ 381 w 414"/>
              <a:gd name="T21" fmla="*/ 256 h 550"/>
              <a:gd name="T22" fmla="*/ 376 w 414"/>
              <a:gd name="T23" fmla="*/ 274 h 550"/>
              <a:gd name="T24" fmla="*/ 387 w 414"/>
              <a:gd name="T25" fmla="*/ 326 h 550"/>
              <a:gd name="T26" fmla="*/ 414 w 414"/>
              <a:gd name="T27" fmla="*/ 347 h 550"/>
              <a:gd name="T28" fmla="*/ 377 w 414"/>
              <a:gd name="T29" fmla="*/ 411 h 550"/>
              <a:gd name="T30" fmla="*/ 373 w 414"/>
              <a:gd name="T31" fmla="*/ 488 h 550"/>
              <a:gd name="T32" fmla="*/ 343 w 414"/>
              <a:gd name="T33" fmla="*/ 505 h 550"/>
              <a:gd name="T34" fmla="*/ 305 w 414"/>
              <a:gd name="T35" fmla="*/ 513 h 550"/>
              <a:gd name="T36" fmla="*/ 259 w 414"/>
              <a:gd name="T37" fmla="*/ 525 h 550"/>
              <a:gd name="T38" fmla="*/ 225 w 414"/>
              <a:gd name="T39" fmla="*/ 501 h 550"/>
              <a:gd name="T40" fmla="*/ 194 w 414"/>
              <a:gd name="T41" fmla="*/ 483 h 550"/>
              <a:gd name="T42" fmla="*/ 171 w 414"/>
              <a:gd name="T43" fmla="*/ 461 h 550"/>
              <a:gd name="T44" fmla="*/ 133 w 414"/>
              <a:gd name="T45" fmla="*/ 461 h 550"/>
              <a:gd name="T46" fmla="*/ 115 w 414"/>
              <a:gd name="T47" fmla="*/ 509 h 550"/>
              <a:gd name="T48" fmla="*/ 16 w 414"/>
              <a:gd name="T49" fmla="*/ 454 h 550"/>
              <a:gd name="T50" fmla="*/ 23 w 414"/>
              <a:gd name="T51" fmla="*/ 402 h 550"/>
              <a:gd name="T52" fmla="*/ 42 w 414"/>
              <a:gd name="T53" fmla="*/ 360 h 550"/>
              <a:gd name="T54" fmla="*/ 69 w 414"/>
              <a:gd name="T55" fmla="*/ 324 h 550"/>
              <a:gd name="T56" fmla="*/ 95 w 414"/>
              <a:gd name="T57" fmla="*/ 287 h 550"/>
              <a:gd name="T58" fmla="*/ 106 w 414"/>
              <a:gd name="T59" fmla="*/ 252 h 550"/>
              <a:gd name="T60" fmla="*/ 107 w 414"/>
              <a:gd name="T61" fmla="*/ 175 h 550"/>
              <a:gd name="T62" fmla="*/ 91 w 414"/>
              <a:gd name="T63" fmla="*/ 112 h 550"/>
              <a:gd name="T64" fmla="*/ 69 w 414"/>
              <a:gd name="T65" fmla="*/ 38 h 55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2778 w 10000"/>
              <a:gd name="connsiteY47" fmla="*/ 9255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3989 w 10000"/>
              <a:gd name="connsiteY48" fmla="*/ 7969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111 w 9444"/>
              <a:gd name="connsiteY0" fmla="*/ 691 h 10000"/>
              <a:gd name="connsiteX1" fmla="*/ 3115 w 9444"/>
              <a:gd name="connsiteY1" fmla="*/ 73 h 10000"/>
              <a:gd name="connsiteX2" fmla="*/ 4033 w 9444"/>
              <a:gd name="connsiteY2" fmla="*/ 0 h 10000"/>
              <a:gd name="connsiteX3" fmla="*/ 4589 w 9444"/>
              <a:gd name="connsiteY3" fmla="*/ 18 h 10000"/>
              <a:gd name="connsiteX4" fmla="*/ 4782 w 9444"/>
              <a:gd name="connsiteY4" fmla="*/ 145 h 10000"/>
              <a:gd name="connsiteX5" fmla="*/ 4951 w 9444"/>
              <a:gd name="connsiteY5" fmla="*/ 309 h 10000"/>
              <a:gd name="connsiteX6" fmla="*/ 4975 w 9444"/>
              <a:gd name="connsiteY6" fmla="*/ 491 h 10000"/>
              <a:gd name="connsiteX7" fmla="*/ 5169 w 9444"/>
              <a:gd name="connsiteY7" fmla="*/ 545 h 10000"/>
              <a:gd name="connsiteX8" fmla="*/ 5410 w 9444"/>
              <a:gd name="connsiteY8" fmla="*/ 927 h 10000"/>
              <a:gd name="connsiteX9" fmla="*/ 5434 w 9444"/>
              <a:gd name="connsiteY9" fmla="*/ 1491 h 10000"/>
              <a:gd name="connsiteX10" fmla="*/ 5676 w 9444"/>
              <a:gd name="connsiteY10" fmla="*/ 1709 h 10000"/>
              <a:gd name="connsiteX11" fmla="*/ 6256 w 9444"/>
              <a:gd name="connsiteY11" fmla="*/ 1709 h 10000"/>
              <a:gd name="connsiteX12" fmla="*/ 6618 w 9444"/>
              <a:gd name="connsiteY12" fmla="*/ 2509 h 10000"/>
              <a:gd name="connsiteX13" fmla="*/ 6618 w 9444"/>
              <a:gd name="connsiteY13" fmla="*/ 3055 h 10000"/>
              <a:gd name="connsiteX14" fmla="*/ 6884 w 9444"/>
              <a:gd name="connsiteY14" fmla="*/ 3418 h 10000"/>
              <a:gd name="connsiteX15" fmla="*/ 7149 w 9444"/>
              <a:gd name="connsiteY15" fmla="*/ 3418 h 10000"/>
              <a:gd name="connsiteX16" fmla="*/ 7729 w 9444"/>
              <a:gd name="connsiteY16" fmla="*/ 3055 h 10000"/>
              <a:gd name="connsiteX17" fmla="*/ 8067 w 9444"/>
              <a:gd name="connsiteY17" fmla="*/ 3291 h 10000"/>
              <a:gd name="connsiteX18" fmla="*/ 8091 w 9444"/>
              <a:gd name="connsiteY18" fmla="*/ 3745 h 10000"/>
              <a:gd name="connsiteX19" fmla="*/ 8719 w 9444"/>
              <a:gd name="connsiteY19" fmla="*/ 4036 h 10000"/>
              <a:gd name="connsiteX20" fmla="*/ 8623 w 9444"/>
              <a:gd name="connsiteY20" fmla="*/ 4527 h 10000"/>
              <a:gd name="connsiteX21" fmla="*/ 8647 w 9444"/>
              <a:gd name="connsiteY21" fmla="*/ 4655 h 10000"/>
              <a:gd name="connsiteX22" fmla="*/ 8744 w 9444"/>
              <a:gd name="connsiteY22" fmla="*/ 4727 h 10000"/>
              <a:gd name="connsiteX23" fmla="*/ 8526 w 9444"/>
              <a:gd name="connsiteY23" fmla="*/ 4982 h 10000"/>
              <a:gd name="connsiteX24" fmla="*/ 8454 w 9444"/>
              <a:gd name="connsiteY24" fmla="*/ 5291 h 10000"/>
              <a:gd name="connsiteX25" fmla="*/ 8792 w 9444"/>
              <a:gd name="connsiteY25" fmla="*/ 5927 h 10000"/>
              <a:gd name="connsiteX26" fmla="*/ 9299 w 9444"/>
              <a:gd name="connsiteY26" fmla="*/ 6000 h 10000"/>
              <a:gd name="connsiteX27" fmla="*/ 9444 w 9444"/>
              <a:gd name="connsiteY27" fmla="*/ 6309 h 10000"/>
              <a:gd name="connsiteX28" fmla="*/ 9299 w 9444"/>
              <a:gd name="connsiteY28" fmla="*/ 6927 h 10000"/>
              <a:gd name="connsiteX29" fmla="*/ 8550 w 9444"/>
              <a:gd name="connsiteY29" fmla="*/ 7473 h 10000"/>
              <a:gd name="connsiteX30" fmla="*/ 8744 w 9444"/>
              <a:gd name="connsiteY30" fmla="*/ 8455 h 10000"/>
              <a:gd name="connsiteX31" fmla="*/ 8454 w 9444"/>
              <a:gd name="connsiteY31" fmla="*/ 8873 h 10000"/>
              <a:gd name="connsiteX32" fmla="*/ 8647 w 9444"/>
              <a:gd name="connsiteY32" fmla="*/ 9327 h 10000"/>
              <a:gd name="connsiteX33" fmla="*/ 7729 w 9444"/>
              <a:gd name="connsiteY33" fmla="*/ 9182 h 10000"/>
              <a:gd name="connsiteX34" fmla="*/ 7270 w 9444"/>
              <a:gd name="connsiteY34" fmla="*/ 9327 h 10000"/>
              <a:gd name="connsiteX35" fmla="*/ 6811 w 9444"/>
              <a:gd name="connsiteY35" fmla="*/ 9327 h 10000"/>
              <a:gd name="connsiteX36" fmla="*/ 6256 w 9444"/>
              <a:gd name="connsiteY36" fmla="*/ 9455 h 10000"/>
              <a:gd name="connsiteX37" fmla="*/ 5700 w 9444"/>
              <a:gd name="connsiteY37" fmla="*/ 9545 h 10000"/>
              <a:gd name="connsiteX38" fmla="*/ 4855 w 9444"/>
              <a:gd name="connsiteY38" fmla="*/ 10000 h 10000"/>
              <a:gd name="connsiteX39" fmla="*/ 4879 w 9444"/>
              <a:gd name="connsiteY39" fmla="*/ 9109 h 10000"/>
              <a:gd name="connsiteX40" fmla="*/ 4710 w 9444"/>
              <a:gd name="connsiteY40" fmla="*/ 8873 h 10000"/>
              <a:gd name="connsiteX41" fmla="*/ 4130 w 9444"/>
              <a:gd name="connsiteY41" fmla="*/ 8782 h 10000"/>
              <a:gd name="connsiteX42" fmla="*/ 3937 w 9444"/>
              <a:gd name="connsiteY42" fmla="*/ 8400 h 10000"/>
              <a:gd name="connsiteX43" fmla="*/ 3574 w 9444"/>
              <a:gd name="connsiteY43" fmla="*/ 8382 h 10000"/>
              <a:gd name="connsiteX44" fmla="*/ 3405 w 9444"/>
              <a:gd name="connsiteY44" fmla="*/ 8473 h 10000"/>
              <a:gd name="connsiteX45" fmla="*/ 2657 w 9444"/>
              <a:gd name="connsiteY45" fmla="*/ 8382 h 10000"/>
              <a:gd name="connsiteX46" fmla="*/ 2367 w 9444"/>
              <a:gd name="connsiteY46" fmla="*/ 8564 h 10000"/>
              <a:gd name="connsiteX47" fmla="*/ 2850 w 9444"/>
              <a:gd name="connsiteY47" fmla="*/ 8173 h 10000"/>
              <a:gd name="connsiteX48" fmla="*/ 3433 w 9444"/>
              <a:gd name="connsiteY48" fmla="*/ 7969 h 10000"/>
              <a:gd name="connsiteX49" fmla="*/ 1444 w 9444"/>
              <a:gd name="connsiteY49" fmla="*/ 7090 h 10000"/>
              <a:gd name="connsiteX50" fmla="*/ 1238 w 9444"/>
              <a:gd name="connsiteY50" fmla="*/ 6861 h 10000"/>
              <a:gd name="connsiteX51" fmla="*/ 0 w 9444"/>
              <a:gd name="connsiteY51" fmla="*/ 7309 h 10000"/>
              <a:gd name="connsiteX52" fmla="*/ 458 w 9444"/>
              <a:gd name="connsiteY52" fmla="*/ 7127 h 10000"/>
              <a:gd name="connsiteX53" fmla="*/ 458 w 9444"/>
              <a:gd name="connsiteY53" fmla="*/ 6545 h 10000"/>
              <a:gd name="connsiteX54" fmla="*/ 917 w 9444"/>
              <a:gd name="connsiteY54" fmla="*/ 6309 h 10000"/>
              <a:gd name="connsiteX55" fmla="*/ 1111 w 9444"/>
              <a:gd name="connsiteY55" fmla="*/ 5891 h 10000"/>
              <a:gd name="connsiteX56" fmla="*/ 1642 w 9444"/>
              <a:gd name="connsiteY56" fmla="*/ 5618 h 10000"/>
              <a:gd name="connsiteX57" fmla="*/ 1739 w 9444"/>
              <a:gd name="connsiteY57" fmla="*/ 5218 h 10000"/>
              <a:gd name="connsiteX58" fmla="*/ 1666 w 9444"/>
              <a:gd name="connsiteY58" fmla="*/ 4800 h 10000"/>
              <a:gd name="connsiteX59" fmla="*/ 2004 w 9444"/>
              <a:gd name="connsiteY59" fmla="*/ 4582 h 10000"/>
              <a:gd name="connsiteX60" fmla="*/ 1545 w 9444"/>
              <a:gd name="connsiteY60" fmla="*/ 3982 h 10000"/>
              <a:gd name="connsiteX61" fmla="*/ 2029 w 9444"/>
              <a:gd name="connsiteY61" fmla="*/ 3182 h 10000"/>
              <a:gd name="connsiteX62" fmla="*/ 1497 w 9444"/>
              <a:gd name="connsiteY62" fmla="*/ 2636 h 10000"/>
              <a:gd name="connsiteX63" fmla="*/ 1642 w 9444"/>
              <a:gd name="connsiteY63" fmla="*/ 2036 h 10000"/>
              <a:gd name="connsiteX64" fmla="*/ 1111 w 9444"/>
              <a:gd name="connsiteY64" fmla="*/ 1491 h 10000"/>
              <a:gd name="connsiteX65" fmla="*/ 1111 w 9444"/>
              <a:gd name="connsiteY65" fmla="*/ 691 h 10000"/>
              <a:gd name="connsiteX0" fmla="*/ 691 w 9515"/>
              <a:gd name="connsiteY0" fmla="*/ 691 h 10000"/>
              <a:gd name="connsiteX1" fmla="*/ 2813 w 9515"/>
              <a:gd name="connsiteY1" fmla="*/ 73 h 10000"/>
              <a:gd name="connsiteX2" fmla="*/ 3785 w 9515"/>
              <a:gd name="connsiteY2" fmla="*/ 0 h 10000"/>
              <a:gd name="connsiteX3" fmla="*/ 4374 w 9515"/>
              <a:gd name="connsiteY3" fmla="*/ 18 h 10000"/>
              <a:gd name="connsiteX4" fmla="*/ 4579 w 9515"/>
              <a:gd name="connsiteY4" fmla="*/ 145 h 10000"/>
              <a:gd name="connsiteX5" fmla="*/ 4757 w 9515"/>
              <a:gd name="connsiteY5" fmla="*/ 309 h 10000"/>
              <a:gd name="connsiteX6" fmla="*/ 4783 w 9515"/>
              <a:gd name="connsiteY6" fmla="*/ 491 h 10000"/>
              <a:gd name="connsiteX7" fmla="*/ 4988 w 9515"/>
              <a:gd name="connsiteY7" fmla="*/ 545 h 10000"/>
              <a:gd name="connsiteX8" fmla="*/ 5244 w 9515"/>
              <a:gd name="connsiteY8" fmla="*/ 927 h 10000"/>
              <a:gd name="connsiteX9" fmla="*/ 5269 w 9515"/>
              <a:gd name="connsiteY9" fmla="*/ 1491 h 10000"/>
              <a:gd name="connsiteX10" fmla="*/ 5525 w 9515"/>
              <a:gd name="connsiteY10" fmla="*/ 1709 h 10000"/>
              <a:gd name="connsiteX11" fmla="*/ 6139 w 9515"/>
              <a:gd name="connsiteY11" fmla="*/ 1709 h 10000"/>
              <a:gd name="connsiteX12" fmla="*/ 6523 w 9515"/>
              <a:gd name="connsiteY12" fmla="*/ 2509 h 10000"/>
              <a:gd name="connsiteX13" fmla="*/ 6523 w 9515"/>
              <a:gd name="connsiteY13" fmla="*/ 3055 h 10000"/>
              <a:gd name="connsiteX14" fmla="*/ 6804 w 9515"/>
              <a:gd name="connsiteY14" fmla="*/ 3418 h 10000"/>
              <a:gd name="connsiteX15" fmla="*/ 7085 w 9515"/>
              <a:gd name="connsiteY15" fmla="*/ 3418 h 10000"/>
              <a:gd name="connsiteX16" fmla="*/ 7699 w 9515"/>
              <a:gd name="connsiteY16" fmla="*/ 3055 h 10000"/>
              <a:gd name="connsiteX17" fmla="*/ 8057 w 9515"/>
              <a:gd name="connsiteY17" fmla="*/ 3291 h 10000"/>
              <a:gd name="connsiteX18" fmla="*/ 8082 w 9515"/>
              <a:gd name="connsiteY18" fmla="*/ 3745 h 10000"/>
              <a:gd name="connsiteX19" fmla="*/ 8747 w 9515"/>
              <a:gd name="connsiteY19" fmla="*/ 4036 h 10000"/>
              <a:gd name="connsiteX20" fmla="*/ 8646 w 9515"/>
              <a:gd name="connsiteY20" fmla="*/ 4527 h 10000"/>
              <a:gd name="connsiteX21" fmla="*/ 8671 w 9515"/>
              <a:gd name="connsiteY21" fmla="*/ 4655 h 10000"/>
              <a:gd name="connsiteX22" fmla="*/ 8774 w 9515"/>
              <a:gd name="connsiteY22" fmla="*/ 4727 h 10000"/>
              <a:gd name="connsiteX23" fmla="*/ 8543 w 9515"/>
              <a:gd name="connsiteY23" fmla="*/ 4982 h 10000"/>
              <a:gd name="connsiteX24" fmla="*/ 8467 w 9515"/>
              <a:gd name="connsiteY24" fmla="*/ 5291 h 10000"/>
              <a:gd name="connsiteX25" fmla="*/ 8825 w 9515"/>
              <a:gd name="connsiteY25" fmla="*/ 5927 h 10000"/>
              <a:gd name="connsiteX26" fmla="*/ 9361 w 9515"/>
              <a:gd name="connsiteY26" fmla="*/ 6000 h 10000"/>
              <a:gd name="connsiteX27" fmla="*/ 9515 w 9515"/>
              <a:gd name="connsiteY27" fmla="*/ 6309 h 10000"/>
              <a:gd name="connsiteX28" fmla="*/ 9361 w 9515"/>
              <a:gd name="connsiteY28" fmla="*/ 6927 h 10000"/>
              <a:gd name="connsiteX29" fmla="*/ 8568 w 9515"/>
              <a:gd name="connsiteY29" fmla="*/ 7473 h 10000"/>
              <a:gd name="connsiteX30" fmla="*/ 8774 w 9515"/>
              <a:gd name="connsiteY30" fmla="*/ 8455 h 10000"/>
              <a:gd name="connsiteX31" fmla="*/ 8467 w 9515"/>
              <a:gd name="connsiteY31" fmla="*/ 8873 h 10000"/>
              <a:gd name="connsiteX32" fmla="*/ 8671 w 9515"/>
              <a:gd name="connsiteY32" fmla="*/ 9327 h 10000"/>
              <a:gd name="connsiteX33" fmla="*/ 7699 w 9515"/>
              <a:gd name="connsiteY33" fmla="*/ 9182 h 10000"/>
              <a:gd name="connsiteX34" fmla="*/ 7213 w 9515"/>
              <a:gd name="connsiteY34" fmla="*/ 9327 h 10000"/>
              <a:gd name="connsiteX35" fmla="*/ 6727 w 9515"/>
              <a:gd name="connsiteY35" fmla="*/ 9327 h 10000"/>
              <a:gd name="connsiteX36" fmla="*/ 6139 w 9515"/>
              <a:gd name="connsiteY36" fmla="*/ 9455 h 10000"/>
              <a:gd name="connsiteX37" fmla="*/ 5551 w 9515"/>
              <a:gd name="connsiteY37" fmla="*/ 9545 h 10000"/>
              <a:gd name="connsiteX38" fmla="*/ 4656 w 9515"/>
              <a:gd name="connsiteY38" fmla="*/ 10000 h 10000"/>
              <a:gd name="connsiteX39" fmla="*/ 4681 w 9515"/>
              <a:gd name="connsiteY39" fmla="*/ 9109 h 10000"/>
              <a:gd name="connsiteX40" fmla="*/ 4502 w 9515"/>
              <a:gd name="connsiteY40" fmla="*/ 8873 h 10000"/>
              <a:gd name="connsiteX41" fmla="*/ 3888 w 9515"/>
              <a:gd name="connsiteY41" fmla="*/ 8782 h 10000"/>
              <a:gd name="connsiteX42" fmla="*/ 3684 w 9515"/>
              <a:gd name="connsiteY42" fmla="*/ 8400 h 10000"/>
              <a:gd name="connsiteX43" fmla="*/ 3299 w 9515"/>
              <a:gd name="connsiteY43" fmla="*/ 8382 h 10000"/>
              <a:gd name="connsiteX44" fmla="*/ 3120 w 9515"/>
              <a:gd name="connsiteY44" fmla="*/ 8473 h 10000"/>
              <a:gd name="connsiteX45" fmla="*/ 2328 w 9515"/>
              <a:gd name="connsiteY45" fmla="*/ 8382 h 10000"/>
              <a:gd name="connsiteX46" fmla="*/ 2021 w 9515"/>
              <a:gd name="connsiteY46" fmla="*/ 8564 h 10000"/>
              <a:gd name="connsiteX47" fmla="*/ 2533 w 9515"/>
              <a:gd name="connsiteY47" fmla="*/ 8173 h 10000"/>
              <a:gd name="connsiteX48" fmla="*/ 3150 w 9515"/>
              <a:gd name="connsiteY48" fmla="*/ 7969 h 10000"/>
              <a:gd name="connsiteX49" fmla="*/ 1044 w 9515"/>
              <a:gd name="connsiteY49" fmla="*/ 7090 h 10000"/>
              <a:gd name="connsiteX50" fmla="*/ 826 w 9515"/>
              <a:gd name="connsiteY50" fmla="*/ 6861 h 10000"/>
              <a:gd name="connsiteX51" fmla="*/ 1034 w 9515"/>
              <a:gd name="connsiteY51" fmla="*/ 6726 h 10000"/>
              <a:gd name="connsiteX52" fmla="*/ 0 w 9515"/>
              <a:gd name="connsiteY52" fmla="*/ 7127 h 10000"/>
              <a:gd name="connsiteX53" fmla="*/ 0 w 9515"/>
              <a:gd name="connsiteY53" fmla="*/ 6545 h 10000"/>
              <a:gd name="connsiteX54" fmla="*/ 486 w 9515"/>
              <a:gd name="connsiteY54" fmla="*/ 6309 h 10000"/>
              <a:gd name="connsiteX55" fmla="*/ 691 w 9515"/>
              <a:gd name="connsiteY55" fmla="*/ 5891 h 10000"/>
              <a:gd name="connsiteX56" fmla="*/ 1254 w 9515"/>
              <a:gd name="connsiteY56" fmla="*/ 5618 h 10000"/>
              <a:gd name="connsiteX57" fmla="*/ 1356 w 9515"/>
              <a:gd name="connsiteY57" fmla="*/ 5218 h 10000"/>
              <a:gd name="connsiteX58" fmla="*/ 1279 w 9515"/>
              <a:gd name="connsiteY58" fmla="*/ 4800 h 10000"/>
              <a:gd name="connsiteX59" fmla="*/ 1637 w 9515"/>
              <a:gd name="connsiteY59" fmla="*/ 4582 h 10000"/>
              <a:gd name="connsiteX60" fmla="*/ 1151 w 9515"/>
              <a:gd name="connsiteY60" fmla="*/ 3982 h 10000"/>
              <a:gd name="connsiteX61" fmla="*/ 1663 w 9515"/>
              <a:gd name="connsiteY61" fmla="*/ 3182 h 10000"/>
              <a:gd name="connsiteX62" fmla="*/ 1100 w 9515"/>
              <a:gd name="connsiteY62" fmla="*/ 2636 h 10000"/>
              <a:gd name="connsiteX63" fmla="*/ 1254 w 9515"/>
              <a:gd name="connsiteY63" fmla="*/ 2036 h 10000"/>
              <a:gd name="connsiteX64" fmla="*/ 691 w 9515"/>
              <a:gd name="connsiteY64" fmla="*/ 1491 h 10000"/>
              <a:gd name="connsiteX65" fmla="*/ 691 w 9515"/>
              <a:gd name="connsiteY65" fmla="*/ 691 h 10000"/>
              <a:gd name="connsiteX0" fmla="*/ 726 w 10000"/>
              <a:gd name="connsiteY0" fmla="*/ 691 h 10000"/>
              <a:gd name="connsiteX1" fmla="*/ 2956 w 10000"/>
              <a:gd name="connsiteY1" fmla="*/ 73 h 10000"/>
              <a:gd name="connsiteX2" fmla="*/ 3978 w 10000"/>
              <a:gd name="connsiteY2" fmla="*/ 0 h 10000"/>
              <a:gd name="connsiteX3" fmla="*/ 4597 w 10000"/>
              <a:gd name="connsiteY3" fmla="*/ 18 h 10000"/>
              <a:gd name="connsiteX4" fmla="*/ 4812 w 10000"/>
              <a:gd name="connsiteY4" fmla="*/ 145 h 10000"/>
              <a:gd name="connsiteX5" fmla="*/ 4999 w 10000"/>
              <a:gd name="connsiteY5" fmla="*/ 309 h 10000"/>
              <a:gd name="connsiteX6" fmla="*/ 5027 w 10000"/>
              <a:gd name="connsiteY6" fmla="*/ 491 h 10000"/>
              <a:gd name="connsiteX7" fmla="*/ 5242 w 10000"/>
              <a:gd name="connsiteY7" fmla="*/ 545 h 10000"/>
              <a:gd name="connsiteX8" fmla="*/ 5511 w 10000"/>
              <a:gd name="connsiteY8" fmla="*/ 927 h 10000"/>
              <a:gd name="connsiteX9" fmla="*/ 5538 w 10000"/>
              <a:gd name="connsiteY9" fmla="*/ 1491 h 10000"/>
              <a:gd name="connsiteX10" fmla="*/ 5807 w 10000"/>
              <a:gd name="connsiteY10" fmla="*/ 1709 h 10000"/>
              <a:gd name="connsiteX11" fmla="*/ 6452 w 10000"/>
              <a:gd name="connsiteY11" fmla="*/ 1709 h 10000"/>
              <a:gd name="connsiteX12" fmla="*/ 6855 w 10000"/>
              <a:gd name="connsiteY12" fmla="*/ 2509 h 10000"/>
              <a:gd name="connsiteX13" fmla="*/ 6855 w 10000"/>
              <a:gd name="connsiteY13" fmla="*/ 3055 h 10000"/>
              <a:gd name="connsiteX14" fmla="*/ 7151 w 10000"/>
              <a:gd name="connsiteY14" fmla="*/ 3418 h 10000"/>
              <a:gd name="connsiteX15" fmla="*/ 7446 w 10000"/>
              <a:gd name="connsiteY15" fmla="*/ 3418 h 10000"/>
              <a:gd name="connsiteX16" fmla="*/ 8091 w 10000"/>
              <a:gd name="connsiteY16" fmla="*/ 3055 h 10000"/>
              <a:gd name="connsiteX17" fmla="*/ 8468 w 10000"/>
              <a:gd name="connsiteY17" fmla="*/ 3291 h 10000"/>
              <a:gd name="connsiteX18" fmla="*/ 8494 w 10000"/>
              <a:gd name="connsiteY18" fmla="*/ 3745 h 10000"/>
              <a:gd name="connsiteX19" fmla="*/ 9193 w 10000"/>
              <a:gd name="connsiteY19" fmla="*/ 4036 h 10000"/>
              <a:gd name="connsiteX20" fmla="*/ 9087 w 10000"/>
              <a:gd name="connsiteY20" fmla="*/ 4527 h 10000"/>
              <a:gd name="connsiteX21" fmla="*/ 9113 w 10000"/>
              <a:gd name="connsiteY21" fmla="*/ 4655 h 10000"/>
              <a:gd name="connsiteX22" fmla="*/ 9221 w 10000"/>
              <a:gd name="connsiteY22" fmla="*/ 4727 h 10000"/>
              <a:gd name="connsiteX23" fmla="*/ 8978 w 10000"/>
              <a:gd name="connsiteY23" fmla="*/ 4982 h 10000"/>
              <a:gd name="connsiteX24" fmla="*/ 8899 w 10000"/>
              <a:gd name="connsiteY24" fmla="*/ 5291 h 10000"/>
              <a:gd name="connsiteX25" fmla="*/ 9275 w 10000"/>
              <a:gd name="connsiteY25" fmla="*/ 5927 h 10000"/>
              <a:gd name="connsiteX26" fmla="*/ 9838 w 10000"/>
              <a:gd name="connsiteY26" fmla="*/ 6000 h 10000"/>
              <a:gd name="connsiteX27" fmla="*/ 10000 w 10000"/>
              <a:gd name="connsiteY27" fmla="*/ 6309 h 10000"/>
              <a:gd name="connsiteX28" fmla="*/ 9838 w 10000"/>
              <a:gd name="connsiteY28" fmla="*/ 6927 h 10000"/>
              <a:gd name="connsiteX29" fmla="*/ 9005 w 10000"/>
              <a:gd name="connsiteY29" fmla="*/ 7473 h 10000"/>
              <a:gd name="connsiteX30" fmla="*/ 9221 w 10000"/>
              <a:gd name="connsiteY30" fmla="*/ 8455 h 10000"/>
              <a:gd name="connsiteX31" fmla="*/ 8899 w 10000"/>
              <a:gd name="connsiteY31" fmla="*/ 8873 h 10000"/>
              <a:gd name="connsiteX32" fmla="*/ 9113 w 10000"/>
              <a:gd name="connsiteY32" fmla="*/ 9327 h 10000"/>
              <a:gd name="connsiteX33" fmla="*/ 8091 w 10000"/>
              <a:gd name="connsiteY33" fmla="*/ 9182 h 10000"/>
              <a:gd name="connsiteX34" fmla="*/ 7581 w 10000"/>
              <a:gd name="connsiteY34" fmla="*/ 9327 h 10000"/>
              <a:gd name="connsiteX35" fmla="*/ 7070 w 10000"/>
              <a:gd name="connsiteY35" fmla="*/ 9327 h 10000"/>
              <a:gd name="connsiteX36" fmla="*/ 6452 w 10000"/>
              <a:gd name="connsiteY36" fmla="*/ 9455 h 10000"/>
              <a:gd name="connsiteX37" fmla="*/ 5834 w 10000"/>
              <a:gd name="connsiteY37" fmla="*/ 9545 h 10000"/>
              <a:gd name="connsiteX38" fmla="*/ 4893 w 10000"/>
              <a:gd name="connsiteY38" fmla="*/ 10000 h 10000"/>
              <a:gd name="connsiteX39" fmla="*/ 4920 w 10000"/>
              <a:gd name="connsiteY39" fmla="*/ 9109 h 10000"/>
              <a:gd name="connsiteX40" fmla="*/ 4731 w 10000"/>
              <a:gd name="connsiteY40" fmla="*/ 8873 h 10000"/>
              <a:gd name="connsiteX41" fmla="*/ 4086 w 10000"/>
              <a:gd name="connsiteY41" fmla="*/ 8782 h 10000"/>
              <a:gd name="connsiteX42" fmla="*/ 3872 w 10000"/>
              <a:gd name="connsiteY42" fmla="*/ 8400 h 10000"/>
              <a:gd name="connsiteX43" fmla="*/ 3467 w 10000"/>
              <a:gd name="connsiteY43" fmla="*/ 8382 h 10000"/>
              <a:gd name="connsiteX44" fmla="*/ 3279 w 10000"/>
              <a:gd name="connsiteY44" fmla="*/ 8473 h 10000"/>
              <a:gd name="connsiteX45" fmla="*/ 2447 w 10000"/>
              <a:gd name="connsiteY45" fmla="*/ 8382 h 10000"/>
              <a:gd name="connsiteX46" fmla="*/ 2124 w 10000"/>
              <a:gd name="connsiteY46" fmla="*/ 8564 h 10000"/>
              <a:gd name="connsiteX47" fmla="*/ 2662 w 10000"/>
              <a:gd name="connsiteY47" fmla="*/ 8173 h 10000"/>
              <a:gd name="connsiteX48" fmla="*/ 3311 w 10000"/>
              <a:gd name="connsiteY48" fmla="*/ 7969 h 10000"/>
              <a:gd name="connsiteX49" fmla="*/ 1097 w 10000"/>
              <a:gd name="connsiteY49" fmla="*/ 7090 h 10000"/>
              <a:gd name="connsiteX50" fmla="*/ 868 w 10000"/>
              <a:gd name="connsiteY50" fmla="*/ 6861 h 10000"/>
              <a:gd name="connsiteX51" fmla="*/ 1087 w 10000"/>
              <a:gd name="connsiteY51" fmla="*/ 6726 h 10000"/>
              <a:gd name="connsiteX52" fmla="*/ 1497 w 10000"/>
              <a:gd name="connsiteY52" fmla="*/ 6877 h 10000"/>
              <a:gd name="connsiteX53" fmla="*/ 0 w 10000"/>
              <a:gd name="connsiteY53" fmla="*/ 6545 h 10000"/>
              <a:gd name="connsiteX54" fmla="*/ 511 w 10000"/>
              <a:gd name="connsiteY54" fmla="*/ 6309 h 10000"/>
              <a:gd name="connsiteX55" fmla="*/ 726 w 10000"/>
              <a:gd name="connsiteY55" fmla="*/ 5891 h 10000"/>
              <a:gd name="connsiteX56" fmla="*/ 1318 w 10000"/>
              <a:gd name="connsiteY56" fmla="*/ 5618 h 10000"/>
              <a:gd name="connsiteX57" fmla="*/ 1425 w 10000"/>
              <a:gd name="connsiteY57" fmla="*/ 5218 h 10000"/>
              <a:gd name="connsiteX58" fmla="*/ 1344 w 10000"/>
              <a:gd name="connsiteY58" fmla="*/ 4800 h 10000"/>
              <a:gd name="connsiteX59" fmla="*/ 1720 w 10000"/>
              <a:gd name="connsiteY59" fmla="*/ 4582 h 10000"/>
              <a:gd name="connsiteX60" fmla="*/ 1210 w 10000"/>
              <a:gd name="connsiteY60" fmla="*/ 3982 h 10000"/>
              <a:gd name="connsiteX61" fmla="*/ 1748 w 10000"/>
              <a:gd name="connsiteY61" fmla="*/ 3182 h 10000"/>
              <a:gd name="connsiteX62" fmla="*/ 1156 w 10000"/>
              <a:gd name="connsiteY62" fmla="*/ 2636 h 10000"/>
              <a:gd name="connsiteX63" fmla="*/ 1318 w 10000"/>
              <a:gd name="connsiteY63" fmla="*/ 2036 h 10000"/>
              <a:gd name="connsiteX64" fmla="*/ 726 w 10000"/>
              <a:gd name="connsiteY64" fmla="*/ 1491 h 10000"/>
              <a:gd name="connsiteX65" fmla="*/ 726 w 10000"/>
              <a:gd name="connsiteY65" fmla="*/ 691 h 10000"/>
              <a:gd name="connsiteX0" fmla="*/ 215 w 9489"/>
              <a:gd name="connsiteY0" fmla="*/ 691 h 10000"/>
              <a:gd name="connsiteX1" fmla="*/ 2445 w 9489"/>
              <a:gd name="connsiteY1" fmla="*/ 73 h 10000"/>
              <a:gd name="connsiteX2" fmla="*/ 3467 w 9489"/>
              <a:gd name="connsiteY2" fmla="*/ 0 h 10000"/>
              <a:gd name="connsiteX3" fmla="*/ 4086 w 9489"/>
              <a:gd name="connsiteY3" fmla="*/ 18 h 10000"/>
              <a:gd name="connsiteX4" fmla="*/ 4301 w 9489"/>
              <a:gd name="connsiteY4" fmla="*/ 145 h 10000"/>
              <a:gd name="connsiteX5" fmla="*/ 4488 w 9489"/>
              <a:gd name="connsiteY5" fmla="*/ 309 h 10000"/>
              <a:gd name="connsiteX6" fmla="*/ 4516 w 9489"/>
              <a:gd name="connsiteY6" fmla="*/ 491 h 10000"/>
              <a:gd name="connsiteX7" fmla="*/ 4731 w 9489"/>
              <a:gd name="connsiteY7" fmla="*/ 545 h 10000"/>
              <a:gd name="connsiteX8" fmla="*/ 5000 w 9489"/>
              <a:gd name="connsiteY8" fmla="*/ 927 h 10000"/>
              <a:gd name="connsiteX9" fmla="*/ 5027 w 9489"/>
              <a:gd name="connsiteY9" fmla="*/ 1491 h 10000"/>
              <a:gd name="connsiteX10" fmla="*/ 5296 w 9489"/>
              <a:gd name="connsiteY10" fmla="*/ 1709 h 10000"/>
              <a:gd name="connsiteX11" fmla="*/ 5941 w 9489"/>
              <a:gd name="connsiteY11" fmla="*/ 1709 h 10000"/>
              <a:gd name="connsiteX12" fmla="*/ 6344 w 9489"/>
              <a:gd name="connsiteY12" fmla="*/ 2509 h 10000"/>
              <a:gd name="connsiteX13" fmla="*/ 6344 w 9489"/>
              <a:gd name="connsiteY13" fmla="*/ 3055 h 10000"/>
              <a:gd name="connsiteX14" fmla="*/ 6640 w 9489"/>
              <a:gd name="connsiteY14" fmla="*/ 3418 h 10000"/>
              <a:gd name="connsiteX15" fmla="*/ 6935 w 9489"/>
              <a:gd name="connsiteY15" fmla="*/ 3418 h 10000"/>
              <a:gd name="connsiteX16" fmla="*/ 7580 w 9489"/>
              <a:gd name="connsiteY16" fmla="*/ 3055 h 10000"/>
              <a:gd name="connsiteX17" fmla="*/ 7957 w 9489"/>
              <a:gd name="connsiteY17" fmla="*/ 3291 h 10000"/>
              <a:gd name="connsiteX18" fmla="*/ 7983 w 9489"/>
              <a:gd name="connsiteY18" fmla="*/ 3745 h 10000"/>
              <a:gd name="connsiteX19" fmla="*/ 8682 w 9489"/>
              <a:gd name="connsiteY19" fmla="*/ 4036 h 10000"/>
              <a:gd name="connsiteX20" fmla="*/ 8576 w 9489"/>
              <a:gd name="connsiteY20" fmla="*/ 4527 h 10000"/>
              <a:gd name="connsiteX21" fmla="*/ 8602 w 9489"/>
              <a:gd name="connsiteY21" fmla="*/ 4655 h 10000"/>
              <a:gd name="connsiteX22" fmla="*/ 8710 w 9489"/>
              <a:gd name="connsiteY22" fmla="*/ 4727 h 10000"/>
              <a:gd name="connsiteX23" fmla="*/ 8467 w 9489"/>
              <a:gd name="connsiteY23" fmla="*/ 4982 h 10000"/>
              <a:gd name="connsiteX24" fmla="*/ 8388 w 9489"/>
              <a:gd name="connsiteY24" fmla="*/ 5291 h 10000"/>
              <a:gd name="connsiteX25" fmla="*/ 8764 w 9489"/>
              <a:gd name="connsiteY25" fmla="*/ 5927 h 10000"/>
              <a:gd name="connsiteX26" fmla="*/ 9327 w 9489"/>
              <a:gd name="connsiteY26" fmla="*/ 6000 h 10000"/>
              <a:gd name="connsiteX27" fmla="*/ 9489 w 9489"/>
              <a:gd name="connsiteY27" fmla="*/ 6309 h 10000"/>
              <a:gd name="connsiteX28" fmla="*/ 9327 w 9489"/>
              <a:gd name="connsiteY28" fmla="*/ 6927 h 10000"/>
              <a:gd name="connsiteX29" fmla="*/ 8494 w 9489"/>
              <a:gd name="connsiteY29" fmla="*/ 7473 h 10000"/>
              <a:gd name="connsiteX30" fmla="*/ 8710 w 9489"/>
              <a:gd name="connsiteY30" fmla="*/ 8455 h 10000"/>
              <a:gd name="connsiteX31" fmla="*/ 8388 w 9489"/>
              <a:gd name="connsiteY31" fmla="*/ 8873 h 10000"/>
              <a:gd name="connsiteX32" fmla="*/ 8602 w 9489"/>
              <a:gd name="connsiteY32" fmla="*/ 9327 h 10000"/>
              <a:gd name="connsiteX33" fmla="*/ 7580 w 9489"/>
              <a:gd name="connsiteY33" fmla="*/ 9182 h 10000"/>
              <a:gd name="connsiteX34" fmla="*/ 7070 w 9489"/>
              <a:gd name="connsiteY34" fmla="*/ 9327 h 10000"/>
              <a:gd name="connsiteX35" fmla="*/ 6559 w 9489"/>
              <a:gd name="connsiteY35" fmla="*/ 9327 h 10000"/>
              <a:gd name="connsiteX36" fmla="*/ 5941 w 9489"/>
              <a:gd name="connsiteY36" fmla="*/ 9455 h 10000"/>
              <a:gd name="connsiteX37" fmla="*/ 5323 w 9489"/>
              <a:gd name="connsiteY37" fmla="*/ 9545 h 10000"/>
              <a:gd name="connsiteX38" fmla="*/ 4382 w 9489"/>
              <a:gd name="connsiteY38" fmla="*/ 10000 h 10000"/>
              <a:gd name="connsiteX39" fmla="*/ 4409 w 9489"/>
              <a:gd name="connsiteY39" fmla="*/ 9109 h 10000"/>
              <a:gd name="connsiteX40" fmla="*/ 4220 w 9489"/>
              <a:gd name="connsiteY40" fmla="*/ 8873 h 10000"/>
              <a:gd name="connsiteX41" fmla="*/ 3575 w 9489"/>
              <a:gd name="connsiteY41" fmla="*/ 8782 h 10000"/>
              <a:gd name="connsiteX42" fmla="*/ 3361 w 9489"/>
              <a:gd name="connsiteY42" fmla="*/ 8400 h 10000"/>
              <a:gd name="connsiteX43" fmla="*/ 2956 w 9489"/>
              <a:gd name="connsiteY43" fmla="*/ 8382 h 10000"/>
              <a:gd name="connsiteX44" fmla="*/ 2768 w 9489"/>
              <a:gd name="connsiteY44" fmla="*/ 8473 h 10000"/>
              <a:gd name="connsiteX45" fmla="*/ 1936 w 9489"/>
              <a:gd name="connsiteY45" fmla="*/ 8382 h 10000"/>
              <a:gd name="connsiteX46" fmla="*/ 1613 w 9489"/>
              <a:gd name="connsiteY46" fmla="*/ 8564 h 10000"/>
              <a:gd name="connsiteX47" fmla="*/ 2151 w 9489"/>
              <a:gd name="connsiteY47" fmla="*/ 8173 h 10000"/>
              <a:gd name="connsiteX48" fmla="*/ 2800 w 9489"/>
              <a:gd name="connsiteY48" fmla="*/ 7969 h 10000"/>
              <a:gd name="connsiteX49" fmla="*/ 586 w 9489"/>
              <a:gd name="connsiteY49" fmla="*/ 7090 h 10000"/>
              <a:gd name="connsiteX50" fmla="*/ 357 w 9489"/>
              <a:gd name="connsiteY50" fmla="*/ 6861 h 10000"/>
              <a:gd name="connsiteX51" fmla="*/ 576 w 9489"/>
              <a:gd name="connsiteY51" fmla="*/ 6726 h 10000"/>
              <a:gd name="connsiteX52" fmla="*/ 986 w 9489"/>
              <a:gd name="connsiteY52" fmla="*/ 6877 h 10000"/>
              <a:gd name="connsiteX53" fmla="*/ 587 w 9489"/>
              <a:gd name="connsiteY53" fmla="*/ 6295 h 10000"/>
              <a:gd name="connsiteX54" fmla="*/ 0 w 9489"/>
              <a:gd name="connsiteY54" fmla="*/ 6309 h 10000"/>
              <a:gd name="connsiteX55" fmla="*/ 215 w 9489"/>
              <a:gd name="connsiteY55" fmla="*/ 5891 h 10000"/>
              <a:gd name="connsiteX56" fmla="*/ 807 w 9489"/>
              <a:gd name="connsiteY56" fmla="*/ 5618 h 10000"/>
              <a:gd name="connsiteX57" fmla="*/ 914 w 9489"/>
              <a:gd name="connsiteY57" fmla="*/ 5218 h 10000"/>
              <a:gd name="connsiteX58" fmla="*/ 833 w 9489"/>
              <a:gd name="connsiteY58" fmla="*/ 4800 h 10000"/>
              <a:gd name="connsiteX59" fmla="*/ 1209 w 9489"/>
              <a:gd name="connsiteY59" fmla="*/ 4582 h 10000"/>
              <a:gd name="connsiteX60" fmla="*/ 699 w 9489"/>
              <a:gd name="connsiteY60" fmla="*/ 3982 h 10000"/>
              <a:gd name="connsiteX61" fmla="*/ 1237 w 9489"/>
              <a:gd name="connsiteY61" fmla="*/ 3182 h 10000"/>
              <a:gd name="connsiteX62" fmla="*/ 645 w 9489"/>
              <a:gd name="connsiteY62" fmla="*/ 2636 h 10000"/>
              <a:gd name="connsiteX63" fmla="*/ 807 w 9489"/>
              <a:gd name="connsiteY63" fmla="*/ 2036 h 10000"/>
              <a:gd name="connsiteX64" fmla="*/ 215 w 9489"/>
              <a:gd name="connsiteY64" fmla="*/ 1491 h 10000"/>
              <a:gd name="connsiteX65" fmla="*/ 215 w 9489"/>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618 w 10000"/>
              <a:gd name="connsiteY49" fmla="*/ 7090 h 10000"/>
              <a:gd name="connsiteX50" fmla="*/ 1112 w 10000"/>
              <a:gd name="connsiteY50" fmla="*/ 6778 h 10000"/>
              <a:gd name="connsiteX51" fmla="*/ 607 w 10000"/>
              <a:gd name="connsiteY51" fmla="*/ 6726 h 10000"/>
              <a:gd name="connsiteX52" fmla="*/ 1039 w 10000"/>
              <a:gd name="connsiteY52" fmla="*/ 6877 h 10000"/>
              <a:gd name="connsiteX53" fmla="*/ 619 w 10000"/>
              <a:gd name="connsiteY53" fmla="*/ 6295 h 10000"/>
              <a:gd name="connsiteX54" fmla="*/ 0 w 10000"/>
              <a:gd name="connsiteY54" fmla="*/ 6309 h 10000"/>
              <a:gd name="connsiteX55" fmla="*/ 227 w 10000"/>
              <a:gd name="connsiteY55" fmla="*/ 5891 h 10000"/>
              <a:gd name="connsiteX56" fmla="*/ 850 w 10000"/>
              <a:gd name="connsiteY56" fmla="*/ 5618 h 10000"/>
              <a:gd name="connsiteX57" fmla="*/ 963 w 10000"/>
              <a:gd name="connsiteY57" fmla="*/ 5218 h 10000"/>
              <a:gd name="connsiteX58" fmla="*/ 878 w 10000"/>
              <a:gd name="connsiteY58" fmla="*/ 4800 h 10000"/>
              <a:gd name="connsiteX59" fmla="*/ 1274 w 10000"/>
              <a:gd name="connsiteY59" fmla="*/ 4582 h 10000"/>
              <a:gd name="connsiteX60" fmla="*/ 737 w 10000"/>
              <a:gd name="connsiteY60" fmla="*/ 3982 h 10000"/>
              <a:gd name="connsiteX61" fmla="*/ 1304 w 10000"/>
              <a:gd name="connsiteY61" fmla="*/ 3182 h 10000"/>
              <a:gd name="connsiteX62" fmla="*/ 680 w 10000"/>
              <a:gd name="connsiteY62" fmla="*/ 2636 h 10000"/>
              <a:gd name="connsiteX63" fmla="*/ 850 w 10000"/>
              <a:gd name="connsiteY63" fmla="*/ 2036 h 10000"/>
              <a:gd name="connsiteX64" fmla="*/ 227 w 10000"/>
              <a:gd name="connsiteY64" fmla="*/ 1491 h 10000"/>
              <a:gd name="connsiteX65" fmla="*/ 227 w 10000"/>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618 w 10000"/>
              <a:gd name="connsiteY50" fmla="*/ 709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583 w 10000"/>
              <a:gd name="connsiteY48" fmla="*/ 8144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000" h="10000">
                <a:moveTo>
                  <a:pt x="227" y="691"/>
                </a:moveTo>
                <a:lnTo>
                  <a:pt x="2577" y="73"/>
                </a:lnTo>
                <a:lnTo>
                  <a:pt x="3654" y="0"/>
                </a:lnTo>
                <a:lnTo>
                  <a:pt x="4306" y="18"/>
                </a:lnTo>
                <a:lnTo>
                  <a:pt x="4533" y="145"/>
                </a:lnTo>
                <a:cubicBezTo>
                  <a:pt x="4598" y="200"/>
                  <a:pt x="4664" y="254"/>
                  <a:pt x="4730" y="309"/>
                </a:cubicBezTo>
                <a:cubicBezTo>
                  <a:pt x="4740" y="370"/>
                  <a:pt x="4749" y="430"/>
                  <a:pt x="4759" y="491"/>
                </a:cubicBezTo>
                <a:lnTo>
                  <a:pt x="4986" y="545"/>
                </a:lnTo>
                <a:lnTo>
                  <a:pt x="5269" y="927"/>
                </a:lnTo>
                <a:cubicBezTo>
                  <a:pt x="5279" y="1115"/>
                  <a:pt x="5288" y="1303"/>
                  <a:pt x="5298" y="1491"/>
                </a:cubicBezTo>
                <a:lnTo>
                  <a:pt x="5581" y="1709"/>
                </a:lnTo>
                <a:lnTo>
                  <a:pt x="6261" y="1709"/>
                </a:lnTo>
                <a:lnTo>
                  <a:pt x="6686" y="2509"/>
                </a:lnTo>
                <a:lnTo>
                  <a:pt x="6686" y="3055"/>
                </a:lnTo>
                <a:lnTo>
                  <a:pt x="6998" y="3418"/>
                </a:lnTo>
                <a:lnTo>
                  <a:pt x="7308" y="3418"/>
                </a:lnTo>
                <a:lnTo>
                  <a:pt x="7988" y="3055"/>
                </a:lnTo>
                <a:lnTo>
                  <a:pt x="8385" y="3291"/>
                </a:lnTo>
                <a:cubicBezTo>
                  <a:pt x="8394" y="3442"/>
                  <a:pt x="8404" y="3594"/>
                  <a:pt x="8413" y="3745"/>
                </a:cubicBezTo>
                <a:lnTo>
                  <a:pt x="9150" y="4036"/>
                </a:lnTo>
                <a:cubicBezTo>
                  <a:pt x="9112" y="4200"/>
                  <a:pt x="9075" y="4363"/>
                  <a:pt x="9038" y="4527"/>
                </a:cubicBezTo>
                <a:cubicBezTo>
                  <a:pt x="9046" y="4570"/>
                  <a:pt x="9057" y="4612"/>
                  <a:pt x="9065" y="4655"/>
                </a:cubicBezTo>
                <a:lnTo>
                  <a:pt x="9179" y="4727"/>
                </a:lnTo>
                <a:lnTo>
                  <a:pt x="8923" y="4982"/>
                </a:lnTo>
                <a:cubicBezTo>
                  <a:pt x="8896" y="5085"/>
                  <a:pt x="8867" y="5188"/>
                  <a:pt x="8840" y="5291"/>
                </a:cubicBezTo>
                <a:lnTo>
                  <a:pt x="9236" y="5927"/>
                </a:lnTo>
                <a:lnTo>
                  <a:pt x="9829" y="6000"/>
                </a:lnTo>
                <a:lnTo>
                  <a:pt x="10000" y="6309"/>
                </a:lnTo>
                <a:lnTo>
                  <a:pt x="9829" y="6927"/>
                </a:lnTo>
                <a:lnTo>
                  <a:pt x="8951" y="7473"/>
                </a:lnTo>
                <a:lnTo>
                  <a:pt x="9179" y="8455"/>
                </a:lnTo>
                <a:lnTo>
                  <a:pt x="8840" y="8873"/>
                </a:lnTo>
                <a:lnTo>
                  <a:pt x="9065" y="9327"/>
                </a:lnTo>
                <a:lnTo>
                  <a:pt x="7988" y="9182"/>
                </a:lnTo>
                <a:lnTo>
                  <a:pt x="7451" y="9327"/>
                </a:lnTo>
                <a:lnTo>
                  <a:pt x="6912" y="9327"/>
                </a:lnTo>
                <a:lnTo>
                  <a:pt x="6261" y="9455"/>
                </a:lnTo>
                <a:lnTo>
                  <a:pt x="5610" y="9545"/>
                </a:lnTo>
                <a:lnTo>
                  <a:pt x="4618" y="10000"/>
                </a:lnTo>
                <a:cubicBezTo>
                  <a:pt x="4627" y="9703"/>
                  <a:pt x="4637" y="9406"/>
                  <a:pt x="4646" y="9109"/>
                </a:cubicBezTo>
                <a:cubicBezTo>
                  <a:pt x="4581" y="9030"/>
                  <a:pt x="4515" y="8952"/>
                  <a:pt x="4447" y="8873"/>
                </a:cubicBezTo>
                <a:lnTo>
                  <a:pt x="3768" y="8782"/>
                </a:lnTo>
                <a:lnTo>
                  <a:pt x="3542" y="8400"/>
                </a:lnTo>
                <a:lnTo>
                  <a:pt x="3115" y="8382"/>
                </a:lnTo>
                <a:lnTo>
                  <a:pt x="2917" y="8473"/>
                </a:lnTo>
                <a:lnTo>
                  <a:pt x="2040" y="8382"/>
                </a:lnTo>
                <a:lnTo>
                  <a:pt x="1700" y="8564"/>
                </a:lnTo>
                <a:cubicBezTo>
                  <a:pt x="1644" y="8794"/>
                  <a:pt x="2324" y="7943"/>
                  <a:pt x="2267" y="8173"/>
                </a:cubicBezTo>
                <a:lnTo>
                  <a:pt x="2583" y="8144"/>
                </a:lnTo>
                <a:cubicBezTo>
                  <a:pt x="2364" y="8005"/>
                  <a:pt x="2290" y="7400"/>
                  <a:pt x="1901" y="7254"/>
                </a:cubicBezTo>
                <a:cubicBezTo>
                  <a:pt x="1512" y="7108"/>
                  <a:pt x="1118" y="6933"/>
                  <a:pt x="1144" y="6840"/>
                </a:cubicBezTo>
                <a:cubicBezTo>
                  <a:pt x="1133" y="6819"/>
                  <a:pt x="1123" y="6799"/>
                  <a:pt x="1112" y="6778"/>
                </a:cubicBezTo>
                <a:lnTo>
                  <a:pt x="607" y="6726"/>
                </a:lnTo>
                <a:lnTo>
                  <a:pt x="1039" y="6877"/>
                </a:lnTo>
                <a:lnTo>
                  <a:pt x="619" y="6295"/>
                </a:lnTo>
                <a:lnTo>
                  <a:pt x="0" y="6309"/>
                </a:lnTo>
                <a:cubicBezTo>
                  <a:pt x="76" y="6170"/>
                  <a:pt x="152" y="6030"/>
                  <a:pt x="227" y="5891"/>
                </a:cubicBezTo>
                <a:lnTo>
                  <a:pt x="850" y="5618"/>
                </a:lnTo>
                <a:cubicBezTo>
                  <a:pt x="888" y="5485"/>
                  <a:pt x="925" y="5351"/>
                  <a:pt x="963" y="5218"/>
                </a:cubicBezTo>
                <a:cubicBezTo>
                  <a:pt x="936" y="5079"/>
                  <a:pt x="905" y="4939"/>
                  <a:pt x="878" y="4800"/>
                </a:cubicBezTo>
                <a:lnTo>
                  <a:pt x="1274" y="4582"/>
                </a:lnTo>
                <a:lnTo>
                  <a:pt x="737" y="3982"/>
                </a:lnTo>
                <a:lnTo>
                  <a:pt x="1304" y="3182"/>
                </a:lnTo>
                <a:lnTo>
                  <a:pt x="680" y="2636"/>
                </a:lnTo>
                <a:cubicBezTo>
                  <a:pt x="737" y="2436"/>
                  <a:pt x="793" y="2236"/>
                  <a:pt x="850" y="2036"/>
                </a:cubicBezTo>
                <a:lnTo>
                  <a:pt x="227" y="1491"/>
                </a:lnTo>
                <a:lnTo>
                  <a:pt x="227" y="69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1" name="AL"/>
          <p:cNvSpPr>
            <a:spLocks noChangeAspect="1"/>
          </p:cNvSpPr>
          <p:nvPr/>
        </p:nvSpPr>
        <p:spPr bwMode="auto">
          <a:xfrm>
            <a:off x="6745288" y="5126038"/>
            <a:ext cx="276225" cy="419100"/>
          </a:xfrm>
          <a:custGeom>
            <a:avLst/>
            <a:gdLst>
              <a:gd name="T0" fmla="*/ 14 w 188"/>
              <a:gd name="T1" fmla="*/ 80 h 353"/>
              <a:gd name="T2" fmla="*/ 26 w 188"/>
              <a:gd name="T3" fmla="*/ 90 h 353"/>
              <a:gd name="T4" fmla="*/ 26 w 188"/>
              <a:gd name="T5" fmla="*/ 106 h 353"/>
              <a:gd name="T6" fmla="*/ 24 w 188"/>
              <a:gd name="T7" fmla="*/ 116 h 353"/>
              <a:gd name="T8" fmla="*/ 17 w 188"/>
              <a:gd name="T9" fmla="*/ 130 h 353"/>
              <a:gd name="T10" fmla="*/ 17 w 188"/>
              <a:gd name="T11" fmla="*/ 164 h 353"/>
              <a:gd name="T12" fmla="*/ 22 w 188"/>
              <a:gd name="T13" fmla="*/ 177 h 353"/>
              <a:gd name="T14" fmla="*/ 5 w 188"/>
              <a:gd name="T15" fmla="*/ 205 h 353"/>
              <a:gd name="T16" fmla="*/ 9 w 188"/>
              <a:gd name="T17" fmla="*/ 211 h 353"/>
              <a:gd name="T18" fmla="*/ 0 w 188"/>
              <a:gd name="T19" fmla="*/ 226 h 353"/>
              <a:gd name="T20" fmla="*/ 8 w 188"/>
              <a:gd name="T21" fmla="*/ 242 h 353"/>
              <a:gd name="T22" fmla="*/ 9 w 188"/>
              <a:gd name="T23" fmla="*/ 253 h 353"/>
              <a:gd name="T24" fmla="*/ 14 w 188"/>
              <a:gd name="T25" fmla="*/ 239 h 353"/>
              <a:gd name="T26" fmla="*/ 28 w 188"/>
              <a:gd name="T27" fmla="*/ 258 h 353"/>
              <a:gd name="T28" fmla="*/ 26 w 188"/>
              <a:gd name="T29" fmla="*/ 276 h 353"/>
              <a:gd name="T30" fmla="*/ 19 w 188"/>
              <a:gd name="T31" fmla="*/ 285 h 353"/>
              <a:gd name="T32" fmla="*/ 28 w 188"/>
              <a:gd name="T33" fmla="*/ 300 h 353"/>
              <a:gd name="T34" fmla="*/ 40 w 188"/>
              <a:gd name="T35" fmla="*/ 306 h 353"/>
              <a:gd name="T36" fmla="*/ 59 w 188"/>
              <a:gd name="T37" fmla="*/ 319 h 353"/>
              <a:gd name="T38" fmla="*/ 75 w 188"/>
              <a:gd name="T39" fmla="*/ 335 h 353"/>
              <a:gd name="T40" fmla="*/ 78 w 188"/>
              <a:gd name="T41" fmla="*/ 345 h 353"/>
              <a:gd name="T42" fmla="*/ 97 w 188"/>
              <a:gd name="T43" fmla="*/ 353 h 353"/>
              <a:gd name="T44" fmla="*/ 113 w 188"/>
              <a:gd name="T45" fmla="*/ 345 h 353"/>
              <a:gd name="T46" fmla="*/ 133 w 188"/>
              <a:gd name="T47" fmla="*/ 332 h 353"/>
              <a:gd name="T48" fmla="*/ 143 w 188"/>
              <a:gd name="T49" fmla="*/ 309 h 353"/>
              <a:gd name="T50" fmla="*/ 152 w 188"/>
              <a:gd name="T51" fmla="*/ 295 h 353"/>
              <a:gd name="T52" fmla="*/ 169 w 188"/>
              <a:gd name="T53" fmla="*/ 261 h 353"/>
              <a:gd name="T54" fmla="*/ 174 w 188"/>
              <a:gd name="T55" fmla="*/ 235 h 353"/>
              <a:gd name="T56" fmla="*/ 176 w 188"/>
              <a:gd name="T57" fmla="*/ 211 h 353"/>
              <a:gd name="T58" fmla="*/ 188 w 188"/>
              <a:gd name="T59" fmla="*/ 195 h 353"/>
              <a:gd name="T60" fmla="*/ 169 w 188"/>
              <a:gd name="T61" fmla="*/ 189 h 353"/>
              <a:gd name="T62" fmla="*/ 162 w 188"/>
              <a:gd name="T63" fmla="*/ 180 h 353"/>
              <a:gd name="T64" fmla="*/ 152 w 188"/>
              <a:gd name="T65" fmla="*/ 182 h 353"/>
              <a:gd name="T66" fmla="*/ 136 w 188"/>
              <a:gd name="T67" fmla="*/ 174 h 353"/>
              <a:gd name="T68" fmla="*/ 132 w 188"/>
              <a:gd name="T69" fmla="*/ 150 h 353"/>
              <a:gd name="T70" fmla="*/ 127 w 188"/>
              <a:gd name="T71" fmla="*/ 133 h 353"/>
              <a:gd name="T72" fmla="*/ 136 w 188"/>
              <a:gd name="T73" fmla="*/ 114 h 353"/>
              <a:gd name="T74" fmla="*/ 136 w 188"/>
              <a:gd name="T75" fmla="*/ 59 h 353"/>
              <a:gd name="T76" fmla="*/ 136 w 188"/>
              <a:gd name="T77" fmla="*/ 40 h 353"/>
              <a:gd name="T78" fmla="*/ 127 w 188"/>
              <a:gd name="T79" fmla="*/ 29 h 353"/>
              <a:gd name="T80" fmla="*/ 110 w 188"/>
              <a:gd name="T81" fmla="*/ 27 h 353"/>
              <a:gd name="T82" fmla="*/ 99 w 188"/>
              <a:gd name="T83" fmla="*/ 22 h 353"/>
              <a:gd name="T84" fmla="*/ 89 w 188"/>
              <a:gd name="T85" fmla="*/ 3 h 353"/>
              <a:gd name="T86" fmla="*/ 78 w 188"/>
              <a:gd name="T87" fmla="*/ 0 h 353"/>
              <a:gd name="T88" fmla="*/ 72 w 188"/>
              <a:gd name="T89" fmla="*/ 9 h 353"/>
              <a:gd name="T90" fmla="*/ 71 w 188"/>
              <a:gd name="T91" fmla="*/ 3 h 353"/>
              <a:gd name="T92" fmla="*/ 52 w 188"/>
              <a:gd name="T93" fmla="*/ 6 h 353"/>
              <a:gd name="T94" fmla="*/ 42 w 188"/>
              <a:gd name="T95" fmla="*/ 0 h 353"/>
              <a:gd name="T96" fmla="*/ 28 w 188"/>
              <a:gd name="T97" fmla="*/ 10 h 353"/>
              <a:gd name="T98" fmla="*/ 26 w 188"/>
              <a:gd name="T99" fmla="*/ 43 h 353"/>
              <a:gd name="T100" fmla="*/ 22 w 188"/>
              <a:gd name="T101" fmla="*/ 63 h 353"/>
              <a:gd name="T102" fmla="*/ 14 w 188"/>
              <a:gd name="T103" fmla="*/ 8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353">
                <a:moveTo>
                  <a:pt x="14" y="80"/>
                </a:moveTo>
                <a:lnTo>
                  <a:pt x="26" y="90"/>
                </a:lnTo>
                <a:lnTo>
                  <a:pt x="26" y="106"/>
                </a:lnTo>
                <a:lnTo>
                  <a:pt x="24" y="116"/>
                </a:lnTo>
                <a:lnTo>
                  <a:pt x="17" y="130"/>
                </a:lnTo>
                <a:lnTo>
                  <a:pt x="17" y="164"/>
                </a:lnTo>
                <a:lnTo>
                  <a:pt x="22" y="177"/>
                </a:lnTo>
                <a:lnTo>
                  <a:pt x="5" y="205"/>
                </a:lnTo>
                <a:lnTo>
                  <a:pt x="9" y="211"/>
                </a:lnTo>
                <a:lnTo>
                  <a:pt x="0" y="226"/>
                </a:lnTo>
                <a:lnTo>
                  <a:pt x="8" y="242"/>
                </a:lnTo>
                <a:lnTo>
                  <a:pt x="9" y="253"/>
                </a:lnTo>
                <a:lnTo>
                  <a:pt x="14" y="239"/>
                </a:lnTo>
                <a:lnTo>
                  <a:pt x="28" y="258"/>
                </a:lnTo>
                <a:lnTo>
                  <a:pt x="26" y="276"/>
                </a:lnTo>
                <a:lnTo>
                  <a:pt x="19" y="285"/>
                </a:lnTo>
                <a:lnTo>
                  <a:pt x="28" y="300"/>
                </a:lnTo>
                <a:lnTo>
                  <a:pt x="40" y="306"/>
                </a:lnTo>
                <a:lnTo>
                  <a:pt x="59" y="319"/>
                </a:lnTo>
                <a:lnTo>
                  <a:pt x="75" y="335"/>
                </a:lnTo>
                <a:lnTo>
                  <a:pt x="78" y="345"/>
                </a:lnTo>
                <a:lnTo>
                  <a:pt x="97" y="353"/>
                </a:lnTo>
                <a:lnTo>
                  <a:pt x="113" y="345"/>
                </a:lnTo>
                <a:lnTo>
                  <a:pt x="133" y="332"/>
                </a:lnTo>
                <a:lnTo>
                  <a:pt x="143" y="309"/>
                </a:lnTo>
                <a:lnTo>
                  <a:pt x="152" y="295"/>
                </a:lnTo>
                <a:lnTo>
                  <a:pt x="169" y="261"/>
                </a:lnTo>
                <a:lnTo>
                  <a:pt x="174" y="235"/>
                </a:lnTo>
                <a:lnTo>
                  <a:pt x="176" y="211"/>
                </a:lnTo>
                <a:lnTo>
                  <a:pt x="188" y="195"/>
                </a:lnTo>
                <a:lnTo>
                  <a:pt x="169" y="189"/>
                </a:lnTo>
                <a:lnTo>
                  <a:pt x="162" y="180"/>
                </a:lnTo>
                <a:lnTo>
                  <a:pt x="152" y="182"/>
                </a:lnTo>
                <a:lnTo>
                  <a:pt x="136" y="174"/>
                </a:lnTo>
                <a:lnTo>
                  <a:pt x="132" y="150"/>
                </a:lnTo>
                <a:lnTo>
                  <a:pt x="127" y="133"/>
                </a:lnTo>
                <a:lnTo>
                  <a:pt x="136" y="114"/>
                </a:lnTo>
                <a:lnTo>
                  <a:pt x="136" y="59"/>
                </a:lnTo>
                <a:lnTo>
                  <a:pt x="136" y="40"/>
                </a:lnTo>
                <a:lnTo>
                  <a:pt x="127" y="29"/>
                </a:lnTo>
                <a:lnTo>
                  <a:pt x="110" y="27"/>
                </a:lnTo>
                <a:lnTo>
                  <a:pt x="99" y="22"/>
                </a:lnTo>
                <a:lnTo>
                  <a:pt x="89" y="3"/>
                </a:lnTo>
                <a:lnTo>
                  <a:pt x="78" y="0"/>
                </a:lnTo>
                <a:lnTo>
                  <a:pt x="72" y="9"/>
                </a:lnTo>
                <a:lnTo>
                  <a:pt x="71" y="3"/>
                </a:lnTo>
                <a:lnTo>
                  <a:pt x="52" y="6"/>
                </a:lnTo>
                <a:lnTo>
                  <a:pt x="42" y="0"/>
                </a:lnTo>
                <a:lnTo>
                  <a:pt x="28" y="10"/>
                </a:lnTo>
                <a:lnTo>
                  <a:pt x="26" y="43"/>
                </a:lnTo>
                <a:lnTo>
                  <a:pt x="22" y="63"/>
                </a:lnTo>
                <a:lnTo>
                  <a:pt x="14" y="8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2" name="BA"/>
          <p:cNvSpPr>
            <a:spLocks noChangeAspect="1"/>
          </p:cNvSpPr>
          <p:nvPr/>
        </p:nvSpPr>
        <p:spPr bwMode="auto">
          <a:xfrm>
            <a:off x="6326188" y="4695825"/>
            <a:ext cx="444500" cy="369888"/>
          </a:xfrm>
          <a:custGeom>
            <a:avLst/>
            <a:gdLst>
              <a:gd name="T0" fmla="*/ 277 w 300"/>
              <a:gd name="T1" fmla="*/ 44 h 313"/>
              <a:gd name="T2" fmla="*/ 262 w 300"/>
              <a:gd name="T3" fmla="*/ 44 h 313"/>
              <a:gd name="T4" fmla="*/ 245 w 300"/>
              <a:gd name="T5" fmla="*/ 31 h 313"/>
              <a:gd name="T6" fmla="*/ 224 w 300"/>
              <a:gd name="T7" fmla="*/ 18 h 313"/>
              <a:gd name="T8" fmla="*/ 197 w 300"/>
              <a:gd name="T9" fmla="*/ 34 h 313"/>
              <a:gd name="T10" fmla="*/ 173 w 300"/>
              <a:gd name="T11" fmla="*/ 27 h 313"/>
              <a:gd name="T12" fmla="*/ 152 w 300"/>
              <a:gd name="T13" fmla="*/ 38 h 313"/>
              <a:gd name="T14" fmla="*/ 150 w 300"/>
              <a:gd name="T15" fmla="*/ 27 h 313"/>
              <a:gd name="T16" fmla="*/ 131 w 300"/>
              <a:gd name="T17" fmla="*/ 26 h 313"/>
              <a:gd name="T18" fmla="*/ 109 w 300"/>
              <a:gd name="T19" fmla="*/ 0 h 313"/>
              <a:gd name="T20" fmla="*/ 74 w 300"/>
              <a:gd name="T21" fmla="*/ 43 h 313"/>
              <a:gd name="T22" fmla="*/ 21 w 300"/>
              <a:gd name="T23" fmla="*/ 23 h 313"/>
              <a:gd name="T24" fmla="*/ 0 w 300"/>
              <a:gd name="T25" fmla="*/ 30 h 313"/>
              <a:gd name="T26" fmla="*/ 0 w 300"/>
              <a:gd name="T27" fmla="*/ 44 h 313"/>
              <a:gd name="T28" fmla="*/ 57 w 300"/>
              <a:gd name="T29" fmla="*/ 111 h 313"/>
              <a:gd name="T30" fmla="*/ 71 w 300"/>
              <a:gd name="T31" fmla="*/ 155 h 313"/>
              <a:gd name="T32" fmla="*/ 101 w 300"/>
              <a:gd name="T33" fmla="*/ 181 h 313"/>
              <a:gd name="T34" fmla="*/ 114 w 300"/>
              <a:gd name="T35" fmla="*/ 176 h 313"/>
              <a:gd name="T36" fmla="*/ 188 w 300"/>
              <a:gd name="T37" fmla="*/ 266 h 313"/>
              <a:gd name="T38" fmla="*/ 193 w 300"/>
              <a:gd name="T39" fmla="*/ 286 h 313"/>
              <a:gd name="T40" fmla="*/ 188 w 300"/>
              <a:gd name="T41" fmla="*/ 299 h 313"/>
              <a:gd name="T42" fmla="*/ 193 w 300"/>
              <a:gd name="T43" fmla="*/ 313 h 313"/>
              <a:gd name="T44" fmla="*/ 215 w 300"/>
              <a:gd name="T45" fmla="*/ 300 h 313"/>
              <a:gd name="T46" fmla="*/ 231 w 300"/>
              <a:gd name="T47" fmla="*/ 294 h 313"/>
              <a:gd name="T48" fmla="*/ 231 w 300"/>
              <a:gd name="T49" fmla="*/ 265 h 313"/>
              <a:gd name="T50" fmla="*/ 253 w 300"/>
              <a:gd name="T51" fmla="*/ 245 h 313"/>
              <a:gd name="T52" fmla="*/ 262 w 300"/>
              <a:gd name="T53" fmla="*/ 223 h 313"/>
              <a:gd name="T54" fmla="*/ 285 w 300"/>
              <a:gd name="T55" fmla="*/ 213 h 313"/>
              <a:gd name="T56" fmla="*/ 288 w 300"/>
              <a:gd name="T57" fmla="*/ 188 h 313"/>
              <a:gd name="T58" fmla="*/ 285 w 300"/>
              <a:gd name="T59" fmla="*/ 164 h 313"/>
              <a:gd name="T60" fmla="*/ 296 w 300"/>
              <a:gd name="T61" fmla="*/ 154 h 313"/>
              <a:gd name="T62" fmla="*/ 276 w 300"/>
              <a:gd name="T63" fmla="*/ 121 h 313"/>
              <a:gd name="T64" fmla="*/ 300 w 300"/>
              <a:gd name="T65" fmla="*/ 74 h 313"/>
              <a:gd name="T66" fmla="*/ 277 w 300"/>
              <a:gd name="T6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13">
                <a:moveTo>
                  <a:pt x="277" y="44"/>
                </a:moveTo>
                <a:lnTo>
                  <a:pt x="262" y="44"/>
                </a:lnTo>
                <a:lnTo>
                  <a:pt x="245" y="31"/>
                </a:lnTo>
                <a:lnTo>
                  <a:pt x="224" y="18"/>
                </a:lnTo>
                <a:lnTo>
                  <a:pt x="197" y="34"/>
                </a:lnTo>
                <a:lnTo>
                  <a:pt x="173" y="27"/>
                </a:lnTo>
                <a:lnTo>
                  <a:pt x="152" y="38"/>
                </a:lnTo>
                <a:lnTo>
                  <a:pt x="150" y="27"/>
                </a:lnTo>
                <a:lnTo>
                  <a:pt x="131" y="26"/>
                </a:lnTo>
                <a:lnTo>
                  <a:pt x="109" y="0"/>
                </a:lnTo>
                <a:lnTo>
                  <a:pt x="74" y="43"/>
                </a:lnTo>
                <a:lnTo>
                  <a:pt x="21" y="23"/>
                </a:lnTo>
                <a:lnTo>
                  <a:pt x="0" y="30"/>
                </a:lnTo>
                <a:lnTo>
                  <a:pt x="0" y="44"/>
                </a:lnTo>
                <a:lnTo>
                  <a:pt x="57" y="111"/>
                </a:lnTo>
                <a:lnTo>
                  <a:pt x="71" y="155"/>
                </a:lnTo>
                <a:lnTo>
                  <a:pt x="101" y="181"/>
                </a:lnTo>
                <a:lnTo>
                  <a:pt x="114" y="176"/>
                </a:lnTo>
                <a:lnTo>
                  <a:pt x="188" y="266"/>
                </a:lnTo>
                <a:lnTo>
                  <a:pt x="193" y="286"/>
                </a:lnTo>
                <a:lnTo>
                  <a:pt x="188" y="299"/>
                </a:lnTo>
                <a:lnTo>
                  <a:pt x="193" y="313"/>
                </a:lnTo>
                <a:lnTo>
                  <a:pt x="215" y="300"/>
                </a:lnTo>
                <a:lnTo>
                  <a:pt x="231" y="294"/>
                </a:lnTo>
                <a:lnTo>
                  <a:pt x="231" y="265"/>
                </a:lnTo>
                <a:lnTo>
                  <a:pt x="253" y="245"/>
                </a:lnTo>
                <a:lnTo>
                  <a:pt x="262" y="223"/>
                </a:lnTo>
                <a:lnTo>
                  <a:pt x="285" y="213"/>
                </a:lnTo>
                <a:lnTo>
                  <a:pt x="288" y="188"/>
                </a:lnTo>
                <a:lnTo>
                  <a:pt x="285" y="164"/>
                </a:lnTo>
                <a:lnTo>
                  <a:pt x="296" y="154"/>
                </a:lnTo>
                <a:lnTo>
                  <a:pt x="276" y="121"/>
                </a:lnTo>
                <a:lnTo>
                  <a:pt x="300" y="74"/>
                </a:lnTo>
                <a:lnTo>
                  <a:pt x="277" y="44"/>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13" name="IE"/>
          <p:cNvGrpSpPr/>
          <p:nvPr/>
        </p:nvGrpSpPr>
        <p:grpSpPr>
          <a:xfrm>
            <a:off x="3801983" y="2760668"/>
            <a:ext cx="611448" cy="468313"/>
            <a:chOff x="754064" y="3078843"/>
            <a:chExt cx="611449" cy="468313"/>
          </a:xfrm>
          <a:solidFill>
            <a:srgbClr val="FAFAFA"/>
          </a:solidFill>
          <a:effectLst/>
        </p:grpSpPr>
        <p:sp>
          <p:nvSpPr>
            <p:cNvPr id="104" name="Freeform 575"/>
            <p:cNvSpPr>
              <a:spLocks noChangeAspect="1"/>
            </p:cNvSpPr>
            <p:nvPr/>
          </p:nvSpPr>
          <p:spPr bwMode="auto">
            <a:xfrm>
              <a:off x="754064" y="3078843"/>
              <a:ext cx="566737" cy="468313"/>
            </a:xfrm>
            <a:custGeom>
              <a:avLst/>
              <a:gdLst>
                <a:gd name="T0" fmla="*/ 137 w 384"/>
                <a:gd name="T1" fmla="*/ 163 h 392"/>
                <a:gd name="T2" fmla="*/ 135 w 384"/>
                <a:gd name="T3" fmla="*/ 198 h 392"/>
                <a:gd name="T4" fmla="*/ 109 w 384"/>
                <a:gd name="T5" fmla="*/ 192 h 392"/>
                <a:gd name="T6" fmla="*/ 80 w 384"/>
                <a:gd name="T7" fmla="*/ 237 h 392"/>
                <a:gd name="T8" fmla="*/ 42 w 384"/>
                <a:gd name="T9" fmla="*/ 272 h 392"/>
                <a:gd name="T10" fmla="*/ 17 w 384"/>
                <a:gd name="T11" fmla="*/ 277 h 392"/>
                <a:gd name="T12" fmla="*/ 8 w 384"/>
                <a:gd name="T13" fmla="*/ 286 h 392"/>
                <a:gd name="T14" fmla="*/ 14 w 384"/>
                <a:gd name="T15" fmla="*/ 313 h 392"/>
                <a:gd name="T16" fmla="*/ 6 w 384"/>
                <a:gd name="T17" fmla="*/ 347 h 392"/>
                <a:gd name="T18" fmla="*/ 22 w 384"/>
                <a:gd name="T19" fmla="*/ 347 h 392"/>
                <a:gd name="T20" fmla="*/ 38 w 384"/>
                <a:gd name="T21" fmla="*/ 346 h 392"/>
                <a:gd name="T22" fmla="*/ 31 w 384"/>
                <a:gd name="T23" fmla="*/ 371 h 392"/>
                <a:gd name="T24" fmla="*/ 69 w 384"/>
                <a:gd name="T25" fmla="*/ 380 h 392"/>
                <a:gd name="T26" fmla="*/ 102 w 384"/>
                <a:gd name="T27" fmla="*/ 392 h 392"/>
                <a:gd name="T28" fmla="*/ 137 w 384"/>
                <a:gd name="T29" fmla="*/ 371 h 392"/>
                <a:gd name="T30" fmla="*/ 236 w 384"/>
                <a:gd name="T31" fmla="*/ 380 h 392"/>
                <a:gd name="T32" fmla="*/ 288 w 384"/>
                <a:gd name="T33" fmla="*/ 343 h 392"/>
                <a:gd name="T34" fmla="*/ 316 w 384"/>
                <a:gd name="T35" fmla="*/ 313 h 392"/>
                <a:gd name="T36" fmla="*/ 340 w 384"/>
                <a:gd name="T37" fmla="*/ 277 h 392"/>
                <a:gd name="T38" fmla="*/ 351 w 384"/>
                <a:gd name="T39" fmla="*/ 192 h 392"/>
                <a:gd name="T40" fmla="*/ 365 w 384"/>
                <a:gd name="T41" fmla="*/ 152 h 392"/>
                <a:gd name="T42" fmla="*/ 346 w 384"/>
                <a:gd name="T43" fmla="*/ 108 h 392"/>
                <a:gd name="T44" fmla="*/ 318 w 384"/>
                <a:gd name="T45" fmla="*/ 99 h 392"/>
                <a:gd name="T46" fmla="*/ 304 w 384"/>
                <a:gd name="T47" fmla="*/ 58 h 392"/>
                <a:gd name="T48" fmla="*/ 344 w 384"/>
                <a:gd name="T49" fmla="*/ 0 h 392"/>
                <a:gd name="T50" fmla="*/ 283 w 384"/>
                <a:gd name="T51" fmla="*/ 6 h 392"/>
                <a:gd name="T52" fmla="*/ 255 w 384"/>
                <a:gd name="T53" fmla="*/ 27 h 392"/>
                <a:gd name="T54" fmla="*/ 228 w 384"/>
                <a:gd name="T55" fmla="*/ 31 h 392"/>
                <a:gd name="T56" fmla="*/ 259 w 384"/>
                <a:gd name="T57" fmla="*/ 62 h 392"/>
                <a:gd name="T58" fmla="*/ 201 w 384"/>
                <a:gd name="T59" fmla="*/ 71 h 392"/>
                <a:gd name="T60" fmla="*/ 144 w 384"/>
                <a:gd name="T61" fmla="*/ 45 h 392"/>
                <a:gd name="T62" fmla="*/ 127 w 384"/>
                <a:gd name="T63" fmla="*/ 77 h 392"/>
                <a:gd name="T64" fmla="*/ 126 w 384"/>
                <a:gd name="T65" fmla="*/ 95 h 392"/>
                <a:gd name="T66" fmla="*/ 111 w 384"/>
                <a:gd name="T67" fmla="*/ 126 h 392"/>
                <a:gd name="T68" fmla="*/ 92 w 384"/>
                <a:gd name="T69" fmla="*/ 158 h 392"/>
                <a:gd name="T70" fmla="*/ 113 w 384"/>
                <a:gd name="T71" fmla="*/ 17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92">
                  <a:moveTo>
                    <a:pt x="142" y="148"/>
                  </a:moveTo>
                  <a:lnTo>
                    <a:pt x="137" y="163"/>
                  </a:lnTo>
                  <a:lnTo>
                    <a:pt x="142" y="185"/>
                  </a:lnTo>
                  <a:lnTo>
                    <a:pt x="135" y="198"/>
                  </a:lnTo>
                  <a:lnTo>
                    <a:pt x="123" y="189"/>
                  </a:lnTo>
                  <a:lnTo>
                    <a:pt x="109" y="192"/>
                  </a:lnTo>
                  <a:lnTo>
                    <a:pt x="109" y="208"/>
                  </a:lnTo>
                  <a:lnTo>
                    <a:pt x="80" y="237"/>
                  </a:lnTo>
                  <a:lnTo>
                    <a:pt x="64" y="245"/>
                  </a:lnTo>
                  <a:lnTo>
                    <a:pt x="42" y="272"/>
                  </a:lnTo>
                  <a:lnTo>
                    <a:pt x="28" y="279"/>
                  </a:lnTo>
                  <a:lnTo>
                    <a:pt x="17" y="277"/>
                  </a:lnTo>
                  <a:lnTo>
                    <a:pt x="12" y="281"/>
                  </a:lnTo>
                  <a:lnTo>
                    <a:pt x="8" y="286"/>
                  </a:lnTo>
                  <a:lnTo>
                    <a:pt x="14" y="294"/>
                  </a:lnTo>
                  <a:lnTo>
                    <a:pt x="14" y="313"/>
                  </a:lnTo>
                  <a:lnTo>
                    <a:pt x="0" y="330"/>
                  </a:lnTo>
                  <a:lnTo>
                    <a:pt x="6" y="347"/>
                  </a:lnTo>
                  <a:lnTo>
                    <a:pt x="6" y="347"/>
                  </a:lnTo>
                  <a:lnTo>
                    <a:pt x="22" y="347"/>
                  </a:lnTo>
                  <a:lnTo>
                    <a:pt x="28" y="334"/>
                  </a:lnTo>
                  <a:lnTo>
                    <a:pt x="38" y="346"/>
                  </a:lnTo>
                  <a:lnTo>
                    <a:pt x="26" y="355"/>
                  </a:lnTo>
                  <a:lnTo>
                    <a:pt x="31" y="371"/>
                  </a:lnTo>
                  <a:lnTo>
                    <a:pt x="38" y="374"/>
                  </a:lnTo>
                  <a:lnTo>
                    <a:pt x="69" y="380"/>
                  </a:lnTo>
                  <a:lnTo>
                    <a:pt x="74" y="382"/>
                  </a:lnTo>
                  <a:lnTo>
                    <a:pt x="102" y="392"/>
                  </a:lnTo>
                  <a:lnTo>
                    <a:pt x="113" y="387"/>
                  </a:lnTo>
                  <a:lnTo>
                    <a:pt x="137" y="371"/>
                  </a:lnTo>
                  <a:lnTo>
                    <a:pt x="173" y="380"/>
                  </a:lnTo>
                  <a:lnTo>
                    <a:pt x="236" y="380"/>
                  </a:lnTo>
                  <a:lnTo>
                    <a:pt x="271" y="371"/>
                  </a:lnTo>
                  <a:lnTo>
                    <a:pt x="288" y="343"/>
                  </a:lnTo>
                  <a:lnTo>
                    <a:pt x="309" y="330"/>
                  </a:lnTo>
                  <a:lnTo>
                    <a:pt x="316" y="313"/>
                  </a:lnTo>
                  <a:lnTo>
                    <a:pt x="323" y="290"/>
                  </a:lnTo>
                  <a:lnTo>
                    <a:pt x="340" y="277"/>
                  </a:lnTo>
                  <a:lnTo>
                    <a:pt x="354" y="237"/>
                  </a:lnTo>
                  <a:lnTo>
                    <a:pt x="351" y="192"/>
                  </a:lnTo>
                  <a:lnTo>
                    <a:pt x="384" y="171"/>
                  </a:lnTo>
                  <a:lnTo>
                    <a:pt x="365" y="152"/>
                  </a:lnTo>
                  <a:lnTo>
                    <a:pt x="359" y="121"/>
                  </a:lnTo>
                  <a:lnTo>
                    <a:pt x="346" y="108"/>
                  </a:lnTo>
                  <a:lnTo>
                    <a:pt x="332" y="108"/>
                  </a:lnTo>
                  <a:lnTo>
                    <a:pt x="318" y="99"/>
                  </a:lnTo>
                  <a:lnTo>
                    <a:pt x="293" y="65"/>
                  </a:lnTo>
                  <a:lnTo>
                    <a:pt x="304" y="58"/>
                  </a:lnTo>
                  <a:lnTo>
                    <a:pt x="349" y="13"/>
                  </a:lnTo>
                  <a:lnTo>
                    <a:pt x="344" y="0"/>
                  </a:lnTo>
                  <a:lnTo>
                    <a:pt x="330" y="3"/>
                  </a:lnTo>
                  <a:lnTo>
                    <a:pt x="283" y="6"/>
                  </a:lnTo>
                  <a:lnTo>
                    <a:pt x="266" y="18"/>
                  </a:lnTo>
                  <a:lnTo>
                    <a:pt x="255" y="27"/>
                  </a:lnTo>
                  <a:lnTo>
                    <a:pt x="239" y="24"/>
                  </a:lnTo>
                  <a:lnTo>
                    <a:pt x="228" y="31"/>
                  </a:lnTo>
                  <a:lnTo>
                    <a:pt x="236" y="45"/>
                  </a:lnTo>
                  <a:lnTo>
                    <a:pt x="259" y="62"/>
                  </a:lnTo>
                  <a:lnTo>
                    <a:pt x="242" y="65"/>
                  </a:lnTo>
                  <a:lnTo>
                    <a:pt x="201" y="71"/>
                  </a:lnTo>
                  <a:lnTo>
                    <a:pt x="173" y="58"/>
                  </a:lnTo>
                  <a:lnTo>
                    <a:pt x="144" y="45"/>
                  </a:lnTo>
                  <a:lnTo>
                    <a:pt x="135" y="52"/>
                  </a:lnTo>
                  <a:lnTo>
                    <a:pt x="127" y="77"/>
                  </a:lnTo>
                  <a:lnTo>
                    <a:pt x="130" y="89"/>
                  </a:lnTo>
                  <a:lnTo>
                    <a:pt x="126" y="95"/>
                  </a:lnTo>
                  <a:lnTo>
                    <a:pt x="109" y="102"/>
                  </a:lnTo>
                  <a:lnTo>
                    <a:pt x="111" y="126"/>
                  </a:lnTo>
                  <a:lnTo>
                    <a:pt x="109" y="132"/>
                  </a:lnTo>
                  <a:lnTo>
                    <a:pt x="92" y="158"/>
                  </a:lnTo>
                  <a:lnTo>
                    <a:pt x="107" y="182"/>
                  </a:lnTo>
                  <a:lnTo>
                    <a:pt x="113" y="179"/>
                  </a:lnTo>
                  <a:lnTo>
                    <a:pt x="142" y="14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5" name="Freeform 576"/>
            <p:cNvSpPr>
              <a:spLocks noChangeAspect="1"/>
            </p:cNvSpPr>
            <p:nvPr/>
          </p:nvSpPr>
          <p:spPr bwMode="auto">
            <a:xfrm>
              <a:off x="1182114" y="3116440"/>
              <a:ext cx="183399" cy="169877"/>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14" name="NI"/>
          <p:cNvSpPr>
            <a:spLocks noChangeAspect="1"/>
          </p:cNvSpPr>
          <p:nvPr/>
        </p:nvSpPr>
        <p:spPr bwMode="auto">
          <a:xfrm>
            <a:off x="4224338" y="2790825"/>
            <a:ext cx="192087" cy="169863"/>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ea typeface="ＭＳ Ｐゴシック" charset="-128"/>
            </a:endParaRPr>
          </a:p>
        </p:txBody>
      </p:sp>
      <p:sp>
        <p:nvSpPr>
          <p:cNvPr id="15" name="CH"/>
          <p:cNvSpPr>
            <a:spLocks/>
          </p:cNvSpPr>
          <p:nvPr/>
        </p:nvSpPr>
        <p:spPr bwMode="auto">
          <a:xfrm>
            <a:off x="5226050" y="4206799"/>
            <a:ext cx="550863" cy="307975"/>
          </a:xfrm>
          <a:custGeom>
            <a:avLst/>
            <a:gdLst>
              <a:gd name="T0" fmla="*/ 197 w 376"/>
              <a:gd name="T1" fmla="*/ 53 h 276"/>
              <a:gd name="T2" fmla="*/ 178 w 376"/>
              <a:gd name="T3" fmla="*/ 34 h 276"/>
              <a:gd name="T4" fmla="*/ 181 w 376"/>
              <a:gd name="T5" fmla="*/ 27 h 276"/>
              <a:gd name="T6" fmla="*/ 170 w 376"/>
              <a:gd name="T7" fmla="*/ 16 h 276"/>
              <a:gd name="T8" fmla="*/ 159 w 376"/>
              <a:gd name="T9" fmla="*/ 0 h 276"/>
              <a:gd name="T10" fmla="*/ 148 w 376"/>
              <a:gd name="T11" fmla="*/ 16 h 276"/>
              <a:gd name="T12" fmla="*/ 140 w 376"/>
              <a:gd name="T13" fmla="*/ 10 h 276"/>
              <a:gd name="T14" fmla="*/ 127 w 376"/>
              <a:gd name="T15" fmla="*/ 24 h 276"/>
              <a:gd name="T16" fmla="*/ 127 w 376"/>
              <a:gd name="T17" fmla="*/ 32 h 276"/>
              <a:gd name="T18" fmla="*/ 110 w 376"/>
              <a:gd name="T19" fmla="*/ 40 h 276"/>
              <a:gd name="T20" fmla="*/ 68 w 376"/>
              <a:gd name="T21" fmla="*/ 77 h 276"/>
              <a:gd name="T22" fmla="*/ 57 w 376"/>
              <a:gd name="T23" fmla="*/ 93 h 276"/>
              <a:gd name="T24" fmla="*/ 57 w 376"/>
              <a:gd name="T25" fmla="*/ 111 h 276"/>
              <a:gd name="T26" fmla="*/ 42 w 376"/>
              <a:gd name="T27" fmla="*/ 117 h 276"/>
              <a:gd name="T28" fmla="*/ 11 w 376"/>
              <a:gd name="T29" fmla="*/ 154 h 276"/>
              <a:gd name="T30" fmla="*/ 11 w 376"/>
              <a:gd name="T31" fmla="*/ 167 h 276"/>
              <a:gd name="T32" fmla="*/ 0 w 376"/>
              <a:gd name="T33" fmla="*/ 182 h 276"/>
              <a:gd name="T34" fmla="*/ 5 w 376"/>
              <a:gd name="T35" fmla="*/ 201 h 276"/>
              <a:gd name="T36" fmla="*/ 19 w 376"/>
              <a:gd name="T37" fmla="*/ 191 h 276"/>
              <a:gd name="T38" fmla="*/ 33 w 376"/>
              <a:gd name="T39" fmla="*/ 174 h 276"/>
              <a:gd name="T40" fmla="*/ 54 w 376"/>
              <a:gd name="T41" fmla="*/ 169 h 276"/>
              <a:gd name="T42" fmla="*/ 68 w 376"/>
              <a:gd name="T43" fmla="*/ 174 h 276"/>
              <a:gd name="T44" fmla="*/ 73 w 376"/>
              <a:gd name="T45" fmla="*/ 201 h 276"/>
              <a:gd name="T46" fmla="*/ 71 w 376"/>
              <a:gd name="T47" fmla="*/ 219 h 276"/>
              <a:gd name="T48" fmla="*/ 80 w 376"/>
              <a:gd name="T49" fmla="*/ 232 h 276"/>
              <a:gd name="T50" fmla="*/ 91 w 376"/>
              <a:gd name="T51" fmla="*/ 241 h 276"/>
              <a:gd name="T52" fmla="*/ 115 w 376"/>
              <a:gd name="T53" fmla="*/ 243 h 276"/>
              <a:gd name="T54" fmla="*/ 167 w 376"/>
              <a:gd name="T55" fmla="*/ 251 h 276"/>
              <a:gd name="T56" fmla="*/ 178 w 376"/>
              <a:gd name="T57" fmla="*/ 243 h 276"/>
              <a:gd name="T58" fmla="*/ 186 w 376"/>
              <a:gd name="T59" fmla="*/ 232 h 276"/>
              <a:gd name="T60" fmla="*/ 191 w 376"/>
              <a:gd name="T61" fmla="*/ 208 h 276"/>
              <a:gd name="T62" fmla="*/ 210 w 376"/>
              <a:gd name="T63" fmla="*/ 206 h 276"/>
              <a:gd name="T64" fmla="*/ 216 w 376"/>
              <a:gd name="T65" fmla="*/ 222 h 276"/>
              <a:gd name="T66" fmla="*/ 216 w 376"/>
              <a:gd name="T67" fmla="*/ 258 h 276"/>
              <a:gd name="T68" fmla="*/ 240 w 376"/>
              <a:gd name="T69" fmla="*/ 276 h 276"/>
              <a:gd name="T70" fmla="*/ 258 w 376"/>
              <a:gd name="T71" fmla="*/ 245 h 276"/>
              <a:gd name="T72" fmla="*/ 277 w 376"/>
              <a:gd name="T73" fmla="*/ 235 h 276"/>
              <a:gd name="T74" fmla="*/ 299 w 376"/>
              <a:gd name="T75" fmla="*/ 238 h 276"/>
              <a:gd name="T76" fmla="*/ 315 w 376"/>
              <a:gd name="T77" fmla="*/ 248 h 276"/>
              <a:gd name="T78" fmla="*/ 322 w 376"/>
              <a:gd name="T79" fmla="*/ 256 h 276"/>
              <a:gd name="T80" fmla="*/ 327 w 376"/>
              <a:gd name="T81" fmla="*/ 229 h 276"/>
              <a:gd name="T82" fmla="*/ 339 w 376"/>
              <a:gd name="T83" fmla="*/ 198 h 276"/>
              <a:gd name="T84" fmla="*/ 367 w 376"/>
              <a:gd name="T85" fmla="*/ 192 h 276"/>
              <a:gd name="T86" fmla="*/ 376 w 376"/>
              <a:gd name="T87" fmla="*/ 172 h 276"/>
              <a:gd name="T88" fmla="*/ 367 w 376"/>
              <a:gd name="T89" fmla="*/ 155 h 276"/>
              <a:gd name="T90" fmla="*/ 354 w 376"/>
              <a:gd name="T91" fmla="*/ 148 h 276"/>
              <a:gd name="T92" fmla="*/ 319 w 376"/>
              <a:gd name="T93" fmla="*/ 141 h 276"/>
              <a:gd name="T94" fmla="*/ 318 w 376"/>
              <a:gd name="T95" fmla="*/ 121 h 276"/>
              <a:gd name="T96" fmla="*/ 318 w 376"/>
              <a:gd name="T97" fmla="*/ 100 h 276"/>
              <a:gd name="T98" fmla="*/ 318 w 376"/>
              <a:gd name="T99" fmla="*/ 84 h 276"/>
              <a:gd name="T100" fmla="*/ 296 w 376"/>
              <a:gd name="T101" fmla="*/ 71 h 276"/>
              <a:gd name="T102" fmla="*/ 285 w 376"/>
              <a:gd name="T103" fmla="*/ 77 h 276"/>
              <a:gd name="T104" fmla="*/ 266 w 376"/>
              <a:gd name="T105" fmla="*/ 61 h 276"/>
              <a:gd name="T106" fmla="*/ 263 w 376"/>
              <a:gd name="T107" fmla="*/ 50 h 276"/>
              <a:gd name="T108" fmla="*/ 256 w 376"/>
              <a:gd name="T109" fmla="*/ 37 h 276"/>
              <a:gd name="T110" fmla="*/ 256 w 376"/>
              <a:gd name="T111" fmla="*/ 32 h 276"/>
              <a:gd name="T112" fmla="*/ 235 w 376"/>
              <a:gd name="T113" fmla="*/ 24 h 276"/>
              <a:gd name="T114" fmla="*/ 228 w 376"/>
              <a:gd name="T115" fmla="*/ 34 h 276"/>
              <a:gd name="T116" fmla="*/ 214 w 376"/>
              <a:gd name="T117" fmla="*/ 46 h 276"/>
              <a:gd name="T118" fmla="*/ 197 w 376"/>
              <a:gd name="T11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276">
                <a:moveTo>
                  <a:pt x="197" y="53"/>
                </a:moveTo>
                <a:lnTo>
                  <a:pt x="178" y="34"/>
                </a:lnTo>
                <a:lnTo>
                  <a:pt x="181" y="27"/>
                </a:lnTo>
                <a:lnTo>
                  <a:pt x="170" y="16"/>
                </a:lnTo>
                <a:lnTo>
                  <a:pt x="159" y="0"/>
                </a:lnTo>
                <a:lnTo>
                  <a:pt x="148" y="16"/>
                </a:lnTo>
                <a:lnTo>
                  <a:pt x="140" y="10"/>
                </a:lnTo>
                <a:lnTo>
                  <a:pt x="127" y="24"/>
                </a:lnTo>
                <a:lnTo>
                  <a:pt x="127" y="32"/>
                </a:lnTo>
                <a:lnTo>
                  <a:pt x="110" y="40"/>
                </a:lnTo>
                <a:lnTo>
                  <a:pt x="68" y="77"/>
                </a:lnTo>
                <a:lnTo>
                  <a:pt x="57" y="93"/>
                </a:lnTo>
                <a:lnTo>
                  <a:pt x="57" y="111"/>
                </a:lnTo>
                <a:lnTo>
                  <a:pt x="42" y="117"/>
                </a:lnTo>
                <a:lnTo>
                  <a:pt x="11" y="154"/>
                </a:lnTo>
                <a:lnTo>
                  <a:pt x="11" y="167"/>
                </a:lnTo>
                <a:lnTo>
                  <a:pt x="0" y="182"/>
                </a:lnTo>
                <a:lnTo>
                  <a:pt x="5" y="201"/>
                </a:lnTo>
                <a:lnTo>
                  <a:pt x="19" y="191"/>
                </a:lnTo>
                <a:lnTo>
                  <a:pt x="33" y="174"/>
                </a:lnTo>
                <a:lnTo>
                  <a:pt x="54" y="169"/>
                </a:lnTo>
                <a:lnTo>
                  <a:pt x="68" y="174"/>
                </a:lnTo>
                <a:lnTo>
                  <a:pt x="73" y="201"/>
                </a:lnTo>
                <a:lnTo>
                  <a:pt x="71" y="219"/>
                </a:lnTo>
                <a:lnTo>
                  <a:pt x="80" y="232"/>
                </a:lnTo>
                <a:lnTo>
                  <a:pt x="91" y="241"/>
                </a:lnTo>
                <a:lnTo>
                  <a:pt x="115" y="243"/>
                </a:lnTo>
                <a:lnTo>
                  <a:pt x="167" y="251"/>
                </a:lnTo>
                <a:lnTo>
                  <a:pt x="178" y="243"/>
                </a:lnTo>
                <a:lnTo>
                  <a:pt x="186" y="232"/>
                </a:lnTo>
                <a:lnTo>
                  <a:pt x="191" y="208"/>
                </a:lnTo>
                <a:lnTo>
                  <a:pt x="210" y="206"/>
                </a:lnTo>
                <a:lnTo>
                  <a:pt x="216" y="222"/>
                </a:lnTo>
                <a:lnTo>
                  <a:pt x="216" y="258"/>
                </a:lnTo>
                <a:lnTo>
                  <a:pt x="240" y="276"/>
                </a:lnTo>
                <a:lnTo>
                  <a:pt x="258" y="245"/>
                </a:lnTo>
                <a:lnTo>
                  <a:pt x="277" y="235"/>
                </a:lnTo>
                <a:lnTo>
                  <a:pt x="299" y="238"/>
                </a:lnTo>
                <a:lnTo>
                  <a:pt x="315" y="248"/>
                </a:lnTo>
                <a:lnTo>
                  <a:pt x="322" y="256"/>
                </a:lnTo>
                <a:lnTo>
                  <a:pt x="327" y="229"/>
                </a:lnTo>
                <a:lnTo>
                  <a:pt x="339" y="198"/>
                </a:lnTo>
                <a:lnTo>
                  <a:pt x="367" y="192"/>
                </a:lnTo>
                <a:lnTo>
                  <a:pt x="376" y="172"/>
                </a:lnTo>
                <a:lnTo>
                  <a:pt x="367" y="155"/>
                </a:lnTo>
                <a:lnTo>
                  <a:pt x="354" y="148"/>
                </a:lnTo>
                <a:lnTo>
                  <a:pt x="319" y="141"/>
                </a:lnTo>
                <a:lnTo>
                  <a:pt x="318" y="121"/>
                </a:lnTo>
                <a:lnTo>
                  <a:pt x="318" y="100"/>
                </a:lnTo>
                <a:lnTo>
                  <a:pt x="318" y="84"/>
                </a:lnTo>
                <a:lnTo>
                  <a:pt x="296" y="71"/>
                </a:lnTo>
                <a:lnTo>
                  <a:pt x="285" y="77"/>
                </a:lnTo>
                <a:lnTo>
                  <a:pt x="266" y="61"/>
                </a:lnTo>
                <a:lnTo>
                  <a:pt x="263" y="50"/>
                </a:lnTo>
                <a:lnTo>
                  <a:pt x="256" y="37"/>
                </a:lnTo>
                <a:lnTo>
                  <a:pt x="256" y="32"/>
                </a:lnTo>
                <a:lnTo>
                  <a:pt x="235" y="24"/>
                </a:lnTo>
                <a:lnTo>
                  <a:pt x="228" y="34"/>
                </a:lnTo>
                <a:lnTo>
                  <a:pt x="214" y="46"/>
                </a:lnTo>
                <a:lnTo>
                  <a:pt x="197" y="53"/>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ct val="50000"/>
              </a:spcBef>
              <a:spcAft>
                <a:spcPts val="0"/>
              </a:spcAft>
              <a:defRPr/>
            </a:pPr>
            <a:endParaRPr lang="de-CH" sz="1400" b="1" dirty="0">
              <a:solidFill>
                <a:schemeClr val="bg1"/>
              </a:solidFill>
            </a:endParaRPr>
          </a:p>
        </p:txBody>
      </p:sp>
      <p:sp>
        <p:nvSpPr>
          <p:cNvPr id="16" name="AT"/>
          <p:cNvSpPr>
            <a:spLocks/>
          </p:cNvSpPr>
          <p:nvPr/>
        </p:nvSpPr>
        <p:spPr bwMode="auto">
          <a:xfrm>
            <a:off x="5668963" y="4160838"/>
            <a:ext cx="846137" cy="342900"/>
          </a:xfrm>
          <a:custGeom>
            <a:avLst/>
            <a:gdLst>
              <a:gd name="T0" fmla="*/ 24 w 573"/>
              <a:gd name="T1" fmla="*/ 102 h 293"/>
              <a:gd name="T2" fmla="*/ 46 w 573"/>
              <a:gd name="T3" fmla="*/ 117 h 293"/>
              <a:gd name="T4" fmla="*/ 80 w 573"/>
              <a:gd name="T5" fmla="*/ 114 h 293"/>
              <a:gd name="T6" fmla="*/ 112 w 573"/>
              <a:gd name="T7" fmla="*/ 111 h 293"/>
              <a:gd name="T8" fmla="*/ 150 w 573"/>
              <a:gd name="T9" fmla="*/ 125 h 293"/>
              <a:gd name="T10" fmla="*/ 175 w 573"/>
              <a:gd name="T11" fmla="*/ 121 h 293"/>
              <a:gd name="T12" fmla="*/ 218 w 573"/>
              <a:gd name="T13" fmla="*/ 115 h 293"/>
              <a:gd name="T14" fmla="*/ 265 w 573"/>
              <a:gd name="T15" fmla="*/ 142 h 293"/>
              <a:gd name="T16" fmla="*/ 288 w 573"/>
              <a:gd name="T17" fmla="*/ 115 h 293"/>
              <a:gd name="T18" fmla="*/ 269 w 573"/>
              <a:gd name="T19" fmla="*/ 57 h 293"/>
              <a:gd name="T20" fmla="*/ 347 w 573"/>
              <a:gd name="T21" fmla="*/ 7 h 293"/>
              <a:gd name="T22" fmla="*/ 369 w 573"/>
              <a:gd name="T23" fmla="*/ 28 h 293"/>
              <a:gd name="T24" fmla="*/ 426 w 573"/>
              <a:gd name="T25" fmla="*/ 3 h 293"/>
              <a:gd name="T26" fmla="*/ 488 w 573"/>
              <a:gd name="T27" fmla="*/ 24 h 293"/>
              <a:gd name="T28" fmla="*/ 527 w 573"/>
              <a:gd name="T29" fmla="*/ 11 h 293"/>
              <a:gd name="T30" fmla="*/ 559 w 573"/>
              <a:gd name="T31" fmla="*/ 74 h 293"/>
              <a:gd name="T32" fmla="*/ 569 w 573"/>
              <a:gd name="T33" fmla="*/ 117 h 293"/>
              <a:gd name="T34" fmla="*/ 542 w 573"/>
              <a:gd name="T35" fmla="*/ 142 h 293"/>
              <a:gd name="T36" fmla="*/ 546 w 573"/>
              <a:gd name="T37" fmla="*/ 171 h 293"/>
              <a:gd name="T38" fmla="*/ 536 w 573"/>
              <a:gd name="T39" fmla="*/ 210 h 293"/>
              <a:gd name="T40" fmla="*/ 507 w 573"/>
              <a:gd name="T41" fmla="*/ 245 h 293"/>
              <a:gd name="T42" fmla="*/ 482 w 573"/>
              <a:gd name="T43" fmla="*/ 269 h 293"/>
              <a:gd name="T44" fmla="*/ 418 w 573"/>
              <a:gd name="T45" fmla="*/ 273 h 293"/>
              <a:gd name="T46" fmla="*/ 366 w 573"/>
              <a:gd name="T47" fmla="*/ 293 h 293"/>
              <a:gd name="T48" fmla="*/ 279 w 573"/>
              <a:gd name="T49" fmla="*/ 273 h 293"/>
              <a:gd name="T50" fmla="*/ 195 w 573"/>
              <a:gd name="T51" fmla="*/ 235 h 293"/>
              <a:gd name="T52" fmla="*/ 190 w 573"/>
              <a:gd name="T53" fmla="*/ 200 h 293"/>
              <a:gd name="T54" fmla="*/ 136 w 573"/>
              <a:gd name="T55" fmla="*/ 198 h 293"/>
              <a:gd name="T56" fmla="*/ 66 w 573"/>
              <a:gd name="T57" fmla="*/ 188 h 293"/>
              <a:gd name="T58" fmla="*/ 36 w 573"/>
              <a:gd name="T59" fmla="*/ 175 h 293"/>
              <a:gd name="T60" fmla="*/ 17 w 573"/>
              <a:gd name="T61" fmla="*/ 149 h 293"/>
              <a:gd name="T62" fmla="*/ 0 w 573"/>
              <a:gd name="T63" fmla="*/ 10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293">
                <a:moveTo>
                  <a:pt x="0" y="105"/>
                </a:moveTo>
                <a:lnTo>
                  <a:pt x="24" y="102"/>
                </a:lnTo>
                <a:lnTo>
                  <a:pt x="33" y="100"/>
                </a:lnTo>
                <a:lnTo>
                  <a:pt x="46" y="117"/>
                </a:lnTo>
                <a:lnTo>
                  <a:pt x="61" y="111"/>
                </a:lnTo>
                <a:lnTo>
                  <a:pt x="80" y="114"/>
                </a:lnTo>
                <a:lnTo>
                  <a:pt x="91" y="124"/>
                </a:lnTo>
                <a:lnTo>
                  <a:pt x="112" y="111"/>
                </a:lnTo>
                <a:lnTo>
                  <a:pt x="138" y="112"/>
                </a:lnTo>
                <a:lnTo>
                  <a:pt x="150" y="125"/>
                </a:lnTo>
                <a:lnTo>
                  <a:pt x="166" y="129"/>
                </a:lnTo>
                <a:lnTo>
                  <a:pt x="175" y="121"/>
                </a:lnTo>
                <a:lnTo>
                  <a:pt x="204" y="115"/>
                </a:lnTo>
                <a:lnTo>
                  <a:pt x="218" y="115"/>
                </a:lnTo>
                <a:lnTo>
                  <a:pt x="240" y="124"/>
                </a:lnTo>
                <a:lnTo>
                  <a:pt x="265" y="142"/>
                </a:lnTo>
                <a:lnTo>
                  <a:pt x="284" y="134"/>
                </a:lnTo>
                <a:lnTo>
                  <a:pt x="288" y="115"/>
                </a:lnTo>
                <a:lnTo>
                  <a:pt x="275" y="91"/>
                </a:lnTo>
                <a:lnTo>
                  <a:pt x="269" y="57"/>
                </a:lnTo>
                <a:lnTo>
                  <a:pt x="333" y="7"/>
                </a:lnTo>
                <a:lnTo>
                  <a:pt x="347" y="7"/>
                </a:lnTo>
                <a:lnTo>
                  <a:pt x="350" y="24"/>
                </a:lnTo>
                <a:lnTo>
                  <a:pt x="369" y="28"/>
                </a:lnTo>
                <a:lnTo>
                  <a:pt x="409" y="23"/>
                </a:lnTo>
                <a:lnTo>
                  <a:pt x="426" y="3"/>
                </a:lnTo>
                <a:lnTo>
                  <a:pt x="476" y="0"/>
                </a:lnTo>
                <a:lnTo>
                  <a:pt x="488" y="24"/>
                </a:lnTo>
                <a:lnTo>
                  <a:pt x="508" y="24"/>
                </a:lnTo>
                <a:lnTo>
                  <a:pt x="527" y="11"/>
                </a:lnTo>
                <a:lnTo>
                  <a:pt x="559" y="34"/>
                </a:lnTo>
                <a:lnTo>
                  <a:pt x="559" y="74"/>
                </a:lnTo>
                <a:lnTo>
                  <a:pt x="573" y="91"/>
                </a:lnTo>
                <a:lnTo>
                  <a:pt x="569" y="117"/>
                </a:lnTo>
                <a:lnTo>
                  <a:pt x="559" y="142"/>
                </a:lnTo>
                <a:lnTo>
                  <a:pt x="542" y="142"/>
                </a:lnTo>
                <a:lnTo>
                  <a:pt x="536" y="149"/>
                </a:lnTo>
                <a:lnTo>
                  <a:pt x="546" y="171"/>
                </a:lnTo>
                <a:lnTo>
                  <a:pt x="546" y="192"/>
                </a:lnTo>
                <a:lnTo>
                  <a:pt x="536" y="210"/>
                </a:lnTo>
                <a:lnTo>
                  <a:pt x="508" y="226"/>
                </a:lnTo>
                <a:lnTo>
                  <a:pt x="507" y="245"/>
                </a:lnTo>
                <a:lnTo>
                  <a:pt x="507" y="263"/>
                </a:lnTo>
                <a:lnTo>
                  <a:pt x="482" y="269"/>
                </a:lnTo>
                <a:lnTo>
                  <a:pt x="438" y="266"/>
                </a:lnTo>
                <a:lnTo>
                  <a:pt x="418" y="273"/>
                </a:lnTo>
                <a:lnTo>
                  <a:pt x="381" y="273"/>
                </a:lnTo>
                <a:lnTo>
                  <a:pt x="366" y="293"/>
                </a:lnTo>
                <a:lnTo>
                  <a:pt x="308" y="272"/>
                </a:lnTo>
                <a:lnTo>
                  <a:pt x="279" y="273"/>
                </a:lnTo>
                <a:lnTo>
                  <a:pt x="205" y="255"/>
                </a:lnTo>
                <a:lnTo>
                  <a:pt x="195" y="235"/>
                </a:lnTo>
                <a:lnTo>
                  <a:pt x="195" y="213"/>
                </a:lnTo>
                <a:lnTo>
                  <a:pt x="190" y="200"/>
                </a:lnTo>
                <a:lnTo>
                  <a:pt x="181" y="195"/>
                </a:lnTo>
                <a:lnTo>
                  <a:pt x="136" y="198"/>
                </a:lnTo>
                <a:lnTo>
                  <a:pt x="72" y="205"/>
                </a:lnTo>
                <a:lnTo>
                  <a:pt x="66" y="188"/>
                </a:lnTo>
                <a:lnTo>
                  <a:pt x="55" y="182"/>
                </a:lnTo>
                <a:lnTo>
                  <a:pt x="36" y="175"/>
                </a:lnTo>
                <a:lnTo>
                  <a:pt x="17" y="169"/>
                </a:lnTo>
                <a:lnTo>
                  <a:pt x="17" y="149"/>
                </a:lnTo>
                <a:lnTo>
                  <a:pt x="17" y="121"/>
                </a:lnTo>
                <a:lnTo>
                  <a:pt x="0" y="105"/>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7" name="SI"/>
          <p:cNvSpPr>
            <a:spLocks/>
          </p:cNvSpPr>
          <p:nvPr/>
        </p:nvSpPr>
        <p:spPr bwMode="auto">
          <a:xfrm>
            <a:off x="6075363" y="4468813"/>
            <a:ext cx="369887" cy="203200"/>
          </a:xfrm>
          <a:custGeom>
            <a:avLst/>
            <a:gdLst>
              <a:gd name="T0" fmla="*/ 22 w 251"/>
              <a:gd name="T1" fmla="*/ 89 h 163"/>
              <a:gd name="T2" fmla="*/ 47 w 251"/>
              <a:gd name="T3" fmla="*/ 118 h 163"/>
              <a:gd name="T4" fmla="*/ 39 w 251"/>
              <a:gd name="T5" fmla="*/ 132 h 163"/>
              <a:gd name="T6" fmla="*/ 28 w 251"/>
              <a:gd name="T7" fmla="*/ 142 h 163"/>
              <a:gd name="T8" fmla="*/ 14 w 251"/>
              <a:gd name="T9" fmla="*/ 145 h 163"/>
              <a:gd name="T10" fmla="*/ 0 w 251"/>
              <a:gd name="T11" fmla="*/ 147 h 163"/>
              <a:gd name="T12" fmla="*/ 25 w 251"/>
              <a:gd name="T13" fmla="*/ 160 h 163"/>
              <a:gd name="T14" fmla="*/ 36 w 251"/>
              <a:gd name="T15" fmla="*/ 163 h 163"/>
              <a:gd name="T16" fmla="*/ 67 w 251"/>
              <a:gd name="T17" fmla="*/ 142 h 163"/>
              <a:gd name="T18" fmla="*/ 137 w 251"/>
              <a:gd name="T19" fmla="*/ 162 h 163"/>
              <a:gd name="T20" fmla="*/ 182 w 251"/>
              <a:gd name="T21" fmla="*/ 105 h 163"/>
              <a:gd name="T22" fmla="*/ 191 w 251"/>
              <a:gd name="T23" fmla="*/ 81 h 163"/>
              <a:gd name="T24" fmla="*/ 200 w 251"/>
              <a:gd name="T25" fmla="*/ 73 h 163"/>
              <a:gd name="T26" fmla="*/ 226 w 251"/>
              <a:gd name="T27" fmla="*/ 76 h 163"/>
              <a:gd name="T28" fmla="*/ 251 w 251"/>
              <a:gd name="T29" fmla="*/ 42 h 163"/>
              <a:gd name="T30" fmla="*/ 248 w 251"/>
              <a:gd name="T31" fmla="*/ 21 h 163"/>
              <a:gd name="T32" fmla="*/ 231 w 251"/>
              <a:gd name="T33" fmla="*/ 0 h 163"/>
              <a:gd name="T34" fmla="*/ 219 w 251"/>
              <a:gd name="T35" fmla="*/ 2 h 163"/>
              <a:gd name="T36" fmla="*/ 207 w 251"/>
              <a:gd name="T37" fmla="*/ 7 h 163"/>
              <a:gd name="T38" fmla="*/ 184 w 251"/>
              <a:gd name="T39" fmla="*/ 1 h 163"/>
              <a:gd name="T40" fmla="*/ 161 w 251"/>
              <a:gd name="T41" fmla="*/ 2 h 163"/>
              <a:gd name="T42" fmla="*/ 138 w 251"/>
              <a:gd name="T43" fmla="*/ 9 h 163"/>
              <a:gd name="T44" fmla="*/ 106 w 251"/>
              <a:gd name="T45" fmla="*/ 7 h 163"/>
              <a:gd name="T46" fmla="*/ 93 w 251"/>
              <a:gd name="T47" fmla="*/ 28 h 163"/>
              <a:gd name="T48" fmla="*/ 39 w 251"/>
              <a:gd name="T49" fmla="*/ 9 h 163"/>
              <a:gd name="T50" fmla="*/ 19 w 251"/>
              <a:gd name="T51" fmla="*/ 9 h 163"/>
              <a:gd name="T52" fmla="*/ 19 w 251"/>
              <a:gd name="T53" fmla="*/ 45 h 163"/>
              <a:gd name="T54" fmla="*/ 22 w 251"/>
              <a:gd name="T55" fmla="*/ 8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163">
                <a:moveTo>
                  <a:pt x="22" y="89"/>
                </a:moveTo>
                <a:lnTo>
                  <a:pt x="47" y="118"/>
                </a:lnTo>
                <a:lnTo>
                  <a:pt x="39" y="132"/>
                </a:lnTo>
                <a:lnTo>
                  <a:pt x="28" y="142"/>
                </a:lnTo>
                <a:lnTo>
                  <a:pt x="14" y="145"/>
                </a:lnTo>
                <a:lnTo>
                  <a:pt x="0" y="147"/>
                </a:lnTo>
                <a:lnTo>
                  <a:pt x="25" y="160"/>
                </a:lnTo>
                <a:lnTo>
                  <a:pt x="36" y="163"/>
                </a:lnTo>
                <a:lnTo>
                  <a:pt x="67" y="142"/>
                </a:lnTo>
                <a:lnTo>
                  <a:pt x="137" y="162"/>
                </a:lnTo>
                <a:lnTo>
                  <a:pt x="182" y="105"/>
                </a:lnTo>
                <a:lnTo>
                  <a:pt x="191" y="81"/>
                </a:lnTo>
                <a:lnTo>
                  <a:pt x="200" y="73"/>
                </a:lnTo>
                <a:lnTo>
                  <a:pt x="226" y="76"/>
                </a:lnTo>
                <a:lnTo>
                  <a:pt x="251" y="42"/>
                </a:lnTo>
                <a:lnTo>
                  <a:pt x="248" y="21"/>
                </a:lnTo>
                <a:lnTo>
                  <a:pt x="231" y="0"/>
                </a:lnTo>
                <a:lnTo>
                  <a:pt x="219" y="2"/>
                </a:lnTo>
                <a:lnTo>
                  <a:pt x="207" y="7"/>
                </a:lnTo>
                <a:lnTo>
                  <a:pt x="184" y="1"/>
                </a:lnTo>
                <a:lnTo>
                  <a:pt x="161" y="2"/>
                </a:lnTo>
                <a:lnTo>
                  <a:pt x="138" y="9"/>
                </a:lnTo>
                <a:lnTo>
                  <a:pt x="106" y="7"/>
                </a:lnTo>
                <a:lnTo>
                  <a:pt x="93" y="28"/>
                </a:lnTo>
                <a:lnTo>
                  <a:pt x="39" y="9"/>
                </a:lnTo>
                <a:lnTo>
                  <a:pt x="19" y="9"/>
                </a:lnTo>
                <a:lnTo>
                  <a:pt x="19" y="45"/>
                </a:lnTo>
                <a:lnTo>
                  <a:pt x="22" y="8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8" name="BG"/>
          <p:cNvSpPr>
            <a:spLocks noChangeAspect="1"/>
          </p:cNvSpPr>
          <p:nvPr/>
        </p:nvSpPr>
        <p:spPr bwMode="auto">
          <a:xfrm>
            <a:off x="7159625" y="4818063"/>
            <a:ext cx="719138" cy="485775"/>
          </a:xfrm>
          <a:custGeom>
            <a:avLst/>
            <a:gdLst>
              <a:gd name="T0" fmla="*/ 9 w 485"/>
              <a:gd name="T1" fmla="*/ 56 h 398"/>
              <a:gd name="T2" fmla="*/ 3 w 485"/>
              <a:gd name="T3" fmla="*/ 84 h 398"/>
              <a:gd name="T4" fmla="*/ 36 w 485"/>
              <a:gd name="T5" fmla="*/ 117 h 398"/>
              <a:gd name="T6" fmla="*/ 38 w 485"/>
              <a:gd name="T7" fmla="*/ 164 h 398"/>
              <a:gd name="T8" fmla="*/ 8 w 485"/>
              <a:gd name="T9" fmla="*/ 191 h 398"/>
              <a:gd name="T10" fmla="*/ 12 w 485"/>
              <a:gd name="T11" fmla="*/ 225 h 398"/>
              <a:gd name="T12" fmla="*/ 8 w 485"/>
              <a:gd name="T13" fmla="*/ 263 h 398"/>
              <a:gd name="T14" fmla="*/ 12 w 485"/>
              <a:gd name="T15" fmla="*/ 296 h 398"/>
              <a:gd name="T16" fmla="*/ 38 w 485"/>
              <a:gd name="T17" fmla="*/ 315 h 398"/>
              <a:gd name="T18" fmla="*/ 39 w 485"/>
              <a:gd name="T19" fmla="*/ 362 h 398"/>
              <a:gd name="T20" fmla="*/ 56 w 485"/>
              <a:gd name="T21" fmla="*/ 398 h 398"/>
              <a:gd name="T22" fmla="*/ 138 w 485"/>
              <a:gd name="T23" fmla="*/ 374 h 398"/>
              <a:gd name="T24" fmla="*/ 188 w 485"/>
              <a:gd name="T25" fmla="*/ 334 h 398"/>
              <a:gd name="T26" fmla="*/ 226 w 485"/>
              <a:gd name="T27" fmla="*/ 359 h 398"/>
              <a:gd name="T28" fmla="*/ 262 w 485"/>
              <a:gd name="T29" fmla="*/ 371 h 398"/>
              <a:gd name="T30" fmla="*/ 307 w 485"/>
              <a:gd name="T31" fmla="*/ 353 h 398"/>
              <a:gd name="T32" fmla="*/ 309 w 485"/>
              <a:gd name="T33" fmla="*/ 312 h 398"/>
              <a:gd name="T34" fmla="*/ 342 w 485"/>
              <a:gd name="T35" fmla="*/ 312 h 398"/>
              <a:gd name="T36" fmla="*/ 359 w 485"/>
              <a:gd name="T37" fmla="*/ 300 h 398"/>
              <a:gd name="T38" fmla="*/ 424 w 485"/>
              <a:gd name="T39" fmla="*/ 278 h 398"/>
              <a:gd name="T40" fmla="*/ 447 w 485"/>
              <a:gd name="T41" fmla="*/ 248 h 398"/>
              <a:gd name="T42" fmla="*/ 414 w 485"/>
              <a:gd name="T43" fmla="*/ 208 h 398"/>
              <a:gd name="T44" fmla="*/ 429 w 485"/>
              <a:gd name="T45" fmla="*/ 177 h 398"/>
              <a:gd name="T46" fmla="*/ 441 w 485"/>
              <a:gd name="T47" fmla="*/ 158 h 398"/>
              <a:gd name="T48" fmla="*/ 450 w 485"/>
              <a:gd name="T49" fmla="*/ 117 h 398"/>
              <a:gd name="T50" fmla="*/ 460 w 485"/>
              <a:gd name="T51" fmla="*/ 74 h 398"/>
              <a:gd name="T52" fmla="*/ 485 w 485"/>
              <a:gd name="T53" fmla="*/ 56 h 398"/>
              <a:gd name="T54" fmla="*/ 471 w 485"/>
              <a:gd name="T55" fmla="*/ 13 h 398"/>
              <a:gd name="T56" fmla="*/ 405 w 485"/>
              <a:gd name="T57" fmla="*/ 3 h 398"/>
              <a:gd name="T58" fmla="*/ 336 w 485"/>
              <a:gd name="T59" fmla="*/ 9 h 398"/>
              <a:gd name="T60" fmla="*/ 270 w 485"/>
              <a:gd name="T61" fmla="*/ 46 h 398"/>
              <a:gd name="T62" fmla="*/ 218 w 485"/>
              <a:gd name="T63" fmla="*/ 71 h 398"/>
              <a:gd name="T64" fmla="*/ 150 w 485"/>
              <a:gd name="T65" fmla="*/ 77 h 398"/>
              <a:gd name="T66" fmla="*/ 105 w 485"/>
              <a:gd name="T67" fmla="*/ 74 h 398"/>
              <a:gd name="T68" fmla="*/ 52 w 485"/>
              <a:gd name="T69" fmla="*/ 53 h 398"/>
              <a:gd name="T70" fmla="*/ 12 w 485"/>
              <a:gd name="T71" fmla="*/ 4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5" h="398">
                <a:moveTo>
                  <a:pt x="12" y="47"/>
                </a:moveTo>
                <a:lnTo>
                  <a:pt x="9" y="56"/>
                </a:lnTo>
                <a:lnTo>
                  <a:pt x="0" y="66"/>
                </a:lnTo>
                <a:lnTo>
                  <a:pt x="3" y="84"/>
                </a:lnTo>
                <a:lnTo>
                  <a:pt x="17" y="114"/>
                </a:lnTo>
                <a:lnTo>
                  <a:pt x="36" y="117"/>
                </a:lnTo>
                <a:lnTo>
                  <a:pt x="39" y="130"/>
                </a:lnTo>
                <a:lnTo>
                  <a:pt x="38" y="164"/>
                </a:lnTo>
                <a:lnTo>
                  <a:pt x="31" y="174"/>
                </a:lnTo>
                <a:lnTo>
                  <a:pt x="8" y="191"/>
                </a:lnTo>
                <a:lnTo>
                  <a:pt x="5" y="199"/>
                </a:lnTo>
                <a:lnTo>
                  <a:pt x="12" y="225"/>
                </a:lnTo>
                <a:lnTo>
                  <a:pt x="14" y="245"/>
                </a:lnTo>
                <a:lnTo>
                  <a:pt x="8" y="263"/>
                </a:lnTo>
                <a:lnTo>
                  <a:pt x="0" y="278"/>
                </a:lnTo>
                <a:lnTo>
                  <a:pt x="12" y="296"/>
                </a:lnTo>
                <a:lnTo>
                  <a:pt x="22" y="293"/>
                </a:lnTo>
                <a:lnTo>
                  <a:pt x="38" y="315"/>
                </a:lnTo>
                <a:lnTo>
                  <a:pt x="39" y="334"/>
                </a:lnTo>
                <a:lnTo>
                  <a:pt x="39" y="362"/>
                </a:lnTo>
                <a:lnTo>
                  <a:pt x="38" y="374"/>
                </a:lnTo>
                <a:lnTo>
                  <a:pt x="56" y="398"/>
                </a:lnTo>
                <a:lnTo>
                  <a:pt x="94" y="390"/>
                </a:lnTo>
                <a:lnTo>
                  <a:pt x="138" y="374"/>
                </a:lnTo>
                <a:lnTo>
                  <a:pt x="171" y="352"/>
                </a:lnTo>
                <a:lnTo>
                  <a:pt x="188" y="334"/>
                </a:lnTo>
                <a:lnTo>
                  <a:pt x="209" y="367"/>
                </a:lnTo>
                <a:lnTo>
                  <a:pt x="226" y="359"/>
                </a:lnTo>
                <a:lnTo>
                  <a:pt x="248" y="367"/>
                </a:lnTo>
                <a:lnTo>
                  <a:pt x="262" y="371"/>
                </a:lnTo>
                <a:lnTo>
                  <a:pt x="290" y="359"/>
                </a:lnTo>
                <a:lnTo>
                  <a:pt x="307" y="353"/>
                </a:lnTo>
                <a:lnTo>
                  <a:pt x="307" y="337"/>
                </a:lnTo>
                <a:lnTo>
                  <a:pt x="309" y="312"/>
                </a:lnTo>
                <a:lnTo>
                  <a:pt x="323" y="303"/>
                </a:lnTo>
                <a:lnTo>
                  <a:pt x="342" y="312"/>
                </a:lnTo>
                <a:lnTo>
                  <a:pt x="345" y="322"/>
                </a:lnTo>
                <a:lnTo>
                  <a:pt x="359" y="300"/>
                </a:lnTo>
                <a:lnTo>
                  <a:pt x="394" y="282"/>
                </a:lnTo>
                <a:lnTo>
                  <a:pt x="424" y="278"/>
                </a:lnTo>
                <a:lnTo>
                  <a:pt x="452" y="278"/>
                </a:lnTo>
                <a:lnTo>
                  <a:pt x="447" y="248"/>
                </a:lnTo>
                <a:lnTo>
                  <a:pt x="443" y="232"/>
                </a:lnTo>
                <a:lnTo>
                  <a:pt x="414" y="208"/>
                </a:lnTo>
                <a:lnTo>
                  <a:pt x="413" y="201"/>
                </a:lnTo>
                <a:lnTo>
                  <a:pt x="429" y="177"/>
                </a:lnTo>
                <a:lnTo>
                  <a:pt x="446" y="172"/>
                </a:lnTo>
                <a:lnTo>
                  <a:pt x="441" y="158"/>
                </a:lnTo>
                <a:lnTo>
                  <a:pt x="450" y="133"/>
                </a:lnTo>
                <a:lnTo>
                  <a:pt x="450" y="117"/>
                </a:lnTo>
                <a:lnTo>
                  <a:pt x="455" y="87"/>
                </a:lnTo>
                <a:lnTo>
                  <a:pt x="460" y="74"/>
                </a:lnTo>
                <a:lnTo>
                  <a:pt x="476" y="77"/>
                </a:lnTo>
                <a:lnTo>
                  <a:pt x="485" y="56"/>
                </a:lnTo>
                <a:lnTo>
                  <a:pt x="476" y="37"/>
                </a:lnTo>
                <a:lnTo>
                  <a:pt x="471" y="13"/>
                </a:lnTo>
                <a:lnTo>
                  <a:pt x="460" y="16"/>
                </a:lnTo>
                <a:lnTo>
                  <a:pt x="405" y="3"/>
                </a:lnTo>
                <a:lnTo>
                  <a:pt x="370" y="0"/>
                </a:lnTo>
                <a:lnTo>
                  <a:pt x="336" y="9"/>
                </a:lnTo>
                <a:lnTo>
                  <a:pt x="305" y="24"/>
                </a:lnTo>
                <a:lnTo>
                  <a:pt x="270" y="46"/>
                </a:lnTo>
                <a:lnTo>
                  <a:pt x="243" y="68"/>
                </a:lnTo>
                <a:lnTo>
                  <a:pt x="218" y="71"/>
                </a:lnTo>
                <a:lnTo>
                  <a:pt x="183" y="64"/>
                </a:lnTo>
                <a:lnTo>
                  <a:pt x="150" y="77"/>
                </a:lnTo>
                <a:lnTo>
                  <a:pt x="129" y="83"/>
                </a:lnTo>
                <a:lnTo>
                  <a:pt x="105" y="74"/>
                </a:lnTo>
                <a:lnTo>
                  <a:pt x="71" y="59"/>
                </a:lnTo>
                <a:lnTo>
                  <a:pt x="52" y="53"/>
                </a:lnTo>
                <a:lnTo>
                  <a:pt x="25" y="47"/>
                </a:lnTo>
                <a:lnTo>
                  <a:pt x="12" y="47"/>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9" name="BE"/>
          <p:cNvSpPr>
            <a:spLocks noChangeAspect="1"/>
          </p:cNvSpPr>
          <p:nvPr/>
        </p:nvSpPr>
        <p:spPr bwMode="auto">
          <a:xfrm>
            <a:off x="5040313" y="3597275"/>
            <a:ext cx="388937" cy="307975"/>
          </a:xfrm>
          <a:custGeom>
            <a:avLst/>
            <a:gdLst>
              <a:gd name="T0" fmla="*/ 0 w 266"/>
              <a:gd name="T1" fmla="*/ 47 h 263"/>
              <a:gd name="T2" fmla="*/ 7 w 266"/>
              <a:gd name="T3" fmla="*/ 37 h 263"/>
              <a:gd name="T4" fmla="*/ 4 w 266"/>
              <a:gd name="T5" fmla="*/ 24 h 263"/>
              <a:gd name="T6" fmla="*/ 45 w 266"/>
              <a:gd name="T7" fmla="*/ 0 h 263"/>
              <a:gd name="T8" fmla="*/ 48 w 266"/>
              <a:gd name="T9" fmla="*/ 9 h 263"/>
              <a:gd name="T10" fmla="*/ 77 w 266"/>
              <a:gd name="T11" fmla="*/ 3 h 263"/>
              <a:gd name="T12" fmla="*/ 100 w 266"/>
              <a:gd name="T13" fmla="*/ 5 h 263"/>
              <a:gd name="T14" fmla="*/ 91 w 266"/>
              <a:gd name="T15" fmla="*/ 17 h 263"/>
              <a:gd name="T16" fmla="*/ 96 w 266"/>
              <a:gd name="T17" fmla="*/ 34 h 263"/>
              <a:gd name="T18" fmla="*/ 115 w 266"/>
              <a:gd name="T19" fmla="*/ 42 h 263"/>
              <a:gd name="T20" fmla="*/ 134 w 266"/>
              <a:gd name="T21" fmla="*/ 40 h 263"/>
              <a:gd name="T22" fmla="*/ 150 w 266"/>
              <a:gd name="T23" fmla="*/ 27 h 263"/>
              <a:gd name="T24" fmla="*/ 175 w 266"/>
              <a:gd name="T25" fmla="*/ 24 h 263"/>
              <a:gd name="T26" fmla="*/ 183 w 266"/>
              <a:gd name="T27" fmla="*/ 36 h 263"/>
              <a:gd name="T28" fmla="*/ 198 w 266"/>
              <a:gd name="T29" fmla="*/ 46 h 263"/>
              <a:gd name="T30" fmla="*/ 219 w 266"/>
              <a:gd name="T31" fmla="*/ 47 h 263"/>
              <a:gd name="T32" fmla="*/ 216 w 266"/>
              <a:gd name="T33" fmla="*/ 67 h 263"/>
              <a:gd name="T34" fmla="*/ 217 w 266"/>
              <a:gd name="T35" fmla="*/ 107 h 263"/>
              <a:gd name="T36" fmla="*/ 221 w 266"/>
              <a:gd name="T37" fmla="*/ 131 h 263"/>
              <a:gd name="T38" fmla="*/ 245 w 266"/>
              <a:gd name="T39" fmla="*/ 128 h 263"/>
              <a:gd name="T40" fmla="*/ 252 w 266"/>
              <a:gd name="T41" fmla="*/ 145 h 263"/>
              <a:gd name="T42" fmla="*/ 254 w 266"/>
              <a:gd name="T43" fmla="*/ 160 h 263"/>
              <a:gd name="T44" fmla="*/ 266 w 266"/>
              <a:gd name="T45" fmla="*/ 179 h 263"/>
              <a:gd name="T46" fmla="*/ 251 w 266"/>
              <a:gd name="T47" fmla="*/ 194 h 263"/>
              <a:gd name="T48" fmla="*/ 237 w 266"/>
              <a:gd name="T49" fmla="*/ 205 h 263"/>
              <a:gd name="T50" fmla="*/ 222 w 266"/>
              <a:gd name="T51" fmla="*/ 205 h 263"/>
              <a:gd name="T52" fmla="*/ 204 w 266"/>
              <a:gd name="T53" fmla="*/ 211 h 263"/>
              <a:gd name="T54" fmla="*/ 204 w 266"/>
              <a:gd name="T55" fmla="*/ 232 h 263"/>
              <a:gd name="T56" fmla="*/ 197 w 266"/>
              <a:gd name="T57" fmla="*/ 246 h 263"/>
              <a:gd name="T58" fmla="*/ 178 w 266"/>
              <a:gd name="T59" fmla="*/ 263 h 263"/>
              <a:gd name="T60" fmla="*/ 146 w 266"/>
              <a:gd name="T61" fmla="*/ 236 h 263"/>
              <a:gd name="T62" fmla="*/ 137 w 266"/>
              <a:gd name="T63" fmla="*/ 212 h 263"/>
              <a:gd name="T64" fmla="*/ 108 w 266"/>
              <a:gd name="T65" fmla="*/ 205 h 263"/>
              <a:gd name="T66" fmla="*/ 98 w 266"/>
              <a:gd name="T67" fmla="*/ 174 h 263"/>
              <a:gd name="T68" fmla="*/ 77 w 266"/>
              <a:gd name="T69" fmla="*/ 155 h 263"/>
              <a:gd name="T70" fmla="*/ 70 w 266"/>
              <a:gd name="T71" fmla="*/ 133 h 263"/>
              <a:gd name="T72" fmla="*/ 53 w 266"/>
              <a:gd name="T73" fmla="*/ 110 h 263"/>
              <a:gd name="T74" fmla="*/ 42 w 266"/>
              <a:gd name="T75" fmla="*/ 87 h 263"/>
              <a:gd name="T76" fmla="*/ 20 w 266"/>
              <a:gd name="T77" fmla="*/ 70 h 263"/>
              <a:gd name="T78" fmla="*/ 0 w 266"/>
              <a:gd name="T79" fmla="*/ 4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263">
                <a:moveTo>
                  <a:pt x="0" y="47"/>
                </a:moveTo>
                <a:lnTo>
                  <a:pt x="7" y="37"/>
                </a:lnTo>
                <a:lnTo>
                  <a:pt x="4" y="24"/>
                </a:lnTo>
                <a:lnTo>
                  <a:pt x="45" y="0"/>
                </a:lnTo>
                <a:lnTo>
                  <a:pt x="48" y="9"/>
                </a:lnTo>
                <a:lnTo>
                  <a:pt x="77" y="3"/>
                </a:lnTo>
                <a:lnTo>
                  <a:pt x="100" y="5"/>
                </a:lnTo>
                <a:lnTo>
                  <a:pt x="91" y="17"/>
                </a:lnTo>
                <a:lnTo>
                  <a:pt x="96" y="34"/>
                </a:lnTo>
                <a:lnTo>
                  <a:pt x="115" y="42"/>
                </a:lnTo>
                <a:lnTo>
                  <a:pt x="134" y="40"/>
                </a:lnTo>
                <a:lnTo>
                  <a:pt x="150" y="27"/>
                </a:lnTo>
                <a:lnTo>
                  <a:pt x="175" y="24"/>
                </a:lnTo>
                <a:lnTo>
                  <a:pt x="183" y="36"/>
                </a:lnTo>
                <a:lnTo>
                  <a:pt x="198" y="46"/>
                </a:lnTo>
                <a:lnTo>
                  <a:pt x="219" y="47"/>
                </a:lnTo>
                <a:lnTo>
                  <a:pt x="216" y="67"/>
                </a:lnTo>
                <a:lnTo>
                  <a:pt x="217" y="107"/>
                </a:lnTo>
                <a:lnTo>
                  <a:pt x="221" y="131"/>
                </a:lnTo>
                <a:lnTo>
                  <a:pt x="245" y="128"/>
                </a:lnTo>
                <a:lnTo>
                  <a:pt x="252" y="145"/>
                </a:lnTo>
                <a:lnTo>
                  <a:pt x="254" y="160"/>
                </a:lnTo>
                <a:lnTo>
                  <a:pt x="266" y="179"/>
                </a:lnTo>
                <a:lnTo>
                  <a:pt x="251" y="194"/>
                </a:lnTo>
                <a:lnTo>
                  <a:pt x="237" y="205"/>
                </a:lnTo>
                <a:lnTo>
                  <a:pt x="222" y="205"/>
                </a:lnTo>
                <a:lnTo>
                  <a:pt x="204" y="211"/>
                </a:lnTo>
                <a:lnTo>
                  <a:pt x="204" y="232"/>
                </a:lnTo>
                <a:lnTo>
                  <a:pt x="197" y="246"/>
                </a:lnTo>
                <a:lnTo>
                  <a:pt x="178" y="263"/>
                </a:lnTo>
                <a:lnTo>
                  <a:pt x="146" y="236"/>
                </a:lnTo>
                <a:lnTo>
                  <a:pt x="137" y="212"/>
                </a:lnTo>
                <a:lnTo>
                  <a:pt x="108" y="205"/>
                </a:lnTo>
                <a:lnTo>
                  <a:pt x="98" y="174"/>
                </a:lnTo>
                <a:lnTo>
                  <a:pt x="77" y="155"/>
                </a:lnTo>
                <a:lnTo>
                  <a:pt x="70" y="133"/>
                </a:lnTo>
                <a:lnTo>
                  <a:pt x="53" y="110"/>
                </a:lnTo>
                <a:lnTo>
                  <a:pt x="42" y="87"/>
                </a:lnTo>
                <a:lnTo>
                  <a:pt x="20" y="70"/>
                </a:lnTo>
                <a:lnTo>
                  <a:pt x="0" y="47"/>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0" name="LU"/>
          <p:cNvSpPr>
            <a:spLocks noChangeAspect="1"/>
          </p:cNvSpPr>
          <p:nvPr/>
        </p:nvSpPr>
        <p:spPr bwMode="auto">
          <a:xfrm>
            <a:off x="5294313" y="3835400"/>
            <a:ext cx="109537" cy="119063"/>
          </a:xfrm>
          <a:custGeom>
            <a:avLst/>
            <a:gdLst>
              <a:gd name="T0" fmla="*/ 52 w 73"/>
              <a:gd name="T1" fmla="*/ 101 h 101"/>
              <a:gd name="T2" fmla="*/ 56 w 73"/>
              <a:gd name="T3" fmla="*/ 68 h 101"/>
              <a:gd name="T4" fmla="*/ 73 w 73"/>
              <a:gd name="T5" fmla="*/ 56 h 101"/>
              <a:gd name="T6" fmla="*/ 73 w 73"/>
              <a:gd name="T7" fmla="*/ 40 h 101"/>
              <a:gd name="T8" fmla="*/ 64 w 73"/>
              <a:gd name="T9" fmla="*/ 29 h 101"/>
              <a:gd name="T10" fmla="*/ 55 w 73"/>
              <a:gd name="T11" fmla="*/ 13 h 101"/>
              <a:gd name="T12" fmla="*/ 50 w 73"/>
              <a:gd name="T13" fmla="*/ 0 h 101"/>
              <a:gd name="T14" fmla="*/ 33 w 73"/>
              <a:gd name="T15" fmla="*/ 0 h 101"/>
              <a:gd name="T16" fmla="*/ 22 w 73"/>
              <a:gd name="T17" fmla="*/ 6 h 101"/>
              <a:gd name="T18" fmla="*/ 22 w 73"/>
              <a:gd name="T19" fmla="*/ 27 h 101"/>
              <a:gd name="T20" fmla="*/ 12 w 73"/>
              <a:gd name="T21" fmla="*/ 46 h 101"/>
              <a:gd name="T22" fmla="*/ 0 w 73"/>
              <a:gd name="T23" fmla="*/ 51 h 101"/>
              <a:gd name="T24" fmla="*/ 5 w 73"/>
              <a:gd name="T25" fmla="*/ 67 h 101"/>
              <a:gd name="T26" fmla="*/ 21 w 73"/>
              <a:gd name="T27" fmla="*/ 71 h 101"/>
              <a:gd name="T28" fmla="*/ 36 w 73"/>
              <a:gd name="T29" fmla="*/ 75 h 101"/>
              <a:gd name="T30" fmla="*/ 45 w 73"/>
              <a:gd name="T31" fmla="*/ 85 h 101"/>
              <a:gd name="T32" fmla="*/ 52 w 73"/>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01">
                <a:moveTo>
                  <a:pt x="52" y="101"/>
                </a:moveTo>
                <a:lnTo>
                  <a:pt x="56" y="68"/>
                </a:lnTo>
                <a:lnTo>
                  <a:pt x="73" y="56"/>
                </a:lnTo>
                <a:lnTo>
                  <a:pt x="73" y="40"/>
                </a:lnTo>
                <a:lnTo>
                  <a:pt x="64" y="29"/>
                </a:lnTo>
                <a:lnTo>
                  <a:pt x="55" y="13"/>
                </a:lnTo>
                <a:lnTo>
                  <a:pt x="50" y="0"/>
                </a:lnTo>
                <a:lnTo>
                  <a:pt x="33" y="0"/>
                </a:lnTo>
                <a:lnTo>
                  <a:pt x="22" y="6"/>
                </a:lnTo>
                <a:lnTo>
                  <a:pt x="22" y="27"/>
                </a:lnTo>
                <a:lnTo>
                  <a:pt x="12" y="46"/>
                </a:lnTo>
                <a:lnTo>
                  <a:pt x="0" y="51"/>
                </a:lnTo>
                <a:lnTo>
                  <a:pt x="5" y="67"/>
                </a:lnTo>
                <a:lnTo>
                  <a:pt x="21" y="71"/>
                </a:lnTo>
                <a:lnTo>
                  <a:pt x="36" y="75"/>
                </a:lnTo>
                <a:lnTo>
                  <a:pt x="45" y="85"/>
                </a:lnTo>
                <a:lnTo>
                  <a:pt x="52" y="10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1" name="NL"/>
          <p:cNvSpPr>
            <a:spLocks noChangeAspect="1"/>
          </p:cNvSpPr>
          <p:nvPr/>
        </p:nvSpPr>
        <p:spPr bwMode="auto">
          <a:xfrm>
            <a:off x="5165725" y="3370263"/>
            <a:ext cx="404813" cy="385762"/>
          </a:xfrm>
          <a:custGeom>
            <a:avLst/>
            <a:gdLst>
              <a:gd name="T0" fmla="*/ 112 w 271"/>
              <a:gd name="T1" fmla="*/ 9 h 323"/>
              <a:gd name="T2" fmla="*/ 85 w 271"/>
              <a:gd name="T3" fmla="*/ 47 h 323"/>
              <a:gd name="T4" fmla="*/ 85 w 271"/>
              <a:gd name="T5" fmla="*/ 59 h 323"/>
              <a:gd name="T6" fmla="*/ 68 w 271"/>
              <a:gd name="T7" fmla="*/ 77 h 323"/>
              <a:gd name="T8" fmla="*/ 71 w 271"/>
              <a:gd name="T9" fmla="*/ 81 h 323"/>
              <a:gd name="T10" fmla="*/ 66 w 271"/>
              <a:gd name="T11" fmla="*/ 94 h 323"/>
              <a:gd name="T12" fmla="*/ 49 w 271"/>
              <a:gd name="T13" fmla="*/ 113 h 323"/>
              <a:gd name="T14" fmla="*/ 33 w 271"/>
              <a:gd name="T15" fmla="*/ 134 h 323"/>
              <a:gd name="T16" fmla="*/ 26 w 271"/>
              <a:gd name="T17" fmla="*/ 145 h 323"/>
              <a:gd name="T18" fmla="*/ 33 w 271"/>
              <a:gd name="T19" fmla="*/ 155 h 323"/>
              <a:gd name="T20" fmla="*/ 28 w 271"/>
              <a:gd name="T21" fmla="*/ 171 h 323"/>
              <a:gd name="T22" fmla="*/ 19 w 271"/>
              <a:gd name="T23" fmla="*/ 184 h 323"/>
              <a:gd name="T24" fmla="*/ 11 w 271"/>
              <a:gd name="T25" fmla="*/ 189 h 323"/>
              <a:gd name="T26" fmla="*/ 0 w 271"/>
              <a:gd name="T27" fmla="*/ 205 h 323"/>
              <a:gd name="T28" fmla="*/ 1 w 271"/>
              <a:gd name="T29" fmla="*/ 221 h 323"/>
              <a:gd name="T30" fmla="*/ 14 w 271"/>
              <a:gd name="T31" fmla="*/ 229 h 323"/>
              <a:gd name="T32" fmla="*/ 44 w 271"/>
              <a:gd name="T33" fmla="*/ 229 h 323"/>
              <a:gd name="T34" fmla="*/ 62 w 271"/>
              <a:gd name="T35" fmla="*/ 218 h 323"/>
              <a:gd name="T36" fmla="*/ 79 w 271"/>
              <a:gd name="T37" fmla="*/ 215 h 323"/>
              <a:gd name="T38" fmla="*/ 93 w 271"/>
              <a:gd name="T39" fmla="*/ 229 h 323"/>
              <a:gd name="T40" fmla="*/ 107 w 271"/>
              <a:gd name="T41" fmla="*/ 236 h 323"/>
              <a:gd name="T42" fmla="*/ 126 w 271"/>
              <a:gd name="T43" fmla="*/ 239 h 323"/>
              <a:gd name="T44" fmla="*/ 121 w 271"/>
              <a:gd name="T45" fmla="*/ 263 h 323"/>
              <a:gd name="T46" fmla="*/ 128 w 271"/>
              <a:gd name="T47" fmla="*/ 323 h 323"/>
              <a:gd name="T48" fmla="*/ 144 w 271"/>
              <a:gd name="T49" fmla="*/ 322 h 323"/>
              <a:gd name="T50" fmla="*/ 154 w 271"/>
              <a:gd name="T51" fmla="*/ 320 h 323"/>
              <a:gd name="T52" fmla="*/ 158 w 271"/>
              <a:gd name="T53" fmla="*/ 303 h 323"/>
              <a:gd name="T54" fmla="*/ 161 w 271"/>
              <a:gd name="T55" fmla="*/ 268 h 323"/>
              <a:gd name="T56" fmla="*/ 173 w 271"/>
              <a:gd name="T57" fmla="*/ 249 h 323"/>
              <a:gd name="T58" fmla="*/ 173 w 271"/>
              <a:gd name="T59" fmla="*/ 218 h 323"/>
              <a:gd name="T60" fmla="*/ 183 w 271"/>
              <a:gd name="T61" fmla="*/ 199 h 323"/>
              <a:gd name="T62" fmla="*/ 204 w 271"/>
              <a:gd name="T63" fmla="*/ 189 h 323"/>
              <a:gd name="T64" fmla="*/ 243 w 271"/>
              <a:gd name="T65" fmla="*/ 140 h 323"/>
              <a:gd name="T66" fmla="*/ 248 w 271"/>
              <a:gd name="T67" fmla="*/ 118 h 323"/>
              <a:gd name="T68" fmla="*/ 242 w 271"/>
              <a:gd name="T69" fmla="*/ 84 h 323"/>
              <a:gd name="T70" fmla="*/ 267 w 271"/>
              <a:gd name="T71" fmla="*/ 61 h 323"/>
              <a:gd name="T72" fmla="*/ 271 w 271"/>
              <a:gd name="T73" fmla="*/ 23 h 323"/>
              <a:gd name="T74" fmla="*/ 253 w 271"/>
              <a:gd name="T75" fmla="*/ 6 h 323"/>
              <a:gd name="T76" fmla="*/ 242 w 271"/>
              <a:gd name="T77" fmla="*/ 3 h 323"/>
              <a:gd name="T78" fmla="*/ 220 w 271"/>
              <a:gd name="T79" fmla="*/ 0 h 323"/>
              <a:gd name="T80" fmla="*/ 173 w 271"/>
              <a:gd name="T81" fmla="*/ 0 h 323"/>
              <a:gd name="T82" fmla="*/ 159 w 271"/>
              <a:gd name="T83" fmla="*/ 13 h 323"/>
              <a:gd name="T84" fmla="*/ 148 w 271"/>
              <a:gd name="T85" fmla="*/ 29 h 323"/>
              <a:gd name="T86" fmla="*/ 150 w 271"/>
              <a:gd name="T87" fmla="*/ 43 h 323"/>
              <a:gd name="T88" fmla="*/ 167 w 271"/>
              <a:gd name="T89" fmla="*/ 56 h 323"/>
              <a:gd name="T90" fmla="*/ 178 w 271"/>
              <a:gd name="T91" fmla="*/ 71 h 323"/>
              <a:gd name="T92" fmla="*/ 178 w 271"/>
              <a:gd name="T93" fmla="*/ 93 h 323"/>
              <a:gd name="T94" fmla="*/ 159 w 271"/>
              <a:gd name="T95" fmla="*/ 108 h 323"/>
              <a:gd name="T96" fmla="*/ 140 w 271"/>
              <a:gd name="T97" fmla="*/ 113 h 323"/>
              <a:gd name="T98" fmla="*/ 126 w 271"/>
              <a:gd name="T99" fmla="*/ 115 h 323"/>
              <a:gd name="T100" fmla="*/ 120 w 271"/>
              <a:gd name="T101" fmla="*/ 103 h 323"/>
              <a:gd name="T102" fmla="*/ 115 w 271"/>
              <a:gd name="T103" fmla="*/ 84 h 323"/>
              <a:gd name="T104" fmla="*/ 124 w 271"/>
              <a:gd name="T105" fmla="*/ 69 h 323"/>
              <a:gd name="T106" fmla="*/ 121 w 271"/>
              <a:gd name="T107" fmla="*/ 50 h 323"/>
              <a:gd name="T108" fmla="*/ 120 w 271"/>
              <a:gd name="T109" fmla="*/ 32 h 323"/>
              <a:gd name="T110" fmla="*/ 112 w 271"/>
              <a:gd name="T111" fmla="*/ 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23">
                <a:moveTo>
                  <a:pt x="112" y="9"/>
                </a:moveTo>
                <a:lnTo>
                  <a:pt x="85" y="47"/>
                </a:lnTo>
                <a:lnTo>
                  <a:pt x="85" y="59"/>
                </a:lnTo>
                <a:lnTo>
                  <a:pt x="68" y="77"/>
                </a:lnTo>
                <a:lnTo>
                  <a:pt x="71" y="81"/>
                </a:lnTo>
                <a:lnTo>
                  <a:pt x="66" y="94"/>
                </a:lnTo>
                <a:lnTo>
                  <a:pt x="49" y="113"/>
                </a:lnTo>
                <a:lnTo>
                  <a:pt x="33" y="134"/>
                </a:lnTo>
                <a:lnTo>
                  <a:pt x="26" y="145"/>
                </a:lnTo>
                <a:lnTo>
                  <a:pt x="33" y="155"/>
                </a:lnTo>
                <a:lnTo>
                  <a:pt x="28" y="171"/>
                </a:lnTo>
                <a:lnTo>
                  <a:pt x="19" y="184"/>
                </a:lnTo>
                <a:lnTo>
                  <a:pt x="11" y="189"/>
                </a:lnTo>
                <a:lnTo>
                  <a:pt x="0" y="205"/>
                </a:lnTo>
                <a:lnTo>
                  <a:pt x="1" y="221"/>
                </a:lnTo>
                <a:lnTo>
                  <a:pt x="14" y="229"/>
                </a:lnTo>
                <a:lnTo>
                  <a:pt x="44" y="229"/>
                </a:lnTo>
                <a:lnTo>
                  <a:pt x="62" y="218"/>
                </a:lnTo>
                <a:lnTo>
                  <a:pt x="79" y="215"/>
                </a:lnTo>
                <a:lnTo>
                  <a:pt x="93" y="229"/>
                </a:lnTo>
                <a:lnTo>
                  <a:pt x="107" y="236"/>
                </a:lnTo>
                <a:lnTo>
                  <a:pt x="126" y="239"/>
                </a:lnTo>
                <a:lnTo>
                  <a:pt x="121" y="263"/>
                </a:lnTo>
                <a:lnTo>
                  <a:pt x="128" y="323"/>
                </a:lnTo>
                <a:lnTo>
                  <a:pt x="144" y="322"/>
                </a:lnTo>
                <a:lnTo>
                  <a:pt x="154" y="320"/>
                </a:lnTo>
                <a:lnTo>
                  <a:pt x="158" y="303"/>
                </a:lnTo>
                <a:lnTo>
                  <a:pt x="161" y="268"/>
                </a:lnTo>
                <a:lnTo>
                  <a:pt x="173" y="249"/>
                </a:lnTo>
                <a:lnTo>
                  <a:pt x="173" y="218"/>
                </a:lnTo>
                <a:lnTo>
                  <a:pt x="183" y="199"/>
                </a:lnTo>
                <a:lnTo>
                  <a:pt x="204" y="189"/>
                </a:lnTo>
                <a:lnTo>
                  <a:pt x="243" y="140"/>
                </a:lnTo>
                <a:lnTo>
                  <a:pt x="248" y="118"/>
                </a:lnTo>
                <a:lnTo>
                  <a:pt x="242" y="84"/>
                </a:lnTo>
                <a:lnTo>
                  <a:pt x="267" y="61"/>
                </a:lnTo>
                <a:lnTo>
                  <a:pt x="271" y="23"/>
                </a:lnTo>
                <a:lnTo>
                  <a:pt x="253" y="6"/>
                </a:lnTo>
                <a:lnTo>
                  <a:pt x="242" y="3"/>
                </a:lnTo>
                <a:lnTo>
                  <a:pt x="220" y="0"/>
                </a:lnTo>
                <a:lnTo>
                  <a:pt x="173" y="0"/>
                </a:lnTo>
                <a:lnTo>
                  <a:pt x="159" y="13"/>
                </a:lnTo>
                <a:lnTo>
                  <a:pt x="148" y="29"/>
                </a:lnTo>
                <a:lnTo>
                  <a:pt x="150" y="43"/>
                </a:lnTo>
                <a:lnTo>
                  <a:pt x="167" y="56"/>
                </a:lnTo>
                <a:lnTo>
                  <a:pt x="178" y="71"/>
                </a:lnTo>
                <a:lnTo>
                  <a:pt x="178" y="93"/>
                </a:lnTo>
                <a:lnTo>
                  <a:pt x="159" y="108"/>
                </a:lnTo>
                <a:lnTo>
                  <a:pt x="140" y="113"/>
                </a:lnTo>
                <a:lnTo>
                  <a:pt x="126" y="115"/>
                </a:lnTo>
                <a:lnTo>
                  <a:pt x="120" y="103"/>
                </a:lnTo>
                <a:lnTo>
                  <a:pt x="115" y="84"/>
                </a:lnTo>
                <a:lnTo>
                  <a:pt x="124" y="69"/>
                </a:lnTo>
                <a:lnTo>
                  <a:pt x="121" y="50"/>
                </a:lnTo>
                <a:lnTo>
                  <a:pt x="120" y="32"/>
                </a:lnTo>
                <a:lnTo>
                  <a:pt x="112" y="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2" name="CZ"/>
          <p:cNvSpPr>
            <a:spLocks/>
          </p:cNvSpPr>
          <p:nvPr/>
        </p:nvSpPr>
        <p:spPr bwMode="auto">
          <a:xfrm>
            <a:off x="5992813" y="3833813"/>
            <a:ext cx="760412" cy="368300"/>
          </a:xfrm>
          <a:custGeom>
            <a:avLst/>
            <a:gdLst>
              <a:gd name="T0" fmla="*/ 126 w 510"/>
              <a:gd name="T1" fmla="*/ 298 h 311"/>
              <a:gd name="T2" fmla="*/ 122 w 510"/>
              <a:gd name="T3" fmla="*/ 281 h 311"/>
              <a:gd name="T4" fmla="*/ 106 w 510"/>
              <a:gd name="T5" fmla="*/ 271 h 311"/>
              <a:gd name="T6" fmla="*/ 46 w 510"/>
              <a:gd name="T7" fmla="*/ 210 h 311"/>
              <a:gd name="T8" fmla="*/ 42 w 510"/>
              <a:gd name="T9" fmla="*/ 179 h 311"/>
              <a:gd name="T10" fmla="*/ 16 w 510"/>
              <a:gd name="T11" fmla="*/ 175 h 311"/>
              <a:gd name="T12" fmla="*/ 17 w 510"/>
              <a:gd name="T13" fmla="*/ 145 h 311"/>
              <a:gd name="T14" fmla="*/ 8 w 510"/>
              <a:gd name="T15" fmla="*/ 116 h 311"/>
              <a:gd name="T16" fmla="*/ 0 w 510"/>
              <a:gd name="T17" fmla="*/ 101 h 311"/>
              <a:gd name="T18" fmla="*/ 6 w 510"/>
              <a:gd name="T19" fmla="*/ 83 h 311"/>
              <a:gd name="T20" fmla="*/ 24 w 510"/>
              <a:gd name="T21" fmla="*/ 83 h 311"/>
              <a:gd name="T22" fmla="*/ 57 w 510"/>
              <a:gd name="T23" fmla="*/ 75 h 311"/>
              <a:gd name="T24" fmla="*/ 160 w 510"/>
              <a:gd name="T25" fmla="*/ 15 h 311"/>
              <a:gd name="T26" fmla="*/ 182 w 510"/>
              <a:gd name="T27" fmla="*/ 0 h 311"/>
              <a:gd name="T28" fmla="*/ 195 w 510"/>
              <a:gd name="T29" fmla="*/ 18 h 311"/>
              <a:gd name="T30" fmla="*/ 217 w 510"/>
              <a:gd name="T31" fmla="*/ 8 h 311"/>
              <a:gd name="T32" fmla="*/ 237 w 510"/>
              <a:gd name="T33" fmla="*/ 10 h 311"/>
              <a:gd name="T34" fmla="*/ 250 w 510"/>
              <a:gd name="T35" fmla="*/ 19 h 311"/>
              <a:gd name="T36" fmla="*/ 250 w 510"/>
              <a:gd name="T37" fmla="*/ 47 h 311"/>
              <a:gd name="T38" fmla="*/ 287 w 510"/>
              <a:gd name="T39" fmla="*/ 74 h 311"/>
              <a:gd name="T40" fmla="*/ 289 w 510"/>
              <a:gd name="T41" fmla="*/ 92 h 311"/>
              <a:gd name="T42" fmla="*/ 303 w 510"/>
              <a:gd name="T43" fmla="*/ 113 h 311"/>
              <a:gd name="T44" fmla="*/ 313 w 510"/>
              <a:gd name="T45" fmla="*/ 122 h 311"/>
              <a:gd name="T46" fmla="*/ 320 w 510"/>
              <a:gd name="T47" fmla="*/ 113 h 311"/>
              <a:gd name="T48" fmla="*/ 346 w 510"/>
              <a:gd name="T49" fmla="*/ 98 h 311"/>
              <a:gd name="T50" fmla="*/ 358 w 510"/>
              <a:gd name="T51" fmla="*/ 101 h 311"/>
              <a:gd name="T52" fmla="*/ 390 w 510"/>
              <a:gd name="T53" fmla="*/ 142 h 311"/>
              <a:gd name="T54" fmla="*/ 398 w 510"/>
              <a:gd name="T55" fmla="*/ 140 h 311"/>
              <a:gd name="T56" fmla="*/ 432 w 510"/>
              <a:gd name="T57" fmla="*/ 163 h 311"/>
              <a:gd name="T58" fmla="*/ 483 w 510"/>
              <a:gd name="T59" fmla="*/ 160 h 311"/>
              <a:gd name="T60" fmla="*/ 510 w 510"/>
              <a:gd name="T61" fmla="*/ 179 h 311"/>
              <a:gd name="T62" fmla="*/ 454 w 510"/>
              <a:gd name="T63" fmla="*/ 213 h 311"/>
              <a:gd name="T64" fmla="*/ 451 w 510"/>
              <a:gd name="T65" fmla="*/ 256 h 311"/>
              <a:gd name="T66" fmla="*/ 417 w 510"/>
              <a:gd name="T67" fmla="*/ 291 h 311"/>
              <a:gd name="T68" fmla="*/ 380 w 510"/>
              <a:gd name="T69" fmla="*/ 290 h 311"/>
              <a:gd name="T70" fmla="*/ 360 w 510"/>
              <a:gd name="T71" fmla="*/ 300 h 311"/>
              <a:gd name="T72" fmla="*/ 335 w 510"/>
              <a:gd name="T73" fmla="*/ 311 h 311"/>
              <a:gd name="T74" fmla="*/ 303 w 510"/>
              <a:gd name="T75" fmla="*/ 288 h 311"/>
              <a:gd name="T76" fmla="*/ 283 w 510"/>
              <a:gd name="T77" fmla="*/ 300 h 311"/>
              <a:gd name="T78" fmla="*/ 265 w 510"/>
              <a:gd name="T79" fmla="*/ 304 h 311"/>
              <a:gd name="T80" fmla="*/ 250 w 510"/>
              <a:gd name="T81" fmla="*/ 277 h 311"/>
              <a:gd name="T82" fmla="*/ 206 w 510"/>
              <a:gd name="T83" fmla="*/ 278 h 311"/>
              <a:gd name="T84" fmla="*/ 192 w 510"/>
              <a:gd name="T85" fmla="*/ 290 h 311"/>
              <a:gd name="T86" fmla="*/ 182 w 510"/>
              <a:gd name="T87" fmla="*/ 301 h 311"/>
              <a:gd name="T88" fmla="*/ 163 w 510"/>
              <a:gd name="T89" fmla="*/ 301 h 311"/>
              <a:gd name="T90" fmla="*/ 142 w 510"/>
              <a:gd name="T91" fmla="*/ 305 h 311"/>
              <a:gd name="T92" fmla="*/ 126 w 510"/>
              <a:gd name="T93" fmla="*/ 2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11">
                <a:moveTo>
                  <a:pt x="126" y="298"/>
                </a:moveTo>
                <a:lnTo>
                  <a:pt x="122" y="281"/>
                </a:lnTo>
                <a:lnTo>
                  <a:pt x="106" y="271"/>
                </a:lnTo>
                <a:lnTo>
                  <a:pt x="46" y="210"/>
                </a:lnTo>
                <a:lnTo>
                  <a:pt x="42" y="179"/>
                </a:lnTo>
                <a:lnTo>
                  <a:pt x="16" y="175"/>
                </a:lnTo>
                <a:lnTo>
                  <a:pt x="17" y="145"/>
                </a:lnTo>
                <a:lnTo>
                  <a:pt x="8" y="116"/>
                </a:lnTo>
                <a:lnTo>
                  <a:pt x="0" y="101"/>
                </a:lnTo>
                <a:lnTo>
                  <a:pt x="6" y="83"/>
                </a:lnTo>
                <a:lnTo>
                  <a:pt x="24" y="83"/>
                </a:lnTo>
                <a:lnTo>
                  <a:pt x="57" y="75"/>
                </a:lnTo>
                <a:lnTo>
                  <a:pt x="160" y="15"/>
                </a:lnTo>
                <a:lnTo>
                  <a:pt x="182" y="0"/>
                </a:lnTo>
                <a:lnTo>
                  <a:pt x="195" y="18"/>
                </a:lnTo>
                <a:lnTo>
                  <a:pt x="217" y="8"/>
                </a:lnTo>
                <a:lnTo>
                  <a:pt x="237" y="10"/>
                </a:lnTo>
                <a:lnTo>
                  <a:pt x="250" y="19"/>
                </a:lnTo>
                <a:lnTo>
                  <a:pt x="250" y="47"/>
                </a:lnTo>
                <a:lnTo>
                  <a:pt x="287" y="74"/>
                </a:lnTo>
                <a:lnTo>
                  <a:pt x="289" y="92"/>
                </a:lnTo>
                <a:lnTo>
                  <a:pt x="303" y="113"/>
                </a:lnTo>
                <a:lnTo>
                  <a:pt x="313" y="122"/>
                </a:lnTo>
                <a:lnTo>
                  <a:pt x="320" y="113"/>
                </a:lnTo>
                <a:lnTo>
                  <a:pt x="346" y="98"/>
                </a:lnTo>
                <a:lnTo>
                  <a:pt x="358" y="101"/>
                </a:lnTo>
                <a:lnTo>
                  <a:pt x="390" y="142"/>
                </a:lnTo>
                <a:lnTo>
                  <a:pt x="398" y="140"/>
                </a:lnTo>
                <a:lnTo>
                  <a:pt x="432" y="163"/>
                </a:lnTo>
                <a:lnTo>
                  <a:pt x="483" y="160"/>
                </a:lnTo>
                <a:lnTo>
                  <a:pt x="510" y="179"/>
                </a:lnTo>
                <a:lnTo>
                  <a:pt x="454" y="213"/>
                </a:lnTo>
                <a:lnTo>
                  <a:pt x="451" y="256"/>
                </a:lnTo>
                <a:lnTo>
                  <a:pt x="417" y="291"/>
                </a:lnTo>
                <a:lnTo>
                  <a:pt x="380" y="290"/>
                </a:lnTo>
                <a:lnTo>
                  <a:pt x="360" y="300"/>
                </a:lnTo>
                <a:lnTo>
                  <a:pt x="335" y="311"/>
                </a:lnTo>
                <a:lnTo>
                  <a:pt x="303" y="288"/>
                </a:lnTo>
                <a:lnTo>
                  <a:pt x="283" y="300"/>
                </a:lnTo>
                <a:lnTo>
                  <a:pt x="265" y="304"/>
                </a:lnTo>
                <a:lnTo>
                  <a:pt x="250" y="277"/>
                </a:lnTo>
                <a:lnTo>
                  <a:pt x="206" y="278"/>
                </a:lnTo>
                <a:lnTo>
                  <a:pt x="192" y="290"/>
                </a:lnTo>
                <a:lnTo>
                  <a:pt x="182" y="301"/>
                </a:lnTo>
                <a:lnTo>
                  <a:pt x="163" y="301"/>
                </a:lnTo>
                <a:lnTo>
                  <a:pt x="142" y="305"/>
                </a:lnTo>
                <a:lnTo>
                  <a:pt x="126" y="298"/>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3" name="HR" descr="80%"/>
          <p:cNvSpPr>
            <a:spLocks noChangeAspect="1"/>
          </p:cNvSpPr>
          <p:nvPr/>
        </p:nvSpPr>
        <p:spPr bwMode="auto">
          <a:xfrm>
            <a:off x="6070600" y="4521200"/>
            <a:ext cx="682625" cy="604838"/>
          </a:xfrm>
          <a:custGeom>
            <a:avLst/>
            <a:gdLst>
              <a:gd name="T0" fmla="*/ 9 w 460"/>
              <a:gd name="T1" fmla="*/ 145 h 506"/>
              <a:gd name="T2" fmla="*/ 28 w 460"/>
              <a:gd name="T3" fmla="*/ 185 h 506"/>
              <a:gd name="T4" fmla="*/ 52 w 460"/>
              <a:gd name="T5" fmla="*/ 179 h 506"/>
              <a:gd name="T6" fmla="*/ 71 w 460"/>
              <a:gd name="T7" fmla="*/ 139 h 506"/>
              <a:gd name="T8" fmla="*/ 104 w 460"/>
              <a:gd name="T9" fmla="*/ 158 h 506"/>
              <a:gd name="T10" fmla="*/ 113 w 460"/>
              <a:gd name="T11" fmla="*/ 192 h 506"/>
              <a:gd name="T12" fmla="*/ 129 w 460"/>
              <a:gd name="T13" fmla="*/ 237 h 506"/>
              <a:gd name="T14" fmla="*/ 146 w 460"/>
              <a:gd name="T15" fmla="*/ 269 h 506"/>
              <a:gd name="T16" fmla="*/ 134 w 460"/>
              <a:gd name="T17" fmla="*/ 283 h 506"/>
              <a:gd name="T18" fmla="*/ 204 w 460"/>
              <a:gd name="T19" fmla="*/ 370 h 506"/>
              <a:gd name="T20" fmla="*/ 237 w 460"/>
              <a:gd name="T21" fmla="*/ 374 h 506"/>
              <a:gd name="T22" fmla="*/ 289 w 460"/>
              <a:gd name="T23" fmla="*/ 414 h 506"/>
              <a:gd name="T24" fmla="*/ 303 w 460"/>
              <a:gd name="T25" fmla="*/ 445 h 506"/>
              <a:gd name="T26" fmla="*/ 317 w 460"/>
              <a:gd name="T27" fmla="*/ 444 h 506"/>
              <a:gd name="T28" fmla="*/ 347 w 460"/>
              <a:gd name="T29" fmla="*/ 462 h 506"/>
              <a:gd name="T30" fmla="*/ 367 w 460"/>
              <a:gd name="T31" fmla="*/ 461 h 506"/>
              <a:gd name="T32" fmla="*/ 366 w 460"/>
              <a:gd name="T33" fmla="*/ 428 h 506"/>
              <a:gd name="T34" fmla="*/ 343 w 460"/>
              <a:gd name="T35" fmla="*/ 391 h 506"/>
              <a:gd name="T36" fmla="*/ 289 w 460"/>
              <a:gd name="T37" fmla="*/ 330 h 506"/>
              <a:gd name="T38" fmla="*/ 270 w 460"/>
              <a:gd name="T39" fmla="*/ 324 h 506"/>
              <a:gd name="T40" fmla="*/ 251 w 460"/>
              <a:gd name="T41" fmla="*/ 309 h 506"/>
              <a:gd name="T42" fmla="*/ 237 w 460"/>
              <a:gd name="T43" fmla="*/ 280 h 506"/>
              <a:gd name="T44" fmla="*/ 214 w 460"/>
              <a:gd name="T45" fmla="*/ 235 h 506"/>
              <a:gd name="T46" fmla="*/ 174 w 460"/>
              <a:gd name="T47" fmla="*/ 179 h 506"/>
              <a:gd name="T48" fmla="*/ 195 w 460"/>
              <a:gd name="T49" fmla="*/ 169 h 506"/>
              <a:gd name="T50" fmla="*/ 281 w 460"/>
              <a:gd name="T51" fmla="*/ 145 h 506"/>
              <a:gd name="T52" fmla="*/ 322 w 460"/>
              <a:gd name="T53" fmla="*/ 173 h 506"/>
              <a:gd name="T54" fmla="*/ 338 w 460"/>
              <a:gd name="T55" fmla="*/ 173 h 506"/>
              <a:gd name="T56" fmla="*/ 374 w 460"/>
              <a:gd name="T57" fmla="*/ 176 h 506"/>
              <a:gd name="T58" fmla="*/ 421 w 460"/>
              <a:gd name="T59" fmla="*/ 173 h 506"/>
              <a:gd name="T60" fmla="*/ 451 w 460"/>
              <a:gd name="T61" fmla="*/ 192 h 506"/>
              <a:gd name="T62" fmla="*/ 460 w 460"/>
              <a:gd name="T63" fmla="*/ 158 h 506"/>
              <a:gd name="T64" fmla="*/ 436 w 460"/>
              <a:gd name="T65" fmla="*/ 129 h 506"/>
              <a:gd name="T66" fmla="*/ 434 w 460"/>
              <a:gd name="T67" fmla="*/ 98 h 506"/>
              <a:gd name="T68" fmla="*/ 415 w 460"/>
              <a:gd name="T69" fmla="*/ 77 h 506"/>
              <a:gd name="T70" fmla="*/ 395 w 460"/>
              <a:gd name="T71" fmla="*/ 82 h 506"/>
              <a:gd name="T72" fmla="*/ 371 w 460"/>
              <a:gd name="T73" fmla="*/ 92 h 506"/>
              <a:gd name="T74" fmla="*/ 336 w 460"/>
              <a:gd name="T75" fmla="*/ 61 h 506"/>
              <a:gd name="T76" fmla="*/ 305 w 460"/>
              <a:gd name="T77" fmla="*/ 47 h 506"/>
              <a:gd name="T78" fmla="*/ 251 w 460"/>
              <a:gd name="T79" fmla="*/ 0 h 506"/>
              <a:gd name="T80" fmla="*/ 199 w 460"/>
              <a:gd name="T81" fmla="*/ 34 h 506"/>
              <a:gd name="T82" fmla="*/ 184 w 460"/>
              <a:gd name="T83" fmla="*/ 64 h 506"/>
              <a:gd name="T84" fmla="*/ 101 w 460"/>
              <a:gd name="T85" fmla="*/ 114 h 506"/>
              <a:gd name="T86" fmla="*/ 52 w 460"/>
              <a:gd name="T87" fmla="*/ 114 h 506"/>
              <a:gd name="T88" fmla="*/ 0 w 460"/>
              <a:gd name="T89" fmla="*/ 11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0" h="506">
                <a:moveTo>
                  <a:pt x="0" y="114"/>
                </a:moveTo>
                <a:lnTo>
                  <a:pt x="9" y="145"/>
                </a:lnTo>
                <a:lnTo>
                  <a:pt x="19" y="169"/>
                </a:lnTo>
                <a:lnTo>
                  <a:pt x="28" y="185"/>
                </a:lnTo>
                <a:lnTo>
                  <a:pt x="39" y="188"/>
                </a:lnTo>
                <a:lnTo>
                  <a:pt x="52" y="179"/>
                </a:lnTo>
                <a:lnTo>
                  <a:pt x="58" y="163"/>
                </a:lnTo>
                <a:lnTo>
                  <a:pt x="71" y="139"/>
                </a:lnTo>
                <a:lnTo>
                  <a:pt x="87" y="154"/>
                </a:lnTo>
                <a:lnTo>
                  <a:pt x="104" y="158"/>
                </a:lnTo>
                <a:lnTo>
                  <a:pt x="115" y="166"/>
                </a:lnTo>
                <a:lnTo>
                  <a:pt x="113" y="192"/>
                </a:lnTo>
                <a:lnTo>
                  <a:pt x="113" y="209"/>
                </a:lnTo>
                <a:lnTo>
                  <a:pt x="129" y="237"/>
                </a:lnTo>
                <a:lnTo>
                  <a:pt x="148" y="262"/>
                </a:lnTo>
                <a:lnTo>
                  <a:pt x="146" y="269"/>
                </a:lnTo>
                <a:lnTo>
                  <a:pt x="124" y="269"/>
                </a:lnTo>
                <a:lnTo>
                  <a:pt x="134" y="283"/>
                </a:lnTo>
                <a:lnTo>
                  <a:pt x="198" y="364"/>
                </a:lnTo>
                <a:lnTo>
                  <a:pt x="204" y="370"/>
                </a:lnTo>
                <a:lnTo>
                  <a:pt x="223" y="370"/>
                </a:lnTo>
                <a:lnTo>
                  <a:pt x="237" y="374"/>
                </a:lnTo>
                <a:lnTo>
                  <a:pt x="265" y="388"/>
                </a:lnTo>
                <a:lnTo>
                  <a:pt x="289" y="414"/>
                </a:lnTo>
                <a:lnTo>
                  <a:pt x="294" y="425"/>
                </a:lnTo>
                <a:lnTo>
                  <a:pt x="303" y="445"/>
                </a:lnTo>
                <a:lnTo>
                  <a:pt x="310" y="444"/>
                </a:lnTo>
                <a:lnTo>
                  <a:pt x="317" y="444"/>
                </a:lnTo>
                <a:lnTo>
                  <a:pt x="336" y="452"/>
                </a:lnTo>
                <a:lnTo>
                  <a:pt x="347" y="462"/>
                </a:lnTo>
                <a:lnTo>
                  <a:pt x="383" y="506"/>
                </a:lnTo>
                <a:lnTo>
                  <a:pt x="367" y="461"/>
                </a:lnTo>
                <a:lnTo>
                  <a:pt x="358" y="444"/>
                </a:lnTo>
                <a:lnTo>
                  <a:pt x="366" y="428"/>
                </a:lnTo>
                <a:lnTo>
                  <a:pt x="361" y="414"/>
                </a:lnTo>
                <a:lnTo>
                  <a:pt x="343" y="391"/>
                </a:lnTo>
                <a:lnTo>
                  <a:pt x="310" y="348"/>
                </a:lnTo>
                <a:lnTo>
                  <a:pt x="289" y="330"/>
                </a:lnTo>
                <a:lnTo>
                  <a:pt x="281" y="321"/>
                </a:lnTo>
                <a:lnTo>
                  <a:pt x="270" y="324"/>
                </a:lnTo>
                <a:lnTo>
                  <a:pt x="253" y="309"/>
                </a:lnTo>
                <a:lnTo>
                  <a:pt x="251" y="309"/>
                </a:lnTo>
                <a:lnTo>
                  <a:pt x="242" y="299"/>
                </a:lnTo>
                <a:lnTo>
                  <a:pt x="237" y="280"/>
                </a:lnTo>
                <a:lnTo>
                  <a:pt x="232" y="262"/>
                </a:lnTo>
                <a:lnTo>
                  <a:pt x="214" y="235"/>
                </a:lnTo>
                <a:lnTo>
                  <a:pt x="176" y="191"/>
                </a:lnTo>
                <a:lnTo>
                  <a:pt x="174" y="179"/>
                </a:lnTo>
                <a:lnTo>
                  <a:pt x="176" y="173"/>
                </a:lnTo>
                <a:lnTo>
                  <a:pt x="195" y="169"/>
                </a:lnTo>
                <a:lnTo>
                  <a:pt x="247" y="188"/>
                </a:lnTo>
                <a:lnTo>
                  <a:pt x="281" y="145"/>
                </a:lnTo>
                <a:lnTo>
                  <a:pt x="310" y="172"/>
                </a:lnTo>
                <a:lnTo>
                  <a:pt x="322" y="173"/>
                </a:lnTo>
                <a:lnTo>
                  <a:pt x="328" y="185"/>
                </a:lnTo>
                <a:lnTo>
                  <a:pt x="338" y="173"/>
                </a:lnTo>
                <a:lnTo>
                  <a:pt x="357" y="173"/>
                </a:lnTo>
                <a:lnTo>
                  <a:pt x="374" y="176"/>
                </a:lnTo>
                <a:lnTo>
                  <a:pt x="396" y="163"/>
                </a:lnTo>
                <a:lnTo>
                  <a:pt x="421" y="173"/>
                </a:lnTo>
                <a:lnTo>
                  <a:pt x="434" y="188"/>
                </a:lnTo>
                <a:lnTo>
                  <a:pt x="451" y="192"/>
                </a:lnTo>
                <a:lnTo>
                  <a:pt x="452" y="179"/>
                </a:lnTo>
                <a:lnTo>
                  <a:pt x="460" y="158"/>
                </a:lnTo>
                <a:lnTo>
                  <a:pt x="451" y="148"/>
                </a:lnTo>
                <a:lnTo>
                  <a:pt x="436" y="129"/>
                </a:lnTo>
                <a:lnTo>
                  <a:pt x="434" y="111"/>
                </a:lnTo>
                <a:lnTo>
                  <a:pt x="434" y="98"/>
                </a:lnTo>
                <a:lnTo>
                  <a:pt x="436" y="82"/>
                </a:lnTo>
                <a:lnTo>
                  <a:pt x="415" y="77"/>
                </a:lnTo>
                <a:lnTo>
                  <a:pt x="405" y="74"/>
                </a:lnTo>
                <a:lnTo>
                  <a:pt x="395" y="82"/>
                </a:lnTo>
                <a:lnTo>
                  <a:pt x="383" y="92"/>
                </a:lnTo>
                <a:lnTo>
                  <a:pt x="371" y="92"/>
                </a:lnTo>
                <a:lnTo>
                  <a:pt x="352" y="71"/>
                </a:lnTo>
                <a:lnTo>
                  <a:pt x="336" y="61"/>
                </a:lnTo>
                <a:lnTo>
                  <a:pt x="319" y="64"/>
                </a:lnTo>
                <a:lnTo>
                  <a:pt x="305" y="47"/>
                </a:lnTo>
                <a:lnTo>
                  <a:pt x="267" y="3"/>
                </a:lnTo>
                <a:lnTo>
                  <a:pt x="251" y="0"/>
                </a:lnTo>
                <a:lnTo>
                  <a:pt x="226" y="37"/>
                </a:lnTo>
                <a:lnTo>
                  <a:pt x="199" y="34"/>
                </a:lnTo>
                <a:lnTo>
                  <a:pt x="188" y="47"/>
                </a:lnTo>
                <a:lnTo>
                  <a:pt x="184" y="64"/>
                </a:lnTo>
                <a:lnTo>
                  <a:pt x="134" y="124"/>
                </a:lnTo>
                <a:lnTo>
                  <a:pt x="101" y="114"/>
                </a:lnTo>
                <a:lnTo>
                  <a:pt x="68" y="105"/>
                </a:lnTo>
                <a:lnTo>
                  <a:pt x="52" y="114"/>
                </a:lnTo>
                <a:lnTo>
                  <a:pt x="30" y="124"/>
                </a:lnTo>
                <a:lnTo>
                  <a:pt x="0" y="114"/>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4" name="FR"/>
          <p:cNvGrpSpPr>
            <a:grpSpLocks/>
          </p:cNvGrpSpPr>
          <p:nvPr/>
        </p:nvGrpSpPr>
        <p:grpSpPr bwMode="auto">
          <a:xfrm>
            <a:off x="4143297" y="3644915"/>
            <a:ext cx="1436689" cy="1531940"/>
            <a:chOff x="1095378" y="3963090"/>
            <a:chExt cx="659" cy="793"/>
          </a:xfrm>
          <a:solidFill>
            <a:srgbClr val="FAFAFA"/>
          </a:solidFill>
          <a:effectLst/>
        </p:grpSpPr>
        <p:sp>
          <p:nvSpPr>
            <p:cNvPr id="102" name="Freeform 573"/>
            <p:cNvSpPr>
              <a:spLocks noChangeAspect="1"/>
            </p:cNvSpPr>
            <p:nvPr/>
          </p:nvSpPr>
          <p:spPr bwMode="auto">
            <a:xfrm>
              <a:off x="1095980" y="3963778"/>
              <a:ext cx="57" cy="105"/>
            </a:xfrm>
            <a:custGeom>
              <a:avLst/>
              <a:gdLst>
                <a:gd name="T0" fmla="*/ 85 w 85"/>
                <a:gd name="T1" fmla="*/ 0 h 172"/>
                <a:gd name="T2" fmla="*/ 57 w 85"/>
                <a:gd name="T3" fmla="*/ 37 h 172"/>
                <a:gd name="T4" fmla="*/ 24 w 85"/>
                <a:gd name="T5" fmla="*/ 37 h 172"/>
                <a:gd name="T6" fmla="*/ 0 w 85"/>
                <a:gd name="T7" fmla="*/ 58 h 172"/>
                <a:gd name="T8" fmla="*/ 5 w 85"/>
                <a:gd name="T9" fmla="*/ 86 h 172"/>
                <a:gd name="T10" fmla="*/ 5 w 85"/>
                <a:gd name="T11" fmla="*/ 135 h 172"/>
                <a:gd name="T12" fmla="*/ 24 w 85"/>
                <a:gd name="T13" fmla="*/ 172 h 172"/>
                <a:gd name="T14" fmla="*/ 47 w 85"/>
                <a:gd name="T15" fmla="*/ 162 h 172"/>
                <a:gd name="T16" fmla="*/ 52 w 85"/>
                <a:gd name="T17" fmla="*/ 141 h 172"/>
                <a:gd name="T18" fmla="*/ 76 w 85"/>
                <a:gd name="T19" fmla="*/ 92 h 172"/>
                <a:gd name="T20" fmla="*/ 76 w 85"/>
                <a:gd name="T21" fmla="*/ 67 h 172"/>
                <a:gd name="T22" fmla="*/ 85 w 85"/>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72">
                  <a:moveTo>
                    <a:pt x="85" y="0"/>
                  </a:moveTo>
                  <a:lnTo>
                    <a:pt x="57" y="37"/>
                  </a:lnTo>
                  <a:lnTo>
                    <a:pt x="24" y="37"/>
                  </a:lnTo>
                  <a:lnTo>
                    <a:pt x="0" y="58"/>
                  </a:lnTo>
                  <a:lnTo>
                    <a:pt x="5" y="86"/>
                  </a:lnTo>
                  <a:lnTo>
                    <a:pt x="5" y="135"/>
                  </a:lnTo>
                  <a:lnTo>
                    <a:pt x="24" y="172"/>
                  </a:lnTo>
                  <a:lnTo>
                    <a:pt x="47" y="162"/>
                  </a:lnTo>
                  <a:lnTo>
                    <a:pt x="52" y="141"/>
                  </a:lnTo>
                  <a:lnTo>
                    <a:pt x="76" y="92"/>
                  </a:lnTo>
                  <a:lnTo>
                    <a:pt x="76" y="67"/>
                  </a:lnTo>
                  <a:lnTo>
                    <a:pt x="8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3" name="Freeform 574"/>
            <p:cNvSpPr>
              <a:spLocks noChangeAspect="1"/>
            </p:cNvSpPr>
            <p:nvPr/>
          </p:nvSpPr>
          <p:spPr bwMode="auto">
            <a:xfrm>
              <a:off x="1095378" y="3963090"/>
              <a:ext cx="657" cy="655"/>
            </a:xfrm>
            <a:custGeom>
              <a:avLst/>
              <a:gdLst>
                <a:gd name="T0" fmla="*/ 14 w 965"/>
                <a:gd name="T1" fmla="*/ 206 h 1060"/>
                <a:gd name="T2" fmla="*/ 16 w 965"/>
                <a:gd name="T3" fmla="*/ 247 h 1060"/>
                <a:gd name="T4" fmla="*/ 94 w 965"/>
                <a:gd name="T5" fmla="*/ 314 h 1060"/>
                <a:gd name="T6" fmla="*/ 154 w 965"/>
                <a:gd name="T7" fmla="*/ 356 h 1060"/>
                <a:gd name="T8" fmla="*/ 148 w 965"/>
                <a:gd name="T9" fmla="*/ 411 h 1060"/>
                <a:gd name="T10" fmla="*/ 183 w 965"/>
                <a:gd name="T11" fmla="*/ 495 h 1060"/>
                <a:gd name="T12" fmla="*/ 200 w 965"/>
                <a:gd name="T13" fmla="*/ 609 h 1060"/>
                <a:gd name="T14" fmla="*/ 167 w 965"/>
                <a:gd name="T15" fmla="*/ 609 h 1060"/>
                <a:gd name="T16" fmla="*/ 146 w 965"/>
                <a:gd name="T17" fmla="*/ 667 h 1060"/>
                <a:gd name="T18" fmla="*/ 124 w 965"/>
                <a:gd name="T19" fmla="*/ 725 h 1060"/>
                <a:gd name="T20" fmla="*/ 72 w 965"/>
                <a:gd name="T21" fmla="*/ 828 h 1060"/>
                <a:gd name="T22" fmla="*/ 75 w 965"/>
                <a:gd name="T23" fmla="*/ 878 h 1060"/>
                <a:gd name="T24" fmla="*/ 204 w 965"/>
                <a:gd name="T25" fmla="*/ 973 h 1060"/>
                <a:gd name="T26" fmla="*/ 314 w 965"/>
                <a:gd name="T27" fmla="*/ 1031 h 1060"/>
                <a:gd name="T28" fmla="*/ 410 w 965"/>
                <a:gd name="T29" fmla="*/ 1060 h 1060"/>
                <a:gd name="T30" fmla="*/ 446 w 965"/>
                <a:gd name="T31" fmla="*/ 979 h 1060"/>
                <a:gd name="T32" fmla="*/ 533 w 965"/>
                <a:gd name="T33" fmla="*/ 943 h 1060"/>
                <a:gd name="T34" fmla="*/ 596 w 965"/>
                <a:gd name="T35" fmla="*/ 980 h 1060"/>
                <a:gd name="T36" fmla="*/ 684 w 965"/>
                <a:gd name="T37" fmla="*/ 1031 h 1060"/>
                <a:gd name="T38" fmla="*/ 764 w 965"/>
                <a:gd name="T39" fmla="*/ 1010 h 1060"/>
                <a:gd name="T40" fmla="*/ 822 w 965"/>
                <a:gd name="T41" fmla="*/ 942 h 1060"/>
                <a:gd name="T42" fmla="*/ 786 w 965"/>
                <a:gd name="T43" fmla="*/ 912 h 1060"/>
                <a:gd name="T44" fmla="*/ 780 w 965"/>
                <a:gd name="T45" fmla="*/ 815 h 1060"/>
                <a:gd name="T46" fmla="*/ 803 w 965"/>
                <a:gd name="T47" fmla="*/ 725 h 1060"/>
                <a:gd name="T48" fmla="*/ 803 w 965"/>
                <a:gd name="T49" fmla="*/ 643 h 1060"/>
                <a:gd name="T50" fmla="*/ 761 w 965"/>
                <a:gd name="T51" fmla="*/ 646 h 1060"/>
                <a:gd name="T52" fmla="*/ 742 w 965"/>
                <a:gd name="T53" fmla="*/ 633 h 1060"/>
                <a:gd name="T54" fmla="*/ 786 w 965"/>
                <a:gd name="T55" fmla="*/ 575 h 1060"/>
                <a:gd name="T56" fmla="*/ 855 w 965"/>
                <a:gd name="T57" fmla="*/ 501 h 1060"/>
                <a:gd name="T58" fmla="*/ 890 w 965"/>
                <a:gd name="T59" fmla="*/ 464 h 1060"/>
                <a:gd name="T60" fmla="*/ 918 w 965"/>
                <a:gd name="T61" fmla="*/ 393 h 1060"/>
                <a:gd name="T62" fmla="*/ 965 w 965"/>
                <a:gd name="T63" fmla="*/ 333 h 1060"/>
                <a:gd name="T64" fmla="*/ 909 w 965"/>
                <a:gd name="T65" fmla="*/ 303 h 1060"/>
                <a:gd name="T66" fmla="*/ 843 w 965"/>
                <a:gd name="T67" fmla="*/ 277 h 1060"/>
                <a:gd name="T68" fmla="*/ 798 w 965"/>
                <a:gd name="T69" fmla="*/ 232 h 1060"/>
                <a:gd name="T70" fmla="*/ 734 w 965"/>
                <a:gd name="T71" fmla="*/ 169 h 1060"/>
                <a:gd name="T72" fmla="*/ 681 w 965"/>
                <a:gd name="T73" fmla="*/ 108 h 1060"/>
                <a:gd name="T74" fmla="*/ 643 w 965"/>
                <a:gd name="T75" fmla="*/ 43 h 1060"/>
                <a:gd name="T76" fmla="*/ 561 w 965"/>
                <a:gd name="T77" fmla="*/ 3 h 1060"/>
                <a:gd name="T78" fmla="*/ 525 w 965"/>
                <a:gd name="T79" fmla="*/ 50 h 1060"/>
                <a:gd name="T80" fmla="*/ 401 w 965"/>
                <a:gd name="T81" fmla="*/ 124 h 1060"/>
                <a:gd name="T82" fmla="*/ 335 w 965"/>
                <a:gd name="T83" fmla="*/ 148 h 1060"/>
                <a:gd name="T84" fmla="*/ 277 w 965"/>
                <a:gd name="T85" fmla="*/ 111 h 1060"/>
                <a:gd name="T86" fmla="*/ 251 w 965"/>
                <a:gd name="T87" fmla="*/ 80 h 1060"/>
                <a:gd name="T88" fmla="*/ 258 w 965"/>
                <a:gd name="T89" fmla="*/ 118 h 1060"/>
                <a:gd name="T90" fmla="*/ 249 w 965"/>
                <a:gd name="T91" fmla="*/ 161 h 1060"/>
                <a:gd name="T92" fmla="*/ 230 w 965"/>
                <a:gd name="T93" fmla="*/ 195 h 1060"/>
                <a:gd name="T94" fmla="*/ 178 w 965"/>
                <a:gd name="T95" fmla="*/ 179 h 1060"/>
                <a:gd name="T96" fmla="*/ 118 w 965"/>
                <a:gd name="T97" fmla="*/ 136 h 1060"/>
                <a:gd name="T98" fmla="*/ 75 w 965"/>
                <a:gd name="T99" fmla="*/ 154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5" h="1060">
                  <a:moveTo>
                    <a:pt x="16" y="151"/>
                  </a:moveTo>
                  <a:lnTo>
                    <a:pt x="25" y="176"/>
                  </a:lnTo>
                  <a:lnTo>
                    <a:pt x="16" y="198"/>
                  </a:lnTo>
                  <a:lnTo>
                    <a:pt x="14" y="206"/>
                  </a:lnTo>
                  <a:lnTo>
                    <a:pt x="0" y="201"/>
                  </a:lnTo>
                  <a:lnTo>
                    <a:pt x="5" y="213"/>
                  </a:lnTo>
                  <a:lnTo>
                    <a:pt x="5" y="226"/>
                  </a:lnTo>
                  <a:lnTo>
                    <a:pt x="16" y="247"/>
                  </a:lnTo>
                  <a:lnTo>
                    <a:pt x="38" y="240"/>
                  </a:lnTo>
                  <a:lnTo>
                    <a:pt x="66" y="274"/>
                  </a:lnTo>
                  <a:lnTo>
                    <a:pt x="77" y="297"/>
                  </a:lnTo>
                  <a:lnTo>
                    <a:pt x="94" y="314"/>
                  </a:lnTo>
                  <a:lnTo>
                    <a:pt x="115" y="314"/>
                  </a:lnTo>
                  <a:lnTo>
                    <a:pt x="124" y="334"/>
                  </a:lnTo>
                  <a:lnTo>
                    <a:pt x="143" y="353"/>
                  </a:lnTo>
                  <a:lnTo>
                    <a:pt x="154" y="356"/>
                  </a:lnTo>
                  <a:lnTo>
                    <a:pt x="157" y="363"/>
                  </a:lnTo>
                  <a:lnTo>
                    <a:pt x="151" y="380"/>
                  </a:lnTo>
                  <a:lnTo>
                    <a:pt x="151" y="395"/>
                  </a:lnTo>
                  <a:lnTo>
                    <a:pt x="148" y="411"/>
                  </a:lnTo>
                  <a:lnTo>
                    <a:pt x="143" y="438"/>
                  </a:lnTo>
                  <a:lnTo>
                    <a:pt x="162" y="464"/>
                  </a:lnTo>
                  <a:lnTo>
                    <a:pt x="183" y="482"/>
                  </a:lnTo>
                  <a:lnTo>
                    <a:pt x="183" y="495"/>
                  </a:lnTo>
                  <a:lnTo>
                    <a:pt x="181" y="540"/>
                  </a:lnTo>
                  <a:lnTo>
                    <a:pt x="176" y="577"/>
                  </a:lnTo>
                  <a:lnTo>
                    <a:pt x="181" y="593"/>
                  </a:lnTo>
                  <a:lnTo>
                    <a:pt x="200" y="609"/>
                  </a:lnTo>
                  <a:lnTo>
                    <a:pt x="200" y="640"/>
                  </a:lnTo>
                  <a:lnTo>
                    <a:pt x="200" y="661"/>
                  </a:lnTo>
                  <a:lnTo>
                    <a:pt x="178" y="630"/>
                  </a:lnTo>
                  <a:lnTo>
                    <a:pt x="167" y="609"/>
                  </a:lnTo>
                  <a:lnTo>
                    <a:pt x="159" y="614"/>
                  </a:lnTo>
                  <a:lnTo>
                    <a:pt x="165" y="630"/>
                  </a:lnTo>
                  <a:lnTo>
                    <a:pt x="157" y="649"/>
                  </a:lnTo>
                  <a:lnTo>
                    <a:pt x="146" y="667"/>
                  </a:lnTo>
                  <a:lnTo>
                    <a:pt x="138" y="680"/>
                  </a:lnTo>
                  <a:lnTo>
                    <a:pt x="148" y="693"/>
                  </a:lnTo>
                  <a:lnTo>
                    <a:pt x="140" y="707"/>
                  </a:lnTo>
                  <a:lnTo>
                    <a:pt x="124" y="725"/>
                  </a:lnTo>
                  <a:lnTo>
                    <a:pt x="121" y="741"/>
                  </a:lnTo>
                  <a:lnTo>
                    <a:pt x="113" y="760"/>
                  </a:lnTo>
                  <a:lnTo>
                    <a:pt x="87" y="794"/>
                  </a:lnTo>
                  <a:lnTo>
                    <a:pt x="72" y="828"/>
                  </a:lnTo>
                  <a:lnTo>
                    <a:pt x="72" y="833"/>
                  </a:lnTo>
                  <a:lnTo>
                    <a:pt x="80" y="843"/>
                  </a:lnTo>
                  <a:lnTo>
                    <a:pt x="71" y="859"/>
                  </a:lnTo>
                  <a:lnTo>
                    <a:pt x="75" y="878"/>
                  </a:lnTo>
                  <a:lnTo>
                    <a:pt x="89" y="902"/>
                  </a:lnTo>
                  <a:lnTo>
                    <a:pt x="148" y="939"/>
                  </a:lnTo>
                  <a:lnTo>
                    <a:pt x="190" y="979"/>
                  </a:lnTo>
                  <a:lnTo>
                    <a:pt x="204" y="973"/>
                  </a:lnTo>
                  <a:lnTo>
                    <a:pt x="225" y="964"/>
                  </a:lnTo>
                  <a:lnTo>
                    <a:pt x="297" y="998"/>
                  </a:lnTo>
                  <a:lnTo>
                    <a:pt x="308" y="1010"/>
                  </a:lnTo>
                  <a:lnTo>
                    <a:pt x="314" y="1031"/>
                  </a:lnTo>
                  <a:lnTo>
                    <a:pt x="327" y="1038"/>
                  </a:lnTo>
                  <a:lnTo>
                    <a:pt x="343" y="1041"/>
                  </a:lnTo>
                  <a:lnTo>
                    <a:pt x="368" y="1057"/>
                  </a:lnTo>
                  <a:lnTo>
                    <a:pt x="410" y="1060"/>
                  </a:lnTo>
                  <a:lnTo>
                    <a:pt x="423" y="1041"/>
                  </a:lnTo>
                  <a:lnTo>
                    <a:pt x="427" y="1020"/>
                  </a:lnTo>
                  <a:lnTo>
                    <a:pt x="427" y="997"/>
                  </a:lnTo>
                  <a:lnTo>
                    <a:pt x="446" y="979"/>
                  </a:lnTo>
                  <a:lnTo>
                    <a:pt x="481" y="957"/>
                  </a:lnTo>
                  <a:lnTo>
                    <a:pt x="498" y="954"/>
                  </a:lnTo>
                  <a:lnTo>
                    <a:pt x="517" y="943"/>
                  </a:lnTo>
                  <a:lnTo>
                    <a:pt x="533" y="943"/>
                  </a:lnTo>
                  <a:lnTo>
                    <a:pt x="552" y="957"/>
                  </a:lnTo>
                  <a:lnTo>
                    <a:pt x="566" y="976"/>
                  </a:lnTo>
                  <a:lnTo>
                    <a:pt x="582" y="976"/>
                  </a:lnTo>
                  <a:lnTo>
                    <a:pt x="596" y="980"/>
                  </a:lnTo>
                  <a:lnTo>
                    <a:pt x="624" y="983"/>
                  </a:lnTo>
                  <a:lnTo>
                    <a:pt x="643" y="1010"/>
                  </a:lnTo>
                  <a:lnTo>
                    <a:pt x="660" y="1023"/>
                  </a:lnTo>
                  <a:lnTo>
                    <a:pt x="684" y="1031"/>
                  </a:lnTo>
                  <a:lnTo>
                    <a:pt x="704" y="1044"/>
                  </a:lnTo>
                  <a:lnTo>
                    <a:pt x="715" y="1047"/>
                  </a:lnTo>
                  <a:lnTo>
                    <a:pt x="745" y="1014"/>
                  </a:lnTo>
                  <a:lnTo>
                    <a:pt x="764" y="1010"/>
                  </a:lnTo>
                  <a:lnTo>
                    <a:pt x="777" y="997"/>
                  </a:lnTo>
                  <a:lnTo>
                    <a:pt x="798" y="980"/>
                  </a:lnTo>
                  <a:lnTo>
                    <a:pt x="824" y="979"/>
                  </a:lnTo>
                  <a:lnTo>
                    <a:pt x="822" y="942"/>
                  </a:lnTo>
                  <a:lnTo>
                    <a:pt x="817" y="930"/>
                  </a:lnTo>
                  <a:lnTo>
                    <a:pt x="805" y="912"/>
                  </a:lnTo>
                  <a:lnTo>
                    <a:pt x="796" y="915"/>
                  </a:lnTo>
                  <a:lnTo>
                    <a:pt x="786" y="912"/>
                  </a:lnTo>
                  <a:lnTo>
                    <a:pt x="777" y="896"/>
                  </a:lnTo>
                  <a:lnTo>
                    <a:pt x="775" y="859"/>
                  </a:lnTo>
                  <a:lnTo>
                    <a:pt x="794" y="835"/>
                  </a:lnTo>
                  <a:lnTo>
                    <a:pt x="780" y="815"/>
                  </a:lnTo>
                  <a:lnTo>
                    <a:pt x="780" y="806"/>
                  </a:lnTo>
                  <a:lnTo>
                    <a:pt x="808" y="775"/>
                  </a:lnTo>
                  <a:lnTo>
                    <a:pt x="808" y="764"/>
                  </a:lnTo>
                  <a:lnTo>
                    <a:pt x="803" y="725"/>
                  </a:lnTo>
                  <a:lnTo>
                    <a:pt x="819" y="707"/>
                  </a:lnTo>
                  <a:lnTo>
                    <a:pt x="805" y="686"/>
                  </a:lnTo>
                  <a:lnTo>
                    <a:pt x="805" y="670"/>
                  </a:lnTo>
                  <a:lnTo>
                    <a:pt x="803" y="643"/>
                  </a:lnTo>
                  <a:lnTo>
                    <a:pt x="796" y="636"/>
                  </a:lnTo>
                  <a:lnTo>
                    <a:pt x="780" y="636"/>
                  </a:lnTo>
                  <a:lnTo>
                    <a:pt x="765" y="640"/>
                  </a:lnTo>
                  <a:lnTo>
                    <a:pt x="761" y="646"/>
                  </a:lnTo>
                  <a:lnTo>
                    <a:pt x="751" y="656"/>
                  </a:lnTo>
                  <a:lnTo>
                    <a:pt x="737" y="661"/>
                  </a:lnTo>
                  <a:lnTo>
                    <a:pt x="732" y="646"/>
                  </a:lnTo>
                  <a:lnTo>
                    <a:pt x="742" y="633"/>
                  </a:lnTo>
                  <a:lnTo>
                    <a:pt x="747" y="622"/>
                  </a:lnTo>
                  <a:lnTo>
                    <a:pt x="747" y="609"/>
                  </a:lnTo>
                  <a:lnTo>
                    <a:pt x="772" y="580"/>
                  </a:lnTo>
                  <a:lnTo>
                    <a:pt x="786" y="575"/>
                  </a:lnTo>
                  <a:lnTo>
                    <a:pt x="789" y="553"/>
                  </a:lnTo>
                  <a:lnTo>
                    <a:pt x="803" y="535"/>
                  </a:lnTo>
                  <a:lnTo>
                    <a:pt x="843" y="501"/>
                  </a:lnTo>
                  <a:lnTo>
                    <a:pt x="855" y="501"/>
                  </a:lnTo>
                  <a:lnTo>
                    <a:pt x="860" y="488"/>
                  </a:lnTo>
                  <a:lnTo>
                    <a:pt x="874" y="472"/>
                  </a:lnTo>
                  <a:lnTo>
                    <a:pt x="885" y="472"/>
                  </a:lnTo>
                  <a:lnTo>
                    <a:pt x="890" y="464"/>
                  </a:lnTo>
                  <a:lnTo>
                    <a:pt x="897" y="458"/>
                  </a:lnTo>
                  <a:lnTo>
                    <a:pt x="907" y="439"/>
                  </a:lnTo>
                  <a:lnTo>
                    <a:pt x="915" y="411"/>
                  </a:lnTo>
                  <a:lnTo>
                    <a:pt x="918" y="393"/>
                  </a:lnTo>
                  <a:lnTo>
                    <a:pt x="918" y="377"/>
                  </a:lnTo>
                  <a:lnTo>
                    <a:pt x="932" y="358"/>
                  </a:lnTo>
                  <a:lnTo>
                    <a:pt x="953" y="346"/>
                  </a:lnTo>
                  <a:lnTo>
                    <a:pt x="965" y="333"/>
                  </a:lnTo>
                  <a:lnTo>
                    <a:pt x="965" y="327"/>
                  </a:lnTo>
                  <a:lnTo>
                    <a:pt x="946" y="311"/>
                  </a:lnTo>
                  <a:lnTo>
                    <a:pt x="937" y="306"/>
                  </a:lnTo>
                  <a:lnTo>
                    <a:pt x="909" y="303"/>
                  </a:lnTo>
                  <a:lnTo>
                    <a:pt x="878" y="297"/>
                  </a:lnTo>
                  <a:lnTo>
                    <a:pt x="866" y="296"/>
                  </a:lnTo>
                  <a:lnTo>
                    <a:pt x="855" y="290"/>
                  </a:lnTo>
                  <a:lnTo>
                    <a:pt x="843" y="277"/>
                  </a:lnTo>
                  <a:lnTo>
                    <a:pt x="833" y="256"/>
                  </a:lnTo>
                  <a:lnTo>
                    <a:pt x="824" y="243"/>
                  </a:lnTo>
                  <a:lnTo>
                    <a:pt x="812" y="237"/>
                  </a:lnTo>
                  <a:lnTo>
                    <a:pt x="798" y="232"/>
                  </a:lnTo>
                  <a:lnTo>
                    <a:pt x="791" y="229"/>
                  </a:lnTo>
                  <a:lnTo>
                    <a:pt x="772" y="210"/>
                  </a:lnTo>
                  <a:lnTo>
                    <a:pt x="748" y="189"/>
                  </a:lnTo>
                  <a:lnTo>
                    <a:pt x="734" y="169"/>
                  </a:lnTo>
                  <a:lnTo>
                    <a:pt x="718" y="164"/>
                  </a:lnTo>
                  <a:lnTo>
                    <a:pt x="709" y="155"/>
                  </a:lnTo>
                  <a:lnTo>
                    <a:pt x="701" y="135"/>
                  </a:lnTo>
                  <a:lnTo>
                    <a:pt x="681" y="108"/>
                  </a:lnTo>
                  <a:lnTo>
                    <a:pt x="676" y="90"/>
                  </a:lnTo>
                  <a:lnTo>
                    <a:pt x="660" y="71"/>
                  </a:lnTo>
                  <a:lnTo>
                    <a:pt x="652" y="55"/>
                  </a:lnTo>
                  <a:lnTo>
                    <a:pt x="643" y="43"/>
                  </a:lnTo>
                  <a:lnTo>
                    <a:pt x="627" y="28"/>
                  </a:lnTo>
                  <a:lnTo>
                    <a:pt x="610" y="8"/>
                  </a:lnTo>
                  <a:lnTo>
                    <a:pt x="596" y="0"/>
                  </a:lnTo>
                  <a:lnTo>
                    <a:pt x="561" y="3"/>
                  </a:lnTo>
                  <a:lnTo>
                    <a:pt x="547" y="3"/>
                  </a:lnTo>
                  <a:lnTo>
                    <a:pt x="528" y="18"/>
                  </a:lnTo>
                  <a:lnTo>
                    <a:pt x="539" y="31"/>
                  </a:lnTo>
                  <a:lnTo>
                    <a:pt x="525" y="50"/>
                  </a:lnTo>
                  <a:lnTo>
                    <a:pt x="490" y="100"/>
                  </a:lnTo>
                  <a:lnTo>
                    <a:pt x="472" y="111"/>
                  </a:lnTo>
                  <a:lnTo>
                    <a:pt x="423" y="117"/>
                  </a:lnTo>
                  <a:lnTo>
                    <a:pt x="401" y="124"/>
                  </a:lnTo>
                  <a:lnTo>
                    <a:pt x="390" y="136"/>
                  </a:lnTo>
                  <a:lnTo>
                    <a:pt x="385" y="148"/>
                  </a:lnTo>
                  <a:lnTo>
                    <a:pt x="366" y="142"/>
                  </a:lnTo>
                  <a:lnTo>
                    <a:pt x="335" y="148"/>
                  </a:lnTo>
                  <a:lnTo>
                    <a:pt x="316" y="145"/>
                  </a:lnTo>
                  <a:lnTo>
                    <a:pt x="300" y="132"/>
                  </a:lnTo>
                  <a:lnTo>
                    <a:pt x="289" y="117"/>
                  </a:lnTo>
                  <a:lnTo>
                    <a:pt x="277" y="111"/>
                  </a:lnTo>
                  <a:lnTo>
                    <a:pt x="286" y="98"/>
                  </a:lnTo>
                  <a:lnTo>
                    <a:pt x="272" y="84"/>
                  </a:lnTo>
                  <a:lnTo>
                    <a:pt x="261" y="81"/>
                  </a:lnTo>
                  <a:lnTo>
                    <a:pt x="251" y="80"/>
                  </a:lnTo>
                  <a:lnTo>
                    <a:pt x="249" y="84"/>
                  </a:lnTo>
                  <a:lnTo>
                    <a:pt x="258" y="95"/>
                  </a:lnTo>
                  <a:lnTo>
                    <a:pt x="253" y="102"/>
                  </a:lnTo>
                  <a:lnTo>
                    <a:pt x="258" y="118"/>
                  </a:lnTo>
                  <a:lnTo>
                    <a:pt x="261" y="136"/>
                  </a:lnTo>
                  <a:lnTo>
                    <a:pt x="261" y="151"/>
                  </a:lnTo>
                  <a:lnTo>
                    <a:pt x="258" y="154"/>
                  </a:lnTo>
                  <a:lnTo>
                    <a:pt x="249" y="161"/>
                  </a:lnTo>
                  <a:lnTo>
                    <a:pt x="247" y="173"/>
                  </a:lnTo>
                  <a:lnTo>
                    <a:pt x="247" y="188"/>
                  </a:lnTo>
                  <a:lnTo>
                    <a:pt x="244" y="198"/>
                  </a:lnTo>
                  <a:lnTo>
                    <a:pt x="230" y="195"/>
                  </a:lnTo>
                  <a:lnTo>
                    <a:pt x="214" y="185"/>
                  </a:lnTo>
                  <a:lnTo>
                    <a:pt x="204" y="195"/>
                  </a:lnTo>
                  <a:lnTo>
                    <a:pt x="187" y="182"/>
                  </a:lnTo>
                  <a:lnTo>
                    <a:pt x="178" y="179"/>
                  </a:lnTo>
                  <a:lnTo>
                    <a:pt x="167" y="189"/>
                  </a:lnTo>
                  <a:lnTo>
                    <a:pt x="157" y="188"/>
                  </a:lnTo>
                  <a:lnTo>
                    <a:pt x="157" y="179"/>
                  </a:lnTo>
                  <a:lnTo>
                    <a:pt x="118" y="136"/>
                  </a:lnTo>
                  <a:lnTo>
                    <a:pt x="108" y="135"/>
                  </a:lnTo>
                  <a:lnTo>
                    <a:pt x="101" y="142"/>
                  </a:lnTo>
                  <a:lnTo>
                    <a:pt x="85" y="151"/>
                  </a:lnTo>
                  <a:lnTo>
                    <a:pt x="75" y="154"/>
                  </a:lnTo>
                  <a:lnTo>
                    <a:pt x="63" y="139"/>
                  </a:lnTo>
                  <a:lnTo>
                    <a:pt x="35" y="139"/>
                  </a:lnTo>
                  <a:lnTo>
                    <a:pt x="16" y="151"/>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5" name="GB"/>
          <p:cNvGrpSpPr/>
          <p:nvPr/>
        </p:nvGrpSpPr>
        <p:grpSpPr>
          <a:xfrm>
            <a:off x="4144882" y="2354268"/>
            <a:ext cx="849313" cy="1277938"/>
            <a:chOff x="1096963" y="2672443"/>
            <a:chExt cx="849312" cy="1277938"/>
          </a:xfrm>
          <a:solidFill>
            <a:srgbClr val="FAFAFA"/>
          </a:solidFill>
          <a:effectLst/>
        </p:grpSpPr>
        <p:sp>
          <p:nvSpPr>
            <p:cNvPr id="97" name="Freeform 568"/>
            <p:cNvSpPr>
              <a:spLocks noChangeAspect="1"/>
            </p:cNvSpPr>
            <p:nvPr/>
          </p:nvSpPr>
          <p:spPr bwMode="auto">
            <a:xfrm>
              <a:off x="1096963" y="2689817"/>
              <a:ext cx="849312" cy="1260564"/>
            </a:xfrm>
            <a:custGeom>
              <a:avLst/>
              <a:gdLst>
                <a:gd name="T0" fmla="*/ 186 w 571"/>
                <a:gd name="T1" fmla="*/ 731 h 1058"/>
                <a:gd name="T2" fmla="*/ 123 w 571"/>
                <a:gd name="T3" fmla="*/ 779 h 1058"/>
                <a:gd name="T4" fmla="*/ 106 w 571"/>
                <a:gd name="T5" fmla="*/ 823 h 1058"/>
                <a:gd name="T6" fmla="*/ 143 w 571"/>
                <a:gd name="T7" fmla="*/ 847 h 1058"/>
                <a:gd name="T8" fmla="*/ 173 w 571"/>
                <a:gd name="T9" fmla="*/ 863 h 1058"/>
                <a:gd name="T10" fmla="*/ 228 w 571"/>
                <a:gd name="T11" fmla="*/ 876 h 1058"/>
                <a:gd name="T12" fmla="*/ 192 w 571"/>
                <a:gd name="T13" fmla="*/ 924 h 1058"/>
                <a:gd name="T14" fmla="*/ 110 w 571"/>
                <a:gd name="T15" fmla="*/ 897 h 1058"/>
                <a:gd name="T16" fmla="*/ 52 w 571"/>
                <a:gd name="T17" fmla="*/ 953 h 1058"/>
                <a:gd name="T18" fmla="*/ 3 w 571"/>
                <a:gd name="T19" fmla="*/ 981 h 1058"/>
                <a:gd name="T20" fmla="*/ 28 w 571"/>
                <a:gd name="T21" fmla="*/ 1005 h 1058"/>
                <a:gd name="T22" fmla="*/ 75 w 571"/>
                <a:gd name="T23" fmla="*/ 997 h 1058"/>
                <a:gd name="T24" fmla="*/ 139 w 571"/>
                <a:gd name="T25" fmla="*/ 1027 h 1058"/>
                <a:gd name="T26" fmla="*/ 187 w 571"/>
                <a:gd name="T27" fmla="*/ 978 h 1058"/>
                <a:gd name="T28" fmla="*/ 230 w 571"/>
                <a:gd name="T29" fmla="*/ 1008 h 1058"/>
                <a:gd name="T30" fmla="*/ 291 w 571"/>
                <a:gd name="T31" fmla="*/ 1018 h 1058"/>
                <a:gd name="T32" fmla="*/ 336 w 571"/>
                <a:gd name="T33" fmla="*/ 1014 h 1058"/>
                <a:gd name="T34" fmla="*/ 398 w 571"/>
                <a:gd name="T35" fmla="*/ 1042 h 1058"/>
                <a:gd name="T36" fmla="*/ 451 w 571"/>
                <a:gd name="T37" fmla="*/ 1048 h 1058"/>
                <a:gd name="T38" fmla="*/ 503 w 571"/>
                <a:gd name="T39" fmla="*/ 1027 h 1058"/>
                <a:gd name="T40" fmla="*/ 481 w 571"/>
                <a:gd name="T41" fmla="*/ 978 h 1058"/>
                <a:gd name="T42" fmla="*/ 484 w 571"/>
                <a:gd name="T43" fmla="*/ 947 h 1058"/>
                <a:gd name="T44" fmla="*/ 552 w 571"/>
                <a:gd name="T45" fmla="*/ 897 h 1058"/>
                <a:gd name="T46" fmla="*/ 571 w 571"/>
                <a:gd name="T47" fmla="*/ 829 h 1058"/>
                <a:gd name="T48" fmla="*/ 522 w 571"/>
                <a:gd name="T49" fmla="*/ 792 h 1058"/>
                <a:gd name="T50" fmla="*/ 486 w 571"/>
                <a:gd name="T51" fmla="*/ 789 h 1058"/>
                <a:gd name="T52" fmla="*/ 498 w 571"/>
                <a:gd name="T53" fmla="*/ 724 h 1058"/>
                <a:gd name="T54" fmla="*/ 498 w 571"/>
                <a:gd name="T55" fmla="*/ 634 h 1058"/>
                <a:gd name="T56" fmla="*/ 447 w 571"/>
                <a:gd name="T57" fmla="*/ 532 h 1058"/>
                <a:gd name="T58" fmla="*/ 447 w 571"/>
                <a:gd name="T59" fmla="*/ 451 h 1058"/>
                <a:gd name="T60" fmla="*/ 431 w 571"/>
                <a:gd name="T61" fmla="*/ 387 h 1058"/>
                <a:gd name="T62" fmla="*/ 376 w 571"/>
                <a:gd name="T63" fmla="*/ 352 h 1058"/>
                <a:gd name="T64" fmla="*/ 371 w 571"/>
                <a:gd name="T65" fmla="*/ 327 h 1058"/>
                <a:gd name="T66" fmla="*/ 418 w 571"/>
                <a:gd name="T67" fmla="*/ 334 h 1058"/>
                <a:gd name="T68" fmla="*/ 491 w 571"/>
                <a:gd name="T69" fmla="*/ 234 h 1058"/>
                <a:gd name="T70" fmla="*/ 486 w 571"/>
                <a:gd name="T71" fmla="*/ 170 h 1058"/>
                <a:gd name="T72" fmla="*/ 418 w 571"/>
                <a:gd name="T73" fmla="*/ 139 h 1058"/>
                <a:gd name="T74" fmla="*/ 381 w 571"/>
                <a:gd name="T75" fmla="*/ 142 h 1058"/>
                <a:gd name="T76" fmla="*/ 401 w 571"/>
                <a:gd name="T77" fmla="*/ 102 h 1058"/>
                <a:gd name="T78" fmla="*/ 475 w 571"/>
                <a:gd name="T79" fmla="*/ 52 h 1058"/>
                <a:gd name="T80" fmla="*/ 428 w 571"/>
                <a:gd name="T81" fmla="*/ 18 h 1058"/>
                <a:gd name="T82" fmla="*/ 351 w 571"/>
                <a:gd name="T83" fmla="*/ 31 h 1058"/>
                <a:gd name="T84" fmla="*/ 315 w 571"/>
                <a:gd name="T85" fmla="*/ 68 h 1058"/>
                <a:gd name="T86" fmla="*/ 291 w 571"/>
                <a:gd name="T87" fmla="*/ 118 h 1058"/>
                <a:gd name="T88" fmla="*/ 230 w 571"/>
                <a:gd name="T89" fmla="*/ 203 h 1058"/>
                <a:gd name="T90" fmla="*/ 270 w 571"/>
                <a:gd name="T91" fmla="*/ 220 h 1058"/>
                <a:gd name="T92" fmla="*/ 214 w 571"/>
                <a:gd name="T93" fmla="*/ 327 h 1058"/>
                <a:gd name="T94" fmla="*/ 233 w 571"/>
                <a:gd name="T95" fmla="*/ 343 h 1058"/>
                <a:gd name="T96" fmla="*/ 268 w 571"/>
                <a:gd name="T97" fmla="*/ 365 h 1058"/>
                <a:gd name="T98" fmla="*/ 228 w 571"/>
                <a:gd name="T99" fmla="*/ 429 h 1058"/>
                <a:gd name="T100" fmla="*/ 285 w 571"/>
                <a:gd name="T101" fmla="*/ 471 h 1058"/>
                <a:gd name="T102" fmla="*/ 319 w 571"/>
                <a:gd name="T103" fmla="*/ 485 h 1058"/>
                <a:gd name="T104" fmla="*/ 308 w 571"/>
                <a:gd name="T105" fmla="*/ 576 h 1058"/>
                <a:gd name="T106" fmla="*/ 305 w 571"/>
                <a:gd name="T107" fmla="*/ 637 h 1058"/>
                <a:gd name="T108" fmla="*/ 280 w 571"/>
                <a:gd name="T109" fmla="*/ 66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1058">
                  <a:moveTo>
                    <a:pt x="171" y="678"/>
                  </a:moveTo>
                  <a:lnTo>
                    <a:pt x="198" y="705"/>
                  </a:lnTo>
                  <a:lnTo>
                    <a:pt x="186" y="731"/>
                  </a:lnTo>
                  <a:lnTo>
                    <a:pt x="170" y="752"/>
                  </a:lnTo>
                  <a:lnTo>
                    <a:pt x="143" y="766"/>
                  </a:lnTo>
                  <a:lnTo>
                    <a:pt x="123" y="779"/>
                  </a:lnTo>
                  <a:lnTo>
                    <a:pt x="101" y="782"/>
                  </a:lnTo>
                  <a:lnTo>
                    <a:pt x="90" y="792"/>
                  </a:lnTo>
                  <a:lnTo>
                    <a:pt x="106" y="823"/>
                  </a:lnTo>
                  <a:lnTo>
                    <a:pt x="132" y="823"/>
                  </a:lnTo>
                  <a:lnTo>
                    <a:pt x="143" y="826"/>
                  </a:lnTo>
                  <a:lnTo>
                    <a:pt x="143" y="847"/>
                  </a:lnTo>
                  <a:lnTo>
                    <a:pt x="157" y="847"/>
                  </a:lnTo>
                  <a:lnTo>
                    <a:pt x="167" y="842"/>
                  </a:lnTo>
                  <a:lnTo>
                    <a:pt x="173" y="863"/>
                  </a:lnTo>
                  <a:lnTo>
                    <a:pt x="187" y="882"/>
                  </a:lnTo>
                  <a:lnTo>
                    <a:pt x="211" y="882"/>
                  </a:lnTo>
                  <a:lnTo>
                    <a:pt x="228" y="876"/>
                  </a:lnTo>
                  <a:lnTo>
                    <a:pt x="242" y="882"/>
                  </a:lnTo>
                  <a:lnTo>
                    <a:pt x="206" y="916"/>
                  </a:lnTo>
                  <a:lnTo>
                    <a:pt x="192" y="924"/>
                  </a:lnTo>
                  <a:lnTo>
                    <a:pt x="173" y="916"/>
                  </a:lnTo>
                  <a:lnTo>
                    <a:pt x="132" y="897"/>
                  </a:lnTo>
                  <a:lnTo>
                    <a:pt x="110" y="897"/>
                  </a:lnTo>
                  <a:lnTo>
                    <a:pt x="91" y="916"/>
                  </a:lnTo>
                  <a:lnTo>
                    <a:pt x="66" y="940"/>
                  </a:lnTo>
                  <a:lnTo>
                    <a:pt x="52" y="953"/>
                  </a:lnTo>
                  <a:lnTo>
                    <a:pt x="35" y="958"/>
                  </a:lnTo>
                  <a:lnTo>
                    <a:pt x="16" y="968"/>
                  </a:lnTo>
                  <a:lnTo>
                    <a:pt x="3" y="981"/>
                  </a:lnTo>
                  <a:lnTo>
                    <a:pt x="0" y="990"/>
                  </a:lnTo>
                  <a:lnTo>
                    <a:pt x="16" y="993"/>
                  </a:lnTo>
                  <a:lnTo>
                    <a:pt x="28" y="1005"/>
                  </a:lnTo>
                  <a:lnTo>
                    <a:pt x="44" y="1014"/>
                  </a:lnTo>
                  <a:lnTo>
                    <a:pt x="61" y="1005"/>
                  </a:lnTo>
                  <a:lnTo>
                    <a:pt x="75" y="997"/>
                  </a:lnTo>
                  <a:lnTo>
                    <a:pt x="91" y="1000"/>
                  </a:lnTo>
                  <a:lnTo>
                    <a:pt x="115" y="1015"/>
                  </a:lnTo>
                  <a:lnTo>
                    <a:pt x="139" y="1027"/>
                  </a:lnTo>
                  <a:lnTo>
                    <a:pt x="155" y="1015"/>
                  </a:lnTo>
                  <a:lnTo>
                    <a:pt x="162" y="995"/>
                  </a:lnTo>
                  <a:lnTo>
                    <a:pt x="187" y="978"/>
                  </a:lnTo>
                  <a:lnTo>
                    <a:pt x="204" y="978"/>
                  </a:lnTo>
                  <a:lnTo>
                    <a:pt x="219" y="997"/>
                  </a:lnTo>
                  <a:lnTo>
                    <a:pt x="230" y="1008"/>
                  </a:lnTo>
                  <a:lnTo>
                    <a:pt x="249" y="1008"/>
                  </a:lnTo>
                  <a:lnTo>
                    <a:pt x="275" y="1011"/>
                  </a:lnTo>
                  <a:lnTo>
                    <a:pt x="291" y="1018"/>
                  </a:lnTo>
                  <a:lnTo>
                    <a:pt x="308" y="1005"/>
                  </a:lnTo>
                  <a:lnTo>
                    <a:pt x="322" y="1005"/>
                  </a:lnTo>
                  <a:lnTo>
                    <a:pt x="336" y="1014"/>
                  </a:lnTo>
                  <a:lnTo>
                    <a:pt x="352" y="1034"/>
                  </a:lnTo>
                  <a:lnTo>
                    <a:pt x="374" y="1037"/>
                  </a:lnTo>
                  <a:lnTo>
                    <a:pt x="398" y="1042"/>
                  </a:lnTo>
                  <a:lnTo>
                    <a:pt x="414" y="1052"/>
                  </a:lnTo>
                  <a:lnTo>
                    <a:pt x="434" y="1058"/>
                  </a:lnTo>
                  <a:lnTo>
                    <a:pt x="451" y="1048"/>
                  </a:lnTo>
                  <a:lnTo>
                    <a:pt x="472" y="1034"/>
                  </a:lnTo>
                  <a:lnTo>
                    <a:pt x="486" y="1031"/>
                  </a:lnTo>
                  <a:lnTo>
                    <a:pt x="503" y="1027"/>
                  </a:lnTo>
                  <a:lnTo>
                    <a:pt x="519" y="1011"/>
                  </a:lnTo>
                  <a:lnTo>
                    <a:pt x="508" y="995"/>
                  </a:lnTo>
                  <a:lnTo>
                    <a:pt x="481" y="978"/>
                  </a:lnTo>
                  <a:lnTo>
                    <a:pt x="472" y="968"/>
                  </a:lnTo>
                  <a:lnTo>
                    <a:pt x="472" y="958"/>
                  </a:lnTo>
                  <a:lnTo>
                    <a:pt x="484" y="947"/>
                  </a:lnTo>
                  <a:lnTo>
                    <a:pt x="503" y="944"/>
                  </a:lnTo>
                  <a:lnTo>
                    <a:pt x="522" y="934"/>
                  </a:lnTo>
                  <a:lnTo>
                    <a:pt x="552" y="897"/>
                  </a:lnTo>
                  <a:lnTo>
                    <a:pt x="566" y="879"/>
                  </a:lnTo>
                  <a:lnTo>
                    <a:pt x="571" y="847"/>
                  </a:lnTo>
                  <a:lnTo>
                    <a:pt x="571" y="829"/>
                  </a:lnTo>
                  <a:lnTo>
                    <a:pt x="557" y="816"/>
                  </a:lnTo>
                  <a:lnTo>
                    <a:pt x="538" y="801"/>
                  </a:lnTo>
                  <a:lnTo>
                    <a:pt x="522" y="792"/>
                  </a:lnTo>
                  <a:lnTo>
                    <a:pt x="503" y="795"/>
                  </a:lnTo>
                  <a:lnTo>
                    <a:pt x="491" y="802"/>
                  </a:lnTo>
                  <a:lnTo>
                    <a:pt x="486" y="789"/>
                  </a:lnTo>
                  <a:lnTo>
                    <a:pt x="496" y="768"/>
                  </a:lnTo>
                  <a:lnTo>
                    <a:pt x="500" y="752"/>
                  </a:lnTo>
                  <a:lnTo>
                    <a:pt x="498" y="724"/>
                  </a:lnTo>
                  <a:lnTo>
                    <a:pt x="496" y="684"/>
                  </a:lnTo>
                  <a:lnTo>
                    <a:pt x="503" y="653"/>
                  </a:lnTo>
                  <a:lnTo>
                    <a:pt x="498" y="634"/>
                  </a:lnTo>
                  <a:lnTo>
                    <a:pt x="486" y="613"/>
                  </a:lnTo>
                  <a:lnTo>
                    <a:pt x="458" y="557"/>
                  </a:lnTo>
                  <a:lnTo>
                    <a:pt x="447" y="532"/>
                  </a:lnTo>
                  <a:lnTo>
                    <a:pt x="442" y="500"/>
                  </a:lnTo>
                  <a:lnTo>
                    <a:pt x="439" y="482"/>
                  </a:lnTo>
                  <a:lnTo>
                    <a:pt x="447" y="451"/>
                  </a:lnTo>
                  <a:lnTo>
                    <a:pt x="447" y="426"/>
                  </a:lnTo>
                  <a:lnTo>
                    <a:pt x="442" y="399"/>
                  </a:lnTo>
                  <a:lnTo>
                    <a:pt x="431" y="387"/>
                  </a:lnTo>
                  <a:lnTo>
                    <a:pt x="409" y="362"/>
                  </a:lnTo>
                  <a:lnTo>
                    <a:pt x="393" y="355"/>
                  </a:lnTo>
                  <a:lnTo>
                    <a:pt x="376" y="352"/>
                  </a:lnTo>
                  <a:lnTo>
                    <a:pt x="365" y="350"/>
                  </a:lnTo>
                  <a:lnTo>
                    <a:pt x="365" y="337"/>
                  </a:lnTo>
                  <a:lnTo>
                    <a:pt x="371" y="327"/>
                  </a:lnTo>
                  <a:lnTo>
                    <a:pt x="390" y="324"/>
                  </a:lnTo>
                  <a:lnTo>
                    <a:pt x="407" y="331"/>
                  </a:lnTo>
                  <a:lnTo>
                    <a:pt x="418" y="334"/>
                  </a:lnTo>
                  <a:lnTo>
                    <a:pt x="426" y="321"/>
                  </a:lnTo>
                  <a:lnTo>
                    <a:pt x="423" y="306"/>
                  </a:lnTo>
                  <a:lnTo>
                    <a:pt x="491" y="234"/>
                  </a:lnTo>
                  <a:lnTo>
                    <a:pt x="503" y="219"/>
                  </a:lnTo>
                  <a:lnTo>
                    <a:pt x="503" y="186"/>
                  </a:lnTo>
                  <a:lnTo>
                    <a:pt x="486" y="170"/>
                  </a:lnTo>
                  <a:lnTo>
                    <a:pt x="467" y="168"/>
                  </a:lnTo>
                  <a:lnTo>
                    <a:pt x="451" y="139"/>
                  </a:lnTo>
                  <a:lnTo>
                    <a:pt x="418" y="139"/>
                  </a:lnTo>
                  <a:lnTo>
                    <a:pt x="418" y="139"/>
                  </a:lnTo>
                  <a:lnTo>
                    <a:pt x="388" y="145"/>
                  </a:lnTo>
                  <a:lnTo>
                    <a:pt x="381" y="142"/>
                  </a:lnTo>
                  <a:lnTo>
                    <a:pt x="374" y="129"/>
                  </a:lnTo>
                  <a:lnTo>
                    <a:pt x="388" y="118"/>
                  </a:lnTo>
                  <a:lnTo>
                    <a:pt x="401" y="102"/>
                  </a:lnTo>
                  <a:lnTo>
                    <a:pt x="431" y="74"/>
                  </a:lnTo>
                  <a:lnTo>
                    <a:pt x="453" y="71"/>
                  </a:lnTo>
                  <a:lnTo>
                    <a:pt x="475" y="52"/>
                  </a:lnTo>
                  <a:lnTo>
                    <a:pt x="496" y="34"/>
                  </a:lnTo>
                  <a:lnTo>
                    <a:pt x="448" y="21"/>
                  </a:lnTo>
                  <a:lnTo>
                    <a:pt x="428" y="18"/>
                  </a:lnTo>
                  <a:lnTo>
                    <a:pt x="404" y="15"/>
                  </a:lnTo>
                  <a:lnTo>
                    <a:pt x="376" y="0"/>
                  </a:lnTo>
                  <a:lnTo>
                    <a:pt x="351" y="31"/>
                  </a:lnTo>
                  <a:lnTo>
                    <a:pt x="352" y="47"/>
                  </a:lnTo>
                  <a:lnTo>
                    <a:pt x="338" y="52"/>
                  </a:lnTo>
                  <a:lnTo>
                    <a:pt x="315" y="68"/>
                  </a:lnTo>
                  <a:lnTo>
                    <a:pt x="294" y="77"/>
                  </a:lnTo>
                  <a:lnTo>
                    <a:pt x="294" y="99"/>
                  </a:lnTo>
                  <a:lnTo>
                    <a:pt x="291" y="118"/>
                  </a:lnTo>
                  <a:lnTo>
                    <a:pt x="272" y="148"/>
                  </a:lnTo>
                  <a:lnTo>
                    <a:pt x="242" y="185"/>
                  </a:lnTo>
                  <a:lnTo>
                    <a:pt x="230" y="203"/>
                  </a:lnTo>
                  <a:lnTo>
                    <a:pt x="237" y="216"/>
                  </a:lnTo>
                  <a:lnTo>
                    <a:pt x="268" y="213"/>
                  </a:lnTo>
                  <a:lnTo>
                    <a:pt x="270" y="220"/>
                  </a:lnTo>
                  <a:lnTo>
                    <a:pt x="270" y="234"/>
                  </a:lnTo>
                  <a:lnTo>
                    <a:pt x="228" y="294"/>
                  </a:lnTo>
                  <a:lnTo>
                    <a:pt x="214" y="327"/>
                  </a:lnTo>
                  <a:lnTo>
                    <a:pt x="204" y="355"/>
                  </a:lnTo>
                  <a:lnTo>
                    <a:pt x="214" y="368"/>
                  </a:lnTo>
                  <a:lnTo>
                    <a:pt x="233" y="343"/>
                  </a:lnTo>
                  <a:lnTo>
                    <a:pt x="252" y="313"/>
                  </a:lnTo>
                  <a:lnTo>
                    <a:pt x="266" y="321"/>
                  </a:lnTo>
                  <a:lnTo>
                    <a:pt x="268" y="365"/>
                  </a:lnTo>
                  <a:lnTo>
                    <a:pt x="270" y="395"/>
                  </a:lnTo>
                  <a:lnTo>
                    <a:pt x="244" y="411"/>
                  </a:lnTo>
                  <a:lnTo>
                    <a:pt x="228" y="429"/>
                  </a:lnTo>
                  <a:lnTo>
                    <a:pt x="223" y="445"/>
                  </a:lnTo>
                  <a:lnTo>
                    <a:pt x="256" y="476"/>
                  </a:lnTo>
                  <a:lnTo>
                    <a:pt x="285" y="471"/>
                  </a:lnTo>
                  <a:lnTo>
                    <a:pt x="291" y="489"/>
                  </a:lnTo>
                  <a:lnTo>
                    <a:pt x="322" y="468"/>
                  </a:lnTo>
                  <a:lnTo>
                    <a:pt x="319" y="485"/>
                  </a:lnTo>
                  <a:lnTo>
                    <a:pt x="294" y="519"/>
                  </a:lnTo>
                  <a:lnTo>
                    <a:pt x="305" y="556"/>
                  </a:lnTo>
                  <a:lnTo>
                    <a:pt x="308" y="576"/>
                  </a:lnTo>
                  <a:lnTo>
                    <a:pt x="334" y="579"/>
                  </a:lnTo>
                  <a:lnTo>
                    <a:pt x="336" y="597"/>
                  </a:lnTo>
                  <a:lnTo>
                    <a:pt x="305" y="637"/>
                  </a:lnTo>
                  <a:lnTo>
                    <a:pt x="294" y="631"/>
                  </a:lnTo>
                  <a:lnTo>
                    <a:pt x="282" y="644"/>
                  </a:lnTo>
                  <a:lnTo>
                    <a:pt x="280" y="665"/>
                  </a:lnTo>
                  <a:lnTo>
                    <a:pt x="249" y="647"/>
                  </a:lnTo>
                  <a:lnTo>
                    <a:pt x="171" y="67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8" name="Freeform 569"/>
            <p:cNvSpPr>
              <a:spLocks noChangeAspect="1"/>
            </p:cNvSpPr>
            <p:nvPr/>
          </p:nvSpPr>
          <p:spPr bwMode="auto">
            <a:xfrm>
              <a:off x="1406995" y="3301760"/>
              <a:ext cx="67683" cy="42469"/>
            </a:xfrm>
            <a:custGeom>
              <a:avLst/>
              <a:gdLst>
                <a:gd name="T0" fmla="*/ 24 w 47"/>
                <a:gd name="T1" fmla="*/ 0 h 39"/>
                <a:gd name="T2" fmla="*/ 45 w 47"/>
                <a:gd name="T3" fmla="*/ 3 h 39"/>
                <a:gd name="T4" fmla="*/ 47 w 47"/>
                <a:gd name="T5" fmla="*/ 17 h 39"/>
                <a:gd name="T6" fmla="*/ 26 w 47"/>
                <a:gd name="T7" fmla="*/ 33 h 39"/>
                <a:gd name="T8" fmla="*/ 3 w 47"/>
                <a:gd name="T9" fmla="*/ 39 h 39"/>
                <a:gd name="T10" fmla="*/ 0 w 47"/>
                <a:gd name="T11" fmla="*/ 22 h 39"/>
                <a:gd name="T12" fmla="*/ 24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4" y="0"/>
                  </a:moveTo>
                  <a:lnTo>
                    <a:pt x="45" y="3"/>
                  </a:lnTo>
                  <a:lnTo>
                    <a:pt x="47" y="17"/>
                  </a:lnTo>
                  <a:lnTo>
                    <a:pt x="26" y="33"/>
                  </a:lnTo>
                  <a:lnTo>
                    <a:pt x="3" y="39"/>
                  </a:lnTo>
                  <a:lnTo>
                    <a:pt x="0" y="22"/>
                  </a:lnTo>
                  <a:lnTo>
                    <a:pt x="24"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9" name="Freeform 570"/>
            <p:cNvSpPr>
              <a:spLocks noChangeAspect="1"/>
            </p:cNvSpPr>
            <p:nvPr/>
          </p:nvSpPr>
          <p:spPr bwMode="auto">
            <a:xfrm>
              <a:off x="1358962" y="3006406"/>
              <a:ext cx="67683" cy="42469"/>
            </a:xfrm>
            <a:custGeom>
              <a:avLst/>
              <a:gdLst>
                <a:gd name="T0" fmla="*/ 40 w 47"/>
                <a:gd name="T1" fmla="*/ 0 h 39"/>
                <a:gd name="T2" fmla="*/ 47 w 47"/>
                <a:gd name="T3" fmla="*/ 19 h 39"/>
                <a:gd name="T4" fmla="*/ 25 w 47"/>
                <a:gd name="T5" fmla="*/ 33 h 39"/>
                <a:gd name="T6" fmla="*/ 6 w 47"/>
                <a:gd name="T7" fmla="*/ 39 h 39"/>
                <a:gd name="T8" fmla="*/ 0 w 47"/>
                <a:gd name="T9" fmla="*/ 20 h 39"/>
                <a:gd name="T10" fmla="*/ 9 w 47"/>
                <a:gd name="T11" fmla="*/ 7 h 39"/>
                <a:gd name="T12" fmla="*/ 40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40" y="0"/>
                  </a:moveTo>
                  <a:lnTo>
                    <a:pt x="47" y="19"/>
                  </a:lnTo>
                  <a:lnTo>
                    <a:pt x="25" y="33"/>
                  </a:lnTo>
                  <a:lnTo>
                    <a:pt x="6" y="39"/>
                  </a:lnTo>
                  <a:lnTo>
                    <a:pt x="0" y="20"/>
                  </a:lnTo>
                  <a:lnTo>
                    <a:pt x="9" y="7"/>
                  </a:lnTo>
                  <a:lnTo>
                    <a:pt x="4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0" name="Freeform 571"/>
            <p:cNvSpPr>
              <a:spLocks noChangeAspect="1"/>
            </p:cNvSpPr>
            <p:nvPr/>
          </p:nvSpPr>
          <p:spPr bwMode="auto">
            <a:xfrm>
              <a:off x="1459394" y="2772825"/>
              <a:ext cx="37116" cy="88799"/>
            </a:xfrm>
            <a:custGeom>
              <a:avLst/>
              <a:gdLst>
                <a:gd name="T0" fmla="*/ 11 w 25"/>
                <a:gd name="T1" fmla="*/ 74 h 74"/>
                <a:gd name="T2" fmla="*/ 25 w 25"/>
                <a:gd name="T3" fmla="*/ 55 h 74"/>
                <a:gd name="T4" fmla="*/ 20 w 25"/>
                <a:gd name="T5" fmla="*/ 31 h 74"/>
                <a:gd name="T6" fmla="*/ 16 w 25"/>
                <a:gd name="T7" fmla="*/ 18 h 74"/>
                <a:gd name="T8" fmla="*/ 11 w 25"/>
                <a:gd name="T9" fmla="*/ 0 h 74"/>
                <a:gd name="T10" fmla="*/ 0 w 25"/>
                <a:gd name="T11" fmla="*/ 8 h 74"/>
                <a:gd name="T12" fmla="*/ 6 w 25"/>
                <a:gd name="T13" fmla="*/ 34 h 74"/>
                <a:gd name="T14" fmla="*/ 11 w 25"/>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4">
                  <a:moveTo>
                    <a:pt x="11" y="74"/>
                  </a:moveTo>
                  <a:lnTo>
                    <a:pt x="25" y="55"/>
                  </a:lnTo>
                  <a:lnTo>
                    <a:pt x="20" y="31"/>
                  </a:lnTo>
                  <a:lnTo>
                    <a:pt x="16" y="18"/>
                  </a:lnTo>
                  <a:lnTo>
                    <a:pt x="11" y="0"/>
                  </a:lnTo>
                  <a:lnTo>
                    <a:pt x="0" y="8"/>
                  </a:lnTo>
                  <a:lnTo>
                    <a:pt x="6" y="34"/>
                  </a:lnTo>
                  <a:lnTo>
                    <a:pt x="11" y="7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1" name="Freeform 572"/>
            <p:cNvSpPr>
              <a:spLocks noChangeAspect="1"/>
            </p:cNvSpPr>
            <p:nvPr/>
          </p:nvSpPr>
          <p:spPr bwMode="auto">
            <a:xfrm>
              <a:off x="1452844" y="2672443"/>
              <a:ext cx="96066" cy="63704"/>
            </a:xfrm>
            <a:custGeom>
              <a:avLst/>
              <a:gdLst>
                <a:gd name="T0" fmla="*/ 56 w 63"/>
                <a:gd name="T1" fmla="*/ 0 h 53"/>
                <a:gd name="T2" fmla="*/ 63 w 63"/>
                <a:gd name="T3" fmla="*/ 13 h 53"/>
                <a:gd name="T4" fmla="*/ 39 w 63"/>
                <a:gd name="T5" fmla="*/ 28 h 53"/>
                <a:gd name="T6" fmla="*/ 16 w 63"/>
                <a:gd name="T7" fmla="*/ 53 h 53"/>
                <a:gd name="T8" fmla="*/ 2 w 63"/>
                <a:gd name="T9" fmla="*/ 47 h 53"/>
                <a:gd name="T10" fmla="*/ 0 w 63"/>
                <a:gd name="T11" fmla="*/ 18 h 53"/>
                <a:gd name="T12" fmla="*/ 0 w 63"/>
                <a:gd name="T13" fmla="*/ 8 h 53"/>
                <a:gd name="T14" fmla="*/ 38 w 63"/>
                <a:gd name="T15" fmla="*/ 0 h 53"/>
                <a:gd name="T16" fmla="*/ 56 w 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3">
                  <a:moveTo>
                    <a:pt x="56" y="0"/>
                  </a:moveTo>
                  <a:lnTo>
                    <a:pt x="63" y="13"/>
                  </a:lnTo>
                  <a:lnTo>
                    <a:pt x="39" y="28"/>
                  </a:lnTo>
                  <a:lnTo>
                    <a:pt x="16" y="53"/>
                  </a:lnTo>
                  <a:lnTo>
                    <a:pt x="2" y="47"/>
                  </a:lnTo>
                  <a:lnTo>
                    <a:pt x="0" y="18"/>
                  </a:lnTo>
                  <a:lnTo>
                    <a:pt x="0" y="8"/>
                  </a:lnTo>
                  <a:lnTo>
                    <a:pt x="38" y="0"/>
                  </a:lnTo>
                  <a:lnTo>
                    <a:pt x="5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6" name="PL"/>
          <p:cNvSpPr>
            <a:spLocks noChangeAspect="1"/>
          </p:cNvSpPr>
          <p:nvPr/>
        </p:nvSpPr>
        <p:spPr bwMode="auto">
          <a:xfrm>
            <a:off x="6248400" y="3259138"/>
            <a:ext cx="1028700" cy="876300"/>
          </a:xfrm>
          <a:custGeom>
            <a:avLst/>
            <a:gdLst>
              <a:gd name="T0" fmla="*/ 14 w 697"/>
              <a:gd name="T1" fmla="*/ 185 h 735"/>
              <a:gd name="T2" fmla="*/ 0 w 697"/>
              <a:gd name="T3" fmla="*/ 235 h 735"/>
              <a:gd name="T4" fmla="*/ 31 w 697"/>
              <a:gd name="T5" fmla="*/ 282 h 735"/>
              <a:gd name="T6" fmla="*/ 25 w 697"/>
              <a:gd name="T7" fmla="*/ 322 h 735"/>
              <a:gd name="T8" fmla="*/ 38 w 697"/>
              <a:gd name="T9" fmla="*/ 356 h 735"/>
              <a:gd name="T10" fmla="*/ 47 w 697"/>
              <a:gd name="T11" fmla="*/ 423 h 735"/>
              <a:gd name="T12" fmla="*/ 50 w 697"/>
              <a:gd name="T13" fmla="*/ 448 h 735"/>
              <a:gd name="T14" fmla="*/ 42 w 697"/>
              <a:gd name="T15" fmla="*/ 472 h 735"/>
              <a:gd name="T16" fmla="*/ 61 w 697"/>
              <a:gd name="T17" fmla="*/ 485 h 735"/>
              <a:gd name="T18" fmla="*/ 80 w 697"/>
              <a:gd name="T19" fmla="*/ 501 h 735"/>
              <a:gd name="T20" fmla="*/ 99 w 697"/>
              <a:gd name="T21" fmla="*/ 541 h 735"/>
              <a:gd name="T22" fmla="*/ 119 w 697"/>
              <a:gd name="T23" fmla="*/ 568 h 735"/>
              <a:gd name="T24" fmla="*/ 160 w 697"/>
              <a:gd name="T25" fmla="*/ 580 h 735"/>
              <a:gd name="T26" fmla="*/ 188 w 697"/>
              <a:gd name="T27" fmla="*/ 578 h 735"/>
              <a:gd name="T28" fmla="*/ 228 w 697"/>
              <a:gd name="T29" fmla="*/ 620 h 735"/>
              <a:gd name="T30" fmla="*/ 276 w 697"/>
              <a:gd name="T31" fmla="*/ 643 h 735"/>
              <a:gd name="T32" fmla="*/ 312 w 697"/>
              <a:gd name="T33" fmla="*/ 636 h 735"/>
              <a:gd name="T34" fmla="*/ 350 w 697"/>
              <a:gd name="T35" fmla="*/ 664 h 735"/>
              <a:gd name="T36" fmla="*/ 369 w 697"/>
              <a:gd name="T37" fmla="*/ 667 h 735"/>
              <a:gd name="T38" fmla="*/ 397 w 697"/>
              <a:gd name="T39" fmla="*/ 680 h 735"/>
              <a:gd name="T40" fmla="*/ 429 w 697"/>
              <a:gd name="T41" fmla="*/ 707 h 735"/>
              <a:gd name="T42" fmla="*/ 457 w 697"/>
              <a:gd name="T43" fmla="*/ 711 h 735"/>
              <a:gd name="T44" fmla="*/ 479 w 697"/>
              <a:gd name="T45" fmla="*/ 696 h 735"/>
              <a:gd name="T46" fmla="*/ 609 w 697"/>
              <a:gd name="T47" fmla="*/ 735 h 735"/>
              <a:gd name="T48" fmla="*/ 614 w 697"/>
              <a:gd name="T49" fmla="*/ 696 h 735"/>
              <a:gd name="T50" fmla="*/ 678 w 697"/>
              <a:gd name="T51" fmla="*/ 580 h 735"/>
              <a:gd name="T52" fmla="*/ 697 w 697"/>
              <a:gd name="T53" fmla="*/ 532 h 735"/>
              <a:gd name="T54" fmla="*/ 673 w 697"/>
              <a:gd name="T55" fmla="*/ 461 h 735"/>
              <a:gd name="T56" fmla="*/ 638 w 697"/>
              <a:gd name="T57" fmla="*/ 408 h 735"/>
              <a:gd name="T58" fmla="*/ 638 w 697"/>
              <a:gd name="T59" fmla="*/ 361 h 735"/>
              <a:gd name="T60" fmla="*/ 636 w 697"/>
              <a:gd name="T61" fmla="*/ 322 h 735"/>
              <a:gd name="T62" fmla="*/ 636 w 697"/>
              <a:gd name="T63" fmla="*/ 296 h 735"/>
              <a:gd name="T64" fmla="*/ 661 w 697"/>
              <a:gd name="T65" fmla="*/ 259 h 735"/>
              <a:gd name="T66" fmla="*/ 650 w 697"/>
              <a:gd name="T67" fmla="*/ 182 h 735"/>
              <a:gd name="T68" fmla="*/ 642 w 697"/>
              <a:gd name="T69" fmla="*/ 129 h 735"/>
              <a:gd name="T70" fmla="*/ 609 w 697"/>
              <a:gd name="T71" fmla="*/ 84 h 735"/>
              <a:gd name="T72" fmla="*/ 528 w 697"/>
              <a:gd name="T73" fmla="*/ 80 h 735"/>
              <a:gd name="T74" fmla="*/ 435 w 697"/>
              <a:gd name="T75" fmla="*/ 71 h 735"/>
              <a:gd name="T76" fmla="*/ 385 w 697"/>
              <a:gd name="T77" fmla="*/ 56 h 735"/>
              <a:gd name="T78" fmla="*/ 355 w 697"/>
              <a:gd name="T79" fmla="*/ 74 h 735"/>
              <a:gd name="T80" fmla="*/ 326 w 697"/>
              <a:gd name="T81" fmla="*/ 53 h 735"/>
              <a:gd name="T82" fmla="*/ 303 w 697"/>
              <a:gd name="T83" fmla="*/ 46 h 735"/>
              <a:gd name="T84" fmla="*/ 276 w 697"/>
              <a:gd name="T85" fmla="*/ 3 h 735"/>
              <a:gd name="T86" fmla="*/ 232 w 697"/>
              <a:gd name="T87" fmla="*/ 9 h 735"/>
              <a:gd name="T88" fmla="*/ 190 w 697"/>
              <a:gd name="T89" fmla="*/ 28 h 735"/>
              <a:gd name="T90" fmla="*/ 124 w 697"/>
              <a:gd name="T91" fmla="*/ 61 h 735"/>
              <a:gd name="T92" fmla="*/ 66 w 697"/>
              <a:gd name="T93" fmla="*/ 90 h 735"/>
              <a:gd name="T94" fmla="*/ 31 w 697"/>
              <a:gd name="T95" fmla="*/ 12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7" h="735">
                <a:moveTo>
                  <a:pt x="17" y="139"/>
                </a:moveTo>
                <a:lnTo>
                  <a:pt x="14" y="185"/>
                </a:lnTo>
                <a:lnTo>
                  <a:pt x="14" y="213"/>
                </a:lnTo>
                <a:lnTo>
                  <a:pt x="0" y="235"/>
                </a:lnTo>
                <a:lnTo>
                  <a:pt x="28" y="272"/>
                </a:lnTo>
                <a:lnTo>
                  <a:pt x="31" y="282"/>
                </a:lnTo>
                <a:lnTo>
                  <a:pt x="24" y="306"/>
                </a:lnTo>
                <a:lnTo>
                  <a:pt x="25" y="322"/>
                </a:lnTo>
                <a:lnTo>
                  <a:pt x="39" y="343"/>
                </a:lnTo>
                <a:lnTo>
                  <a:pt x="38" y="356"/>
                </a:lnTo>
                <a:lnTo>
                  <a:pt x="36" y="395"/>
                </a:lnTo>
                <a:lnTo>
                  <a:pt x="47" y="423"/>
                </a:lnTo>
                <a:lnTo>
                  <a:pt x="56" y="438"/>
                </a:lnTo>
                <a:lnTo>
                  <a:pt x="50" y="448"/>
                </a:lnTo>
                <a:lnTo>
                  <a:pt x="50" y="464"/>
                </a:lnTo>
                <a:lnTo>
                  <a:pt x="42" y="472"/>
                </a:lnTo>
                <a:lnTo>
                  <a:pt x="42" y="482"/>
                </a:lnTo>
                <a:lnTo>
                  <a:pt x="61" y="485"/>
                </a:lnTo>
                <a:lnTo>
                  <a:pt x="75" y="491"/>
                </a:lnTo>
                <a:lnTo>
                  <a:pt x="80" y="501"/>
                </a:lnTo>
                <a:lnTo>
                  <a:pt x="80" y="519"/>
                </a:lnTo>
                <a:lnTo>
                  <a:pt x="99" y="541"/>
                </a:lnTo>
                <a:lnTo>
                  <a:pt x="115" y="549"/>
                </a:lnTo>
                <a:lnTo>
                  <a:pt x="119" y="568"/>
                </a:lnTo>
                <a:lnTo>
                  <a:pt x="141" y="599"/>
                </a:lnTo>
                <a:lnTo>
                  <a:pt x="160" y="580"/>
                </a:lnTo>
                <a:lnTo>
                  <a:pt x="176" y="575"/>
                </a:lnTo>
                <a:lnTo>
                  <a:pt x="188" y="578"/>
                </a:lnTo>
                <a:lnTo>
                  <a:pt x="220" y="617"/>
                </a:lnTo>
                <a:lnTo>
                  <a:pt x="228" y="620"/>
                </a:lnTo>
                <a:lnTo>
                  <a:pt x="267" y="640"/>
                </a:lnTo>
                <a:lnTo>
                  <a:pt x="276" y="643"/>
                </a:lnTo>
                <a:lnTo>
                  <a:pt x="293" y="639"/>
                </a:lnTo>
                <a:lnTo>
                  <a:pt x="312" y="636"/>
                </a:lnTo>
                <a:lnTo>
                  <a:pt x="328" y="643"/>
                </a:lnTo>
                <a:lnTo>
                  <a:pt x="350" y="664"/>
                </a:lnTo>
                <a:lnTo>
                  <a:pt x="359" y="676"/>
                </a:lnTo>
                <a:lnTo>
                  <a:pt x="369" y="667"/>
                </a:lnTo>
                <a:lnTo>
                  <a:pt x="380" y="664"/>
                </a:lnTo>
                <a:lnTo>
                  <a:pt x="397" y="680"/>
                </a:lnTo>
                <a:lnTo>
                  <a:pt x="416" y="696"/>
                </a:lnTo>
                <a:lnTo>
                  <a:pt x="429" y="707"/>
                </a:lnTo>
                <a:lnTo>
                  <a:pt x="448" y="714"/>
                </a:lnTo>
                <a:lnTo>
                  <a:pt x="457" y="711"/>
                </a:lnTo>
                <a:lnTo>
                  <a:pt x="466" y="701"/>
                </a:lnTo>
                <a:lnTo>
                  <a:pt x="479" y="696"/>
                </a:lnTo>
                <a:lnTo>
                  <a:pt x="502" y="704"/>
                </a:lnTo>
                <a:lnTo>
                  <a:pt x="609" y="735"/>
                </a:lnTo>
                <a:lnTo>
                  <a:pt x="626" y="720"/>
                </a:lnTo>
                <a:lnTo>
                  <a:pt x="614" y="696"/>
                </a:lnTo>
                <a:lnTo>
                  <a:pt x="603" y="657"/>
                </a:lnTo>
                <a:lnTo>
                  <a:pt x="678" y="580"/>
                </a:lnTo>
                <a:lnTo>
                  <a:pt x="692" y="562"/>
                </a:lnTo>
                <a:lnTo>
                  <a:pt x="697" y="532"/>
                </a:lnTo>
                <a:lnTo>
                  <a:pt x="685" y="494"/>
                </a:lnTo>
                <a:lnTo>
                  <a:pt x="673" y="461"/>
                </a:lnTo>
                <a:lnTo>
                  <a:pt x="652" y="424"/>
                </a:lnTo>
                <a:lnTo>
                  <a:pt x="638" y="408"/>
                </a:lnTo>
                <a:lnTo>
                  <a:pt x="636" y="386"/>
                </a:lnTo>
                <a:lnTo>
                  <a:pt x="638" y="361"/>
                </a:lnTo>
                <a:lnTo>
                  <a:pt x="645" y="337"/>
                </a:lnTo>
                <a:lnTo>
                  <a:pt x="636" y="322"/>
                </a:lnTo>
                <a:lnTo>
                  <a:pt x="624" y="312"/>
                </a:lnTo>
                <a:lnTo>
                  <a:pt x="636" y="296"/>
                </a:lnTo>
                <a:lnTo>
                  <a:pt x="655" y="266"/>
                </a:lnTo>
                <a:lnTo>
                  <a:pt x="661" y="259"/>
                </a:lnTo>
                <a:lnTo>
                  <a:pt x="657" y="208"/>
                </a:lnTo>
                <a:lnTo>
                  <a:pt x="650" y="182"/>
                </a:lnTo>
                <a:lnTo>
                  <a:pt x="642" y="155"/>
                </a:lnTo>
                <a:lnTo>
                  <a:pt x="642" y="129"/>
                </a:lnTo>
                <a:lnTo>
                  <a:pt x="628" y="105"/>
                </a:lnTo>
                <a:lnTo>
                  <a:pt x="609" y="84"/>
                </a:lnTo>
                <a:lnTo>
                  <a:pt x="589" y="81"/>
                </a:lnTo>
                <a:lnTo>
                  <a:pt x="528" y="80"/>
                </a:lnTo>
                <a:lnTo>
                  <a:pt x="495" y="77"/>
                </a:lnTo>
                <a:lnTo>
                  <a:pt x="435" y="71"/>
                </a:lnTo>
                <a:lnTo>
                  <a:pt x="410" y="58"/>
                </a:lnTo>
                <a:lnTo>
                  <a:pt x="385" y="56"/>
                </a:lnTo>
                <a:lnTo>
                  <a:pt x="371" y="61"/>
                </a:lnTo>
                <a:lnTo>
                  <a:pt x="355" y="74"/>
                </a:lnTo>
                <a:lnTo>
                  <a:pt x="340" y="68"/>
                </a:lnTo>
                <a:lnTo>
                  <a:pt x="326" y="53"/>
                </a:lnTo>
                <a:lnTo>
                  <a:pt x="309" y="53"/>
                </a:lnTo>
                <a:lnTo>
                  <a:pt x="303" y="46"/>
                </a:lnTo>
                <a:lnTo>
                  <a:pt x="298" y="21"/>
                </a:lnTo>
                <a:lnTo>
                  <a:pt x="276" y="3"/>
                </a:lnTo>
                <a:lnTo>
                  <a:pt x="261" y="0"/>
                </a:lnTo>
                <a:lnTo>
                  <a:pt x="232" y="9"/>
                </a:lnTo>
                <a:lnTo>
                  <a:pt x="209" y="16"/>
                </a:lnTo>
                <a:lnTo>
                  <a:pt x="190" y="28"/>
                </a:lnTo>
                <a:lnTo>
                  <a:pt x="157" y="50"/>
                </a:lnTo>
                <a:lnTo>
                  <a:pt x="124" y="61"/>
                </a:lnTo>
                <a:lnTo>
                  <a:pt x="96" y="74"/>
                </a:lnTo>
                <a:lnTo>
                  <a:pt x="66" y="90"/>
                </a:lnTo>
                <a:lnTo>
                  <a:pt x="50" y="111"/>
                </a:lnTo>
                <a:lnTo>
                  <a:pt x="31" y="129"/>
                </a:lnTo>
                <a:lnTo>
                  <a:pt x="17" y="13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7" name="FI"/>
          <p:cNvGrpSpPr>
            <a:grpSpLocks/>
          </p:cNvGrpSpPr>
          <p:nvPr/>
        </p:nvGrpSpPr>
        <p:grpSpPr bwMode="auto">
          <a:xfrm>
            <a:off x="6795831" y="990600"/>
            <a:ext cx="873127" cy="1531932"/>
            <a:chOff x="3757282" y="1308775"/>
            <a:chExt cx="401" cy="793"/>
          </a:xfrm>
          <a:solidFill>
            <a:srgbClr val="FAFAFA"/>
          </a:solidFill>
          <a:effectLst/>
        </p:grpSpPr>
        <p:sp>
          <p:nvSpPr>
            <p:cNvPr id="95" name="Freeform 566"/>
            <p:cNvSpPr>
              <a:spLocks noChangeAspect="1"/>
            </p:cNvSpPr>
            <p:nvPr/>
          </p:nvSpPr>
          <p:spPr bwMode="auto">
            <a:xfrm>
              <a:off x="3757282" y="1309520"/>
              <a:ext cx="24" cy="22"/>
            </a:xfrm>
            <a:custGeom>
              <a:avLst/>
              <a:gdLst>
                <a:gd name="T0" fmla="*/ 30 w 35"/>
                <a:gd name="T1" fmla="*/ 0 h 37"/>
                <a:gd name="T2" fmla="*/ 16 w 35"/>
                <a:gd name="T3" fmla="*/ 9 h 37"/>
                <a:gd name="T4" fmla="*/ 0 w 35"/>
                <a:gd name="T5" fmla="*/ 24 h 37"/>
                <a:gd name="T6" fmla="*/ 2 w 35"/>
                <a:gd name="T7" fmla="*/ 37 h 37"/>
                <a:gd name="T8" fmla="*/ 11 w 35"/>
                <a:gd name="T9" fmla="*/ 37 h 37"/>
                <a:gd name="T10" fmla="*/ 35 w 35"/>
                <a:gd name="T11" fmla="*/ 19 h 37"/>
                <a:gd name="T12" fmla="*/ 30 w 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30" y="0"/>
                  </a:moveTo>
                  <a:lnTo>
                    <a:pt x="16" y="9"/>
                  </a:lnTo>
                  <a:lnTo>
                    <a:pt x="0" y="24"/>
                  </a:lnTo>
                  <a:lnTo>
                    <a:pt x="2" y="37"/>
                  </a:lnTo>
                  <a:lnTo>
                    <a:pt x="11" y="37"/>
                  </a:lnTo>
                  <a:lnTo>
                    <a:pt x="35" y="19"/>
                  </a:lnTo>
                  <a:lnTo>
                    <a:pt x="3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6" name="Freeform 567"/>
            <p:cNvSpPr>
              <a:spLocks noChangeAspect="1"/>
            </p:cNvSpPr>
            <p:nvPr/>
          </p:nvSpPr>
          <p:spPr bwMode="auto">
            <a:xfrm>
              <a:off x="3757306" y="1308775"/>
              <a:ext cx="377" cy="793"/>
            </a:xfrm>
            <a:custGeom>
              <a:avLst/>
              <a:gdLst>
                <a:gd name="T0" fmla="*/ 151 w 553"/>
                <a:gd name="T1" fmla="*/ 1239 h 1281"/>
                <a:gd name="T2" fmla="*/ 118 w 553"/>
                <a:gd name="T3" fmla="*/ 1207 h 1281"/>
                <a:gd name="T4" fmla="*/ 75 w 553"/>
                <a:gd name="T5" fmla="*/ 1197 h 1281"/>
                <a:gd name="T6" fmla="*/ 75 w 553"/>
                <a:gd name="T7" fmla="*/ 1096 h 1281"/>
                <a:gd name="T8" fmla="*/ 56 w 553"/>
                <a:gd name="T9" fmla="*/ 1028 h 1281"/>
                <a:gd name="T10" fmla="*/ 52 w 553"/>
                <a:gd name="T11" fmla="*/ 975 h 1281"/>
                <a:gd name="T12" fmla="*/ 38 w 553"/>
                <a:gd name="T13" fmla="*/ 930 h 1281"/>
                <a:gd name="T14" fmla="*/ 66 w 553"/>
                <a:gd name="T15" fmla="*/ 883 h 1281"/>
                <a:gd name="T16" fmla="*/ 80 w 553"/>
                <a:gd name="T17" fmla="*/ 840 h 1281"/>
                <a:gd name="T18" fmla="*/ 136 w 553"/>
                <a:gd name="T19" fmla="*/ 788 h 1281"/>
                <a:gd name="T20" fmla="*/ 174 w 553"/>
                <a:gd name="T21" fmla="*/ 725 h 1281"/>
                <a:gd name="T22" fmla="*/ 201 w 553"/>
                <a:gd name="T23" fmla="*/ 672 h 1281"/>
                <a:gd name="T24" fmla="*/ 225 w 553"/>
                <a:gd name="T25" fmla="*/ 636 h 1281"/>
                <a:gd name="T26" fmla="*/ 229 w 553"/>
                <a:gd name="T27" fmla="*/ 599 h 1281"/>
                <a:gd name="T28" fmla="*/ 220 w 553"/>
                <a:gd name="T29" fmla="*/ 562 h 1281"/>
                <a:gd name="T30" fmla="*/ 193 w 553"/>
                <a:gd name="T31" fmla="*/ 546 h 1281"/>
                <a:gd name="T32" fmla="*/ 151 w 553"/>
                <a:gd name="T33" fmla="*/ 445 h 1281"/>
                <a:gd name="T34" fmla="*/ 155 w 553"/>
                <a:gd name="T35" fmla="*/ 361 h 1281"/>
                <a:gd name="T36" fmla="*/ 136 w 553"/>
                <a:gd name="T37" fmla="*/ 277 h 1281"/>
                <a:gd name="T38" fmla="*/ 103 w 553"/>
                <a:gd name="T39" fmla="*/ 223 h 1281"/>
                <a:gd name="T40" fmla="*/ 38 w 553"/>
                <a:gd name="T41" fmla="*/ 182 h 1281"/>
                <a:gd name="T42" fmla="*/ 14 w 553"/>
                <a:gd name="T43" fmla="*/ 139 h 1281"/>
                <a:gd name="T44" fmla="*/ 19 w 553"/>
                <a:gd name="T45" fmla="*/ 111 h 1281"/>
                <a:gd name="T46" fmla="*/ 61 w 553"/>
                <a:gd name="T47" fmla="*/ 135 h 1281"/>
                <a:gd name="T48" fmla="*/ 136 w 553"/>
                <a:gd name="T49" fmla="*/ 155 h 1281"/>
                <a:gd name="T50" fmla="*/ 165 w 553"/>
                <a:gd name="T51" fmla="*/ 176 h 1281"/>
                <a:gd name="T52" fmla="*/ 201 w 553"/>
                <a:gd name="T53" fmla="*/ 139 h 1281"/>
                <a:gd name="T54" fmla="*/ 225 w 553"/>
                <a:gd name="T55" fmla="*/ 111 h 1281"/>
                <a:gd name="T56" fmla="*/ 220 w 553"/>
                <a:gd name="T57" fmla="*/ 52 h 1281"/>
                <a:gd name="T58" fmla="*/ 258 w 553"/>
                <a:gd name="T59" fmla="*/ 27 h 1281"/>
                <a:gd name="T60" fmla="*/ 309 w 553"/>
                <a:gd name="T61" fmla="*/ 37 h 1281"/>
                <a:gd name="T62" fmla="*/ 309 w 553"/>
                <a:gd name="T63" fmla="*/ 84 h 1281"/>
                <a:gd name="T64" fmla="*/ 267 w 553"/>
                <a:gd name="T65" fmla="*/ 131 h 1281"/>
                <a:gd name="T66" fmla="*/ 314 w 553"/>
                <a:gd name="T67" fmla="*/ 121 h 1281"/>
                <a:gd name="T68" fmla="*/ 319 w 553"/>
                <a:gd name="T69" fmla="*/ 42 h 1281"/>
                <a:gd name="T70" fmla="*/ 347 w 553"/>
                <a:gd name="T71" fmla="*/ 89 h 1281"/>
                <a:gd name="T72" fmla="*/ 338 w 553"/>
                <a:gd name="T73" fmla="*/ 160 h 1281"/>
                <a:gd name="T74" fmla="*/ 375 w 553"/>
                <a:gd name="T75" fmla="*/ 223 h 1281"/>
                <a:gd name="T76" fmla="*/ 399 w 553"/>
                <a:gd name="T77" fmla="*/ 281 h 1281"/>
                <a:gd name="T78" fmla="*/ 403 w 553"/>
                <a:gd name="T79" fmla="*/ 371 h 1281"/>
                <a:gd name="T80" fmla="*/ 441 w 553"/>
                <a:gd name="T81" fmla="*/ 498 h 1281"/>
                <a:gd name="T82" fmla="*/ 455 w 553"/>
                <a:gd name="T83" fmla="*/ 636 h 1281"/>
                <a:gd name="T84" fmla="*/ 474 w 553"/>
                <a:gd name="T85" fmla="*/ 735 h 1281"/>
                <a:gd name="T86" fmla="*/ 529 w 553"/>
                <a:gd name="T87" fmla="*/ 803 h 1281"/>
                <a:gd name="T88" fmla="*/ 553 w 553"/>
                <a:gd name="T89" fmla="*/ 857 h 1281"/>
                <a:gd name="T90" fmla="*/ 526 w 553"/>
                <a:gd name="T91" fmla="*/ 964 h 1281"/>
                <a:gd name="T92" fmla="*/ 512 w 553"/>
                <a:gd name="T93" fmla="*/ 1022 h 1281"/>
                <a:gd name="T94" fmla="*/ 483 w 553"/>
                <a:gd name="T95" fmla="*/ 1055 h 1281"/>
                <a:gd name="T96" fmla="*/ 413 w 553"/>
                <a:gd name="T97" fmla="*/ 1133 h 1281"/>
                <a:gd name="T98" fmla="*/ 380 w 553"/>
                <a:gd name="T99" fmla="*/ 1170 h 1281"/>
                <a:gd name="T100" fmla="*/ 338 w 553"/>
                <a:gd name="T101" fmla="*/ 1192 h 1281"/>
                <a:gd name="T102" fmla="*/ 272 w 553"/>
                <a:gd name="T103" fmla="*/ 1213 h 1281"/>
                <a:gd name="T104" fmla="*/ 206 w 553"/>
                <a:gd name="T105" fmla="*/ 1244 h 1281"/>
                <a:gd name="T106" fmla="*/ 155 w 553"/>
                <a:gd name="T107" fmla="*/ 1281 h 1281"/>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4828 w 10000"/>
                <a:gd name="connsiteY65" fmla="*/ 1023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792 w 10000"/>
                <a:gd name="connsiteY68" fmla="*/ 574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000" h="10000">
                  <a:moveTo>
                    <a:pt x="2803" y="10000"/>
                  </a:moveTo>
                  <a:cubicBezTo>
                    <a:pt x="2779" y="9891"/>
                    <a:pt x="2755" y="9781"/>
                    <a:pt x="2731" y="9672"/>
                  </a:cubicBezTo>
                  <a:lnTo>
                    <a:pt x="2387" y="9500"/>
                  </a:lnTo>
                  <a:lnTo>
                    <a:pt x="2134" y="9422"/>
                  </a:lnTo>
                  <a:lnTo>
                    <a:pt x="1700" y="9344"/>
                  </a:lnTo>
                  <a:lnTo>
                    <a:pt x="1356" y="9344"/>
                  </a:lnTo>
                  <a:cubicBezTo>
                    <a:pt x="1302" y="9289"/>
                    <a:pt x="1247" y="9235"/>
                    <a:pt x="1193" y="9180"/>
                  </a:cubicBezTo>
                  <a:cubicBezTo>
                    <a:pt x="1247" y="8972"/>
                    <a:pt x="1302" y="8764"/>
                    <a:pt x="1356" y="8556"/>
                  </a:cubicBezTo>
                  <a:cubicBezTo>
                    <a:pt x="1332" y="8434"/>
                    <a:pt x="1308" y="8311"/>
                    <a:pt x="1284" y="8189"/>
                  </a:cubicBezTo>
                  <a:lnTo>
                    <a:pt x="1013" y="8025"/>
                  </a:lnTo>
                  <a:lnTo>
                    <a:pt x="850" y="7947"/>
                  </a:lnTo>
                  <a:lnTo>
                    <a:pt x="940" y="7611"/>
                  </a:lnTo>
                  <a:lnTo>
                    <a:pt x="850" y="7416"/>
                  </a:lnTo>
                  <a:lnTo>
                    <a:pt x="687" y="7260"/>
                  </a:lnTo>
                  <a:lnTo>
                    <a:pt x="940" y="6893"/>
                  </a:lnTo>
                  <a:lnTo>
                    <a:pt x="1193" y="6893"/>
                  </a:lnTo>
                  <a:lnTo>
                    <a:pt x="1356" y="6815"/>
                  </a:lnTo>
                  <a:cubicBezTo>
                    <a:pt x="1386" y="6729"/>
                    <a:pt x="1417" y="6643"/>
                    <a:pt x="1447" y="6557"/>
                  </a:cubicBezTo>
                  <a:lnTo>
                    <a:pt x="1953" y="6362"/>
                  </a:lnTo>
                  <a:lnTo>
                    <a:pt x="2459" y="6151"/>
                  </a:lnTo>
                  <a:cubicBezTo>
                    <a:pt x="2489" y="6068"/>
                    <a:pt x="2520" y="5985"/>
                    <a:pt x="2550" y="5902"/>
                  </a:cubicBezTo>
                  <a:lnTo>
                    <a:pt x="3146" y="5660"/>
                  </a:lnTo>
                  <a:lnTo>
                    <a:pt x="3725" y="5371"/>
                  </a:lnTo>
                  <a:cubicBezTo>
                    <a:pt x="3695" y="5329"/>
                    <a:pt x="3665" y="5288"/>
                    <a:pt x="3635" y="5246"/>
                  </a:cubicBezTo>
                  <a:lnTo>
                    <a:pt x="3635" y="5082"/>
                  </a:lnTo>
                  <a:lnTo>
                    <a:pt x="4069" y="4965"/>
                  </a:lnTo>
                  <a:lnTo>
                    <a:pt x="4231" y="4918"/>
                  </a:lnTo>
                  <a:cubicBezTo>
                    <a:pt x="4201" y="4837"/>
                    <a:pt x="4171" y="4757"/>
                    <a:pt x="4141" y="4676"/>
                  </a:cubicBezTo>
                  <a:lnTo>
                    <a:pt x="4141" y="4426"/>
                  </a:lnTo>
                  <a:lnTo>
                    <a:pt x="3978" y="4387"/>
                  </a:lnTo>
                  <a:lnTo>
                    <a:pt x="3725" y="4426"/>
                  </a:lnTo>
                  <a:lnTo>
                    <a:pt x="3490" y="4262"/>
                  </a:lnTo>
                  <a:cubicBezTo>
                    <a:pt x="3406" y="4111"/>
                    <a:pt x="3321" y="3961"/>
                    <a:pt x="3237" y="3810"/>
                  </a:cubicBezTo>
                  <a:lnTo>
                    <a:pt x="2731" y="3474"/>
                  </a:lnTo>
                  <a:lnTo>
                    <a:pt x="2893" y="3021"/>
                  </a:lnTo>
                  <a:cubicBezTo>
                    <a:pt x="2863" y="2953"/>
                    <a:pt x="2833" y="2886"/>
                    <a:pt x="2803" y="2818"/>
                  </a:cubicBezTo>
                  <a:lnTo>
                    <a:pt x="2206" y="2529"/>
                  </a:lnTo>
                  <a:lnTo>
                    <a:pt x="2459" y="2162"/>
                  </a:lnTo>
                  <a:lnTo>
                    <a:pt x="2297" y="1952"/>
                  </a:lnTo>
                  <a:lnTo>
                    <a:pt x="1863" y="1741"/>
                  </a:lnTo>
                  <a:lnTo>
                    <a:pt x="1609" y="1874"/>
                  </a:lnTo>
                  <a:lnTo>
                    <a:pt x="687" y="1421"/>
                  </a:lnTo>
                  <a:lnTo>
                    <a:pt x="434" y="1249"/>
                  </a:lnTo>
                  <a:cubicBezTo>
                    <a:pt x="374" y="1194"/>
                    <a:pt x="313" y="1140"/>
                    <a:pt x="253" y="1085"/>
                  </a:cubicBezTo>
                  <a:lnTo>
                    <a:pt x="0" y="1023"/>
                  </a:lnTo>
                  <a:lnTo>
                    <a:pt x="344" y="867"/>
                  </a:lnTo>
                  <a:lnTo>
                    <a:pt x="850" y="867"/>
                  </a:lnTo>
                  <a:lnTo>
                    <a:pt x="1103" y="1054"/>
                  </a:lnTo>
                  <a:lnTo>
                    <a:pt x="1790" y="1421"/>
                  </a:lnTo>
                  <a:lnTo>
                    <a:pt x="2459" y="1210"/>
                  </a:lnTo>
                  <a:lnTo>
                    <a:pt x="2893" y="1249"/>
                  </a:lnTo>
                  <a:cubicBezTo>
                    <a:pt x="2923" y="1291"/>
                    <a:pt x="2954" y="1332"/>
                    <a:pt x="2984" y="1374"/>
                  </a:cubicBezTo>
                  <a:lnTo>
                    <a:pt x="3490" y="1421"/>
                  </a:lnTo>
                  <a:cubicBezTo>
                    <a:pt x="3538" y="1309"/>
                    <a:pt x="3587" y="1197"/>
                    <a:pt x="3635" y="1085"/>
                  </a:cubicBezTo>
                  <a:lnTo>
                    <a:pt x="3888" y="984"/>
                  </a:lnTo>
                  <a:lnTo>
                    <a:pt x="4069" y="867"/>
                  </a:lnTo>
                  <a:lnTo>
                    <a:pt x="4069" y="742"/>
                  </a:lnTo>
                  <a:cubicBezTo>
                    <a:pt x="4039" y="630"/>
                    <a:pt x="4008" y="518"/>
                    <a:pt x="3978" y="406"/>
                  </a:cubicBezTo>
                  <a:lnTo>
                    <a:pt x="4412" y="211"/>
                  </a:lnTo>
                  <a:lnTo>
                    <a:pt x="4665" y="211"/>
                  </a:lnTo>
                  <a:lnTo>
                    <a:pt x="5081" y="0"/>
                  </a:lnTo>
                  <a:lnTo>
                    <a:pt x="5588" y="289"/>
                  </a:lnTo>
                  <a:lnTo>
                    <a:pt x="5769" y="406"/>
                  </a:lnTo>
                  <a:lnTo>
                    <a:pt x="5588" y="656"/>
                  </a:lnTo>
                  <a:cubicBezTo>
                    <a:pt x="5583" y="630"/>
                    <a:pt x="5577" y="603"/>
                    <a:pt x="5572" y="577"/>
                  </a:cubicBezTo>
                  <a:lnTo>
                    <a:pt x="5741" y="659"/>
                  </a:lnTo>
                  <a:lnTo>
                    <a:pt x="5604" y="755"/>
                  </a:lnTo>
                  <a:cubicBezTo>
                    <a:pt x="5629" y="818"/>
                    <a:pt x="5653" y="882"/>
                    <a:pt x="5678" y="945"/>
                  </a:cubicBezTo>
                  <a:lnTo>
                    <a:pt x="5792" y="574"/>
                  </a:lnTo>
                  <a:cubicBezTo>
                    <a:pt x="5822" y="452"/>
                    <a:pt x="5739" y="450"/>
                    <a:pt x="5769" y="328"/>
                  </a:cubicBezTo>
                  <a:lnTo>
                    <a:pt x="6022" y="242"/>
                  </a:lnTo>
                  <a:lnTo>
                    <a:pt x="6275" y="695"/>
                  </a:lnTo>
                  <a:lnTo>
                    <a:pt x="6275" y="1085"/>
                  </a:lnTo>
                  <a:cubicBezTo>
                    <a:pt x="6221" y="1140"/>
                    <a:pt x="6166" y="1194"/>
                    <a:pt x="6112" y="1249"/>
                  </a:cubicBezTo>
                  <a:lnTo>
                    <a:pt x="6112" y="1499"/>
                  </a:lnTo>
                  <a:lnTo>
                    <a:pt x="6781" y="1741"/>
                  </a:lnTo>
                  <a:lnTo>
                    <a:pt x="6781" y="1905"/>
                  </a:lnTo>
                  <a:lnTo>
                    <a:pt x="7215" y="2194"/>
                  </a:lnTo>
                  <a:lnTo>
                    <a:pt x="7378" y="2404"/>
                  </a:lnTo>
                  <a:lnTo>
                    <a:pt x="7288" y="2896"/>
                  </a:lnTo>
                  <a:lnTo>
                    <a:pt x="7559" y="3443"/>
                  </a:lnTo>
                  <a:lnTo>
                    <a:pt x="7975" y="3888"/>
                  </a:lnTo>
                  <a:cubicBezTo>
                    <a:pt x="7945" y="4109"/>
                    <a:pt x="7914" y="4330"/>
                    <a:pt x="7884" y="4551"/>
                  </a:cubicBezTo>
                  <a:lnTo>
                    <a:pt x="8228" y="4965"/>
                  </a:lnTo>
                  <a:cubicBezTo>
                    <a:pt x="8288" y="5020"/>
                    <a:pt x="8349" y="5074"/>
                    <a:pt x="8409" y="5129"/>
                  </a:cubicBezTo>
                  <a:lnTo>
                    <a:pt x="8571" y="5738"/>
                  </a:lnTo>
                  <a:cubicBezTo>
                    <a:pt x="8625" y="5824"/>
                    <a:pt x="8680" y="5909"/>
                    <a:pt x="8734" y="5995"/>
                  </a:cubicBezTo>
                  <a:lnTo>
                    <a:pt x="9566" y="6269"/>
                  </a:lnTo>
                  <a:lnTo>
                    <a:pt x="10000" y="6526"/>
                  </a:lnTo>
                  <a:lnTo>
                    <a:pt x="10000" y="6690"/>
                  </a:lnTo>
                  <a:lnTo>
                    <a:pt x="9656" y="7447"/>
                  </a:lnTo>
                  <a:lnTo>
                    <a:pt x="9512" y="7525"/>
                  </a:lnTo>
                  <a:lnTo>
                    <a:pt x="9656" y="7689"/>
                  </a:lnTo>
                  <a:lnTo>
                    <a:pt x="9259" y="7978"/>
                  </a:lnTo>
                  <a:lnTo>
                    <a:pt x="8734" y="8103"/>
                  </a:lnTo>
                  <a:lnTo>
                    <a:pt x="8734" y="8236"/>
                  </a:lnTo>
                  <a:lnTo>
                    <a:pt x="7975" y="8728"/>
                  </a:lnTo>
                  <a:lnTo>
                    <a:pt x="7468" y="8845"/>
                  </a:lnTo>
                  <a:lnTo>
                    <a:pt x="7378" y="9133"/>
                  </a:lnTo>
                  <a:lnTo>
                    <a:pt x="6872" y="9133"/>
                  </a:lnTo>
                  <a:lnTo>
                    <a:pt x="6618" y="9227"/>
                  </a:lnTo>
                  <a:lnTo>
                    <a:pt x="6112" y="9305"/>
                  </a:lnTo>
                  <a:lnTo>
                    <a:pt x="5425" y="9258"/>
                  </a:lnTo>
                  <a:lnTo>
                    <a:pt x="4919" y="9469"/>
                  </a:lnTo>
                  <a:lnTo>
                    <a:pt x="4322" y="9633"/>
                  </a:lnTo>
                  <a:lnTo>
                    <a:pt x="3725" y="9711"/>
                  </a:lnTo>
                  <a:lnTo>
                    <a:pt x="3291" y="9883"/>
                  </a:lnTo>
                  <a:lnTo>
                    <a:pt x="2803" y="1000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8" name="SE"/>
          <p:cNvGrpSpPr>
            <a:grpSpLocks/>
          </p:cNvGrpSpPr>
          <p:nvPr/>
        </p:nvGrpSpPr>
        <p:grpSpPr bwMode="auto">
          <a:xfrm>
            <a:off x="6097588" y="1157287"/>
            <a:ext cx="1035054" cy="2009769"/>
            <a:chOff x="3043262" y="1475462"/>
            <a:chExt cx="475" cy="1041"/>
          </a:xfrm>
          <a:solidFill>
            <a:srgbClr val="FAFAFA"/>
          </a:solidFill>
          <a:effectLst/>
        </p:grpSpPr>
        <p:sp>
          <p:nvSpPr>
            <p:cNvPr id="92" name="Freeform 563"/>
            <p:cNvSpPr>
              <a:spLocks noChangeAspect="1"/>
            </p:cNvSpPr>
            <p:nvPr/>
          </p:nvSpPr>
          <p:spPr bwMode="auto">
            <a:xfrm>
              <a:off x="3043451" y="1476363"/>
              <a:ext cx="32" cy="81"/>
            </a:xfrm>
            <a:custGeom>
              <a:avLst/>
              <a:gdLst>
                <a:gd name="T0" fmla="*/ 46 w 46"/>
                <a:gd name="T1" fmla="*/ 0 h 131"/>
                <a:gd name="T2" fmla="*/ 44 w 46"/>
                <a:gd name="T3" fmla="*/ 44 h 131"/>
                <a:gd name="T4" fmla="*/ 30 w 46"/>
                <a:gd name="T5" fmla="*/ 78 h 131"/>
                <a:gd name="T6" fmla="*/ 9 w 46"/>
                <a:gd name="T7" fmla="*/ 99 h 131"/>
                <a:gd name="T8" fmla="*/ 14 w 46"/>
                <a:gd name="T9" fmla="*/ 122 h 131"/>
                <a:gd name="T10" fmla="*/ 5 w 46"/>
                <a:gd name="T11" fmla="*/ 131 h 131"/>
                <a:gd name="T12" fmla="*/ 0 w 46"/>
                <a:gd name="T13" fmla="*/ 102 h 131"/>
                <a:gd name="T14" fmla="*/ 7 w 46"/>
                <a:gd name="T15" fmla="*/ 81 h 131"/>
                <a:gd name="T16" fmla="*/ 14 w 46"/>
                <a:gd name="T17" fmla="*/ 57 h 131"/>
                <a:gd name="T18" fmla="*/ 46 w 4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31">
                  <a:moveTo>
                    <a:pt x="46" y="0"/>
                  </a:moveTo>
                  <a:lnTo>
                    <a:pt x="44" y="44"/>
                  </a:lnTo>
                  <a:lnTo>
                    <a:pt x="30" y="78"/>
                  </a:lnTo>
                  <a:lnTo>
                    <a:pt x="9" y="99"/>
                  </a:lnTo>
                  <a:lnTo>
                    <a:pt x="14" y="122"/>
                  </a:lnTo>
                  <a:lnTo>
                    <a:pt x="5" y="131"/>
                  </a:lnTo>
                  <a:lnTo>
                    <a:pt x="0" y="102"/>
                  </a:lnTo>
                  <a:lnTo>
                    <a:pt x="7" y="81"/>
                  </a:lnTo>
                  <a:lnTo>
                    <a:pt x="14" y="57"/>
                  </a:lnTo>
                  <a:lnTo>
                    <a:pt x="4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3" name="Freeform 564"/>
            <p:cNvSpPr>
              <a:spLocks noChangeAspect="1"/>
            </p:cNvSpPr>
            <p:nvPr/>
          </p:nvSpPr>
          <p:spPr bwMode="auto">
            <a:xfrm>
              <a:off x="3043522" y="1476325"/>
              <a:ext cx="42" cy="64"/>
            </a:xfrm>
            <a:custGeom>
              <a:avLst/>
              <a:gdLst>
                <a:gd name="T0" fmla="*/ 50 w 64"/>
                <a:gd name="T1" fmla="*/ 0 h 104"/>
                <a:gd name="T2" fmla="*/ 64 w 64"/>
                <a:gd name="T3" fmla="*/ 0 h 104"/>
                <a:gd name="T4" fmla="*/ 47 w 64"/>
                <a:gd name="T5" fmla="*/ 22 h 104"/>
                <a:gd name="T6" fmla="*/ 45 w 64"/>
                <a:gd name="T7" fmla="*/ 37 h 104"/>
                <a:gd name="T8" fmla="*/ 50 w 64"/>
                <a:gd name="T9" fmla="*/ 59 h 104"/>
                <a:gd name="T10" fmla="*/ 33 w 64"/>
                <a:gd name="T11" fmla="*/ 80 h 104"/>
                <a:gd name="T12" fmla="*/ 12 w 64"/>
                <a:gd name="T13" fmla="*/ 104 h 104"/>
                <a:gd name="T14" fmla="*/ 8 w 64"/>
                <a:gd name="T15" fmla="*/ 80 h 104"/>
                <a:gd name="T16" fmla="*/ 0 w 64"/>
                <a:gd name="T17" fmla="*/ 70 h 104"/>
                <a:gd name="T18" fmla="*/ 0 w 64"/>
                <a:gd name="T19" fmla="*/ 52 h 104"/>
                <a:gd name="T20" fmla="*/ 19 w 64"/>
                <a:gd name="T21" fmla="*/ 32 h 104"/>
                <a:gd name="T22" fmla="*/ 50 w 64"/>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04">
                  <a:moveTo>
                    <a:pt x="50" y="0"/>
                  </a:moveTo>
                  <a:lnTo>
                    <a:pt x="64" y="0"/>
                  </a:lnTo>
                  <a:lnTo>
                    <a:pt x="47" y="22"/>
                  </a:lnTo>
                  <a:lnTo>
                    <a:pt x="45" y="37"/>
                  </a:lnTo>
                  <a:lnTo>
                    <a:pt x="50" y="59"/>
                  </a:lnTo>
                  <a:lnTo>
                    <a:pt x="33" y="80"/>
                  </a:lnTo>
                  <a:lnTo>
                    <a:pt x="12" y="104"/>
                  </a:lnTo>
                  <a:lnTo>
                    <a:pt x="8" y="80"/>
                  </a:lnTo>
                  <a:lnTo>
                    <a:pt x="0" y="70"/>
                  </a:lnTo>
                  <a:lnTo>
                    <a:pt x="0" y="52"/>
                  </a:lnTo>
                  <a:lnTo>
                    <a:pt x="19" y="32"/>
                  </a:lnTo>
                  <a:lnTo>
                    <a:pt x="5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4" name="Freeform 565"/>
            <p:cNvSpPr>
              <a:spLocks noChangeAspect="1"/>
            </p:cNvSpPr>
            <p:nvPr/>
          </p:nvSpPr>
          <p:spPr bwMode="auto">
            <a:xfrm>
              <a:off x="3043262" y="1475462"/>
              <a:ext cx="475" cy="1041"/>
            </a:xfrm>
            <a:custGeom>
              <a:avLst/>
              <a:gdLst>
                <a:gd name="T0" fmla="*/ 551 w 701"/>
                <a:gd name="T1" fmla="*/ 30 h 1686"/>
                <a:gd name="T2" fmla="*/ 646 w 701"/>
                <a:gd name="T3" fmla="*/ 104 h 1686"/>
                <a:gd name="T4" fmla="*/ 655 w 701"/>
                <a:gd name="T5" fmla="*/ 168 h 1686"/>
                <a:gd name="T6" fmla="*/ 677 w 701"/>
                <a:gd name="T7" fmla="*/ 225 h 1686"/>
                <a:gd name="T8" fmla="*/ 674 w 701"/>
                <a:gd name="T9" fmla="*/ 299 h 1686"/>
                <a:gd name="T10" fmla="*/ 692 w 701"/>
                <a:gd name="T11" fmla="*/ 352 h 1686"/>
                <a:gd name="T12" fmla="*/ 687 w 701"/>
                <a:gd name="T13" fmla="*/ 394 h 1686"/>
                <a:gd name="T14" fmla="*/ 603 w 701"/>
                <a:gd name="T15" fmla="*/ 404 h 1686"/>
                <a:gd name="T16" fmla="*/ 566 w 701"/>
                <a:gd name="T17" fmla="*/ 468 h 1686"/>
                <a:gd name="T18" fmla="*/ 556 w 701"/>
                <a:gd name="T19" fmla="*/ 515 h 1686"/>
                <a:gd name="T20" fmla="*/ 561 w 701"/>
                <a:gd name="T21" fmla="*/ 583 h 1686"/>
                <a:gd name="T22" fmla="*/ 533 w 701"/>
                <a:gd name="T23" fmla="*/ 647 h 1686"/>
                <a:gd name="T24" fmla="*/ 453 w 701"/>
                <a:gd name="T25" fmla="*/ 700 h 1686"/>
                <a:gd name="T26" fmla="*/ 424 w 701"/>
                <a:gd name="T27" fmla="*/ 731 h 1686"/>
                <a:gd name="T28" fmla="*/ 387 w 701"/>
                <a:gd name="T29" fmla="*/ 811 h 1686"/>
                <a:gd name="T30" fmla="*/ 376 w 701"/>
                <a:gd name="T31" fmla="*/ 871 h 1686"/>
                <a:gd name="T32" fmla="*/ 343 w 701"/>
                <a:gd name="T33" fmla="*/ 956 h 1686"/>
                <a:gd name="T34" fmla="*/ 391 w 701"/>
                <a:gd name="T35" fmla="*/ 1067 h 1686"/>
                <a:gd name="T36" fmla="*/ 429 w 701"/>
                <a:gd name="T37" fmla="*/ 1151 h 1686"/>
                <a:gd name="T38" fmla="*/ 387 w 701"/>
                <a:gd name="T39" fmla="*/ 1182 h 1686"/>
                <a:gd name="T40" fmla="*/ 352 w 701"/>
                <a:gd name="T41" fmla="*/ 1188 h 1686"/>
                <a:gd name="T42" fmla="*/ 272 w 701"/>
                <a:gd name="T43" fmla="*/ 1194 h 1686"/>
                <a:gd name="T44" fmla="*/ 347 w 701"/>
                <a:gd name="T45" fmla="*/ 1214 h 1686"/>
                <a:gd name="T46" fmla="*/ 387 w 701"/>
                <a:gd name="T47" fmla="*/ 1241 h 1686"/>
                <a:gd name="T48" fmla="*/ 361 w 701"/>
                <a:gd name="T49" fmla="*/ 1262 h 1686"/>
                <a:gd name="T50" fmla="*/ 314 w 701"/>
                <a:gd name="T51" fmla="*/ 1309 h 1686"/>
                <a:gd name="T52" fmla="*/ 300 w 701"/>
                <a:gd name="T53" fmla="*/ 1356 h 1686"/>
                <a:gd name="T54" fmla="*/ 281 w 701"/>
                <a:gd name="T55" fmla="*/ 1467 h 1686"/>
                <a:gd name="T56" fmla="*/ 258 w 701"/>
                <a:gd name="T57" fmla="*/ 1541 h 1686"/>
                <a:gd name="T58" fmla="*/ 201 w 701"/>
                <a:gd name="T59" fmla="*/ 1599 h 1686"/>
                <a:gd name="T60" fmla="*/ 145 w 701"/>
                <a:gd name="T61" fmla="*/ 1620 h 1686"/>
                <a:gd name="T62" fmla="*/ 135 w 701"/>
                <a:gd name="T63" fmla="*/ 1670 h 1686"/>
                <a:gd name="T64" fmla="*/ 80 w 701"/>
                <a:gd name="T65" fmla="*/ 1686 h 1686"/>
                <a:gd name="T66" fmla="*/ 55 w 701"/>
                <a:gd name="T67" fmla="*/ 1659 h 1686"/>
                <a:gd name="T68" fmla="*/ 33 w 701"/>
                <a:gd name="T69" fmla="*/ 1568 h 1686"/>
                <a:gd name="T70" fmla="*/ 52 w 701"/>
                <a:gd name="T71" fmla="*/ 1546 h 1686"/>
                <a:gd name="T72" fmla="*/ 55 w 701"/>
                <a:gd name="T73" fmla="*/ 1515 h 1686"/>
                <a:gd name="T74" fmla="*/ 33 w 701"/>
                <a:gd name="T75" fmla="*/ 1430 h 1686"/>
                <a:gd name="T76" fmla="*/ 14 w 701"/>
                <a:gd name="T77" fmla="*/ 1362 h 1686"/>
                <a:gd name="T78" fmla="*/ 0 w 701"/>
                <a:gd name="T79" fmla="*/ 1256 h 1686"/>
                <a:gd name="T80" fmla="*/ 24 w 701"/>
                <a:gd name="T81" fmla="*/ 1214 h 1686"/>
                <a:gd name="T82" fmla="*/ 42 w 701"/>
                <a:gd name="T83" fmla="*/ 1108 h 1686"/>
                <a:gd name="T84" fmla="*/ 88 w 701"/>
                <a:gd name="T85" fmla="*/ 1046 h 1686"/>
                <a:gd name="T86" fmla="*/ 74 w 701"/>
                <a:gd name="T87" fmla="*/ 935 h 1686"/>
                <a:gd name="T88" fmla="*/ 93 w 701"/>
                <a:gd name="T89" fmla="*/ 882 h 1686"/>
                <a:gd name="T90" fmla="*/ 85 w 701"/>
                <a:gd name="T91" fmla="*/ 790 h 1686"/>
                <a:gd name="T92" fmla="*/ 104 w 701"/>
                <a:gd name="T93" fmla="*/ 679 h 1686"/>
                <a:gd name="T94" fmla="*/ 164 w 701"/>
                <a:gd name="T95" fmla="*/ 605 h 1686"/>
                <a:gd name="T96" fmla="*/ 220 w 701"/>
                <a:gd name="T97" fmla="*/ 583 h 1686"/>
                <a:gd name="T98" fmla="*/ 197 w 701"/>
                <a:gd name="T99" fmla="*/ 515 h 1686"/>
                <a:gd name="T100" fmla="*/ 220 w 701"/>
                <a:gd name="T101" fmla="*/ 458 h 1686"/>
                <a:gd name="T102" fmla="*/ 234 w 701"/>
                <a:gd name="T103" fmla="*/ 373 h 1686"/>
                <a:gd name="T104" fmla="*/ 296 w 701"/>
                <a:gd name="T105" fmla="*/ 320 h 1686"/>
                <a:gd name="T106" fmla="*/ 324 w 701"/>
                <a:gd name="T107" fmla="*/ 252 h 1686"/>
                <a:gd name="T108" fmla="*/ 368 w 701"/>
                <a:gd name="T109" fmla="*/ 147 h 1686"/>
                <a:gd name="T110" fmla="*/ 418 w 701"/>
                <a:gd name="T111" fmla="*/ 98 h 1686"/>
                <a:gd name="T112" fmla="*/ 465 w 701"/>
                <a:gd name="T113" fmla="*/ 60 h 1686"/>
                <a:gd name="T114" fmla="*/ 523 w 701"/>
                <a:gd name="T11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1" h="1686">
                  <a:moveTo>
                    <a:pt x="528" y="0"/>
                  </a:moveTo>
                  <a:lnTo>
                    <a:pt x="537" y="5"/>
                  </a:lnTo>
                  <a:lnTo>
                    <a:pt x="551" y="30"/>
                  </a:lnTo>
                  <a:lnTo>
                    <a:pt x="613" y="98"/>
                  </a:lnTo>
                  <a:lnTo>
                    <a:pt x="622" y="83"/>
                  </a:lnTo>
                  <a:lnTo>
                    <a:pt x="646" y="104"/>
                  </a:lnTo>
                  <a:lnTo>
                    <a:pt x="655" y="125"/>
                  </a:lnTo>
                  <a:lnTo>
                    <a:pt x="655" y="141"/>
                  </a:lnTo>
                  <a:lnTo>
                    <a:pt x="655" y="168"/>
                  </a:lnTo>
                  <a:lnTo>
                    <a:pt x="646" y="184"/>
                  </a:lnTo>
                  <a:lnTo>
                    <a:pt x="663" y="205"/>
                  </a:lnTo>
                  <a:lnTo>
                    <a:pt x="677" y="225"/>
                  </a:lnTo>
                  <a:lnTo>
                    <a:pt x="677" y="242"/>
                  </a:lnTo>
                  <a:lnTo>
                    <a:pt x="677" y="268"/>
                  </a:lnTo>
                  <a:lnTo>
                    <a:pt x="674" y="299"/>
                  </a:lnTo>
                  <a:lnTo>
                    <a:pt x="663" y="310"/>
                  </a:lnTo>
                  <a:lnTo>
                    <a:pt x="677" y="326"/>
                  </a:lnTo>
                  <a:lnTo>
                    <a:pt x="692" y="352"/>
                  </a:lnTo>
                  <a:lnTo>
                    <a:pt x="701" y="379"/>
                  </a:lnTo>
                  <a:lnTo>
                    <a:pt x="701" y="389"/>
                  </a:lnTo>
                  <a:lnTo>
                    <a:pt x="687" y="394"/>
                  </a:lnTo>
                  <a:lnTo>
                    <a:pt x="627" y="394"/>
                  </a:lnTo>
                  <a:lnTo>
                    <a:pt x="613" y="394"/>
                  </a:lnTo>
                  <a:lnTo>
                    <a:pt x="603" y="404"/>
                  </a:lnTo>
                  <a:lnTo>
                    <a:pt x="603" y="426"/>
                  </a:lnTo>
                  <a:lnTo>
                    <a:pt x="594" y="441"/>
                  </a:lnTo>
                  <a:lnTo>
                    <a:pt x="566" y="468"/>
                  </a:lnTo>
                  <a:lnTo>
                    <a:pt x="570" y="490"/>
                  </a:lnTo>
                  <a:lnTo>
                    <a:pt x="566" y="505"/>
                  </a:lnTo>
                  <a:lnTo>
                    <a:pt x="556" y="515"/>
                  </a:lnTo>
                  <a:lnTo>
                    <a:pt x="566" y="548"/>
                  </a:lnTo>
                  <a:lnTo>
                    <a:pt x="570" y="568"/>
                  </a:lnTo>
                  <a:lnTo>
                    <a:pt x="561" y="583"/>
                  </a:lnTo>
                  <a:lnTo>
                    <a:pt x="542" y="601"/>
                  </a:lnTo>
                  <a:lnTo>
                    <a:pt x="537" y="620"/>
                  </a:lnTo>
                  <a:lnTo>
                    <a:pt x="533" y="647"/>
                  </a:lnTo>
                  <a:lnTo>
                    <a:pt x="500" y="663"/>
                  </a:lnTo>
                  <a:lnTo>
                    <a:pt x="481" y="679"/>
                  </a:lnTo>
                  <a:lnTo>
                    <a:pt x="453" y="700"/>
                  </a:lnTo>
                  <a:lnTo>
                    <a:pt x="457" y="716"/>
                  </a:lnTo>
                  <a:lnTo>
                    <a:pt x="434" y="721"/>
                  </a:lnTo>
                  <a:lnTo>
                    <a:pt x="424" y="731"/>
                  </a:lnTo>
                  <a:lnTo>
                    <a:pt x="401" y="768"/>
                  </a:lnTo>
                  <a:lnTo>
                    <a:pt x="382" y="784"/>
                  </a:lnTo>
                  <a:lnTo>
                    <a:pt x="387" y="811"/>
                  </a:lnTo>
                  <a:lnTo>
                    <a:pt x="376" y="818"/>
                  </a:lnTo>
                  <a:lnTo>
                    <a:pt x="366" y="830"/>
                  </a:lnTo>
                  <a:lnTo>
                    <a:pt x="376" y="871"/>
                  </a:lnTo>
                  <a:lnTo>
                    <a:pt x="371" y="898"/>
                  </a:lnTo>
                  <a:lnTo>
                    <a:pt x="347" y="913"/>
                  </a:lnTo>
                  <a:lnTo>
                    <a:pt x="343" y="956"/>
                  </a:lnTo>
                  <a:lnTo>
                    <a:pt x="347" y="1009"/>
                  </a:lnTo>
                  <a:lnTo>
                    <a:pt x="357" y="1034"/>
                  </a:lnTo>
                  <a:lnTo>
                    <a:pt x="391" y="1067"/>
                  </a:lnTo>
                  <a:lnTo>
                    <a:pt x="405" y="1098"/>
                  </a:lnTo>
                  <a:lnTo>
                    <a:pt x="420" y="1130"/>
                  </a:lnTo>
                  <a:lnTo>
                    <a:pt x="429" y="1151"/>
                  </a:lnTo>
                  <a:lnTo>
                    <a:pt x="420" y="1172"/>
                  </a:lnTo>
                  <a:lnTo>
                    <a:pt x="401" y="1188"/>
                  </a:lnTo>
                  <a:lnTo>
                    <a:pt x="387" y="1182"/>
                  </a:lnTo>
                  <a:lnTo>
                    <a:pt x="376" y="1167"/>
                  </a:lnTo>
                  <a:lnTo>
                    <a:pt x="357" y="1172"/>
                  </a:lnTo>
                  <a:lnTo>
                    <a:pt x="352" y="1188"/>
                  </a:lnTo>
                  <a:lnTo>
                    <a:pt x="324" y="1188"/>
                  </a:lnTo>
                  <a:lnTo>
                    <a:pt x="281" y="1182"/>
                  </a:lnTo>
                  <a:lnTo>
                    <a:pt x="272" y="1194"/>
                  </a:lnTo>
                  <a:lnTo>
                    <a:pt x="300" y="1209"/>
                  </a:lnTo>
                  <a:lnTo>
                    <a:pt x="338" y="1194"/>
                  </a:lnTo>
                  <a:lnTo>
                    <a:pt x="347" y="1214"/>
                  </a:lnTo>
                  <a:lnTo>
                    <a:pt x="376" y="1219"/>
                  </a:lnTo>
                  <a:lnTo>
                    <a:pt x="396" y="1229"/>
                  </a:lnTo>
                  <a:lnTo>
                    <a:pt x="387" y="1241"/>
                  </a:lnTo>
                  <a:lnTo>
                    <a:pt x="361" y="1235"/>
                  </a:lnTo>
                  <a:lnTo>
                    <a:pt x="357" y="1246"/>
                  </a:lnTo>
                  <a:lnTo>
                    <a:pt x="361" y="1262"/>
                  </a:lnTo>
                  <a:lnTo>
                    <a:pt x="347" y="1283"/>
                  </a:lnTo>
                  <a:lnTo>
                    <a:pt x="324" y="1303"/>
                  </a:lnTo>
                  <a:lnTo>
                    <a:pt x="314" y="1309"/>
                  </a:lnTo>
                  <a:lnTo>
                    <a:pt x="305" y="1315"/>
                  </a:lnTo>
                  <a:lnTo>
                    <a:pt x="310" y="1340"/>
                  </a:lnTo>
                  <a:lnTo>
                    <a:pt x="300" y="1356"/>
                  </a:lnTo>
                  <a:lnTo>
                    <a:pt x="286" y="1389"/>
                  </a:lnTo>
                  <a:lnTo>
                    <a:pt x="291" y="1420"/>
                  </a:lnTo>
                  <a:lnTo>
                    <a:pt x="281" y="1467"/>
                  </a:lnTo>
                  <a:lnTo>
                    <a:pt x="272" y="1488"/>
                  </a:lnTo>
                  <a:lnTo>
                    <a:pt x="272" y="1519"/>
                  </a:lnTo>
                  <a:lnTo>
                    <a:pt x="258" y="1541"/>
                  </a:lnTo>
                  <a:lnTo>
                    <a:pt x="239" y="1578"/>
                  </a:lnTo>
                  <a:lnTo>
                    <a:pt x="234" y="1605"/>
                  </a:lnTo>
                  <a:lnTo>
                    <a:pt x="201" y="1599"/>
                  </a:lnTo>
                  <a:lnTo>
                    <a:pt x="168" y="1599"/>
                  </a:lnTo>
                  <a:lnTo>
                    <a:pt x="164" y="1615"/>
                  </a:lnTo>
                  <a:lnTo>
                    <a:pt x="145" y="1620"/>
                  </a:lnTo>
                  <a:lnTo>
                    <a:pt x="135" y="1626"/>
                  </a:lnTo>
                  <a:lnTo>
                    <a:pt x="140" y="1643"/>
                  </a:lnTo>
                  <a:lnTo>
                    <a:pt x="135" y="1670"/>
                  </a:lnTo>
                  <a:lnTo>
                    <a:pt x="112" y="1686"/>
                  </a:lnTo>
                  <a:lnTo>
                    <a:pt x="99" y="1670"/>
                  </a:lnTo>
                  <a:lnTo>
                    <a:pt x="80" y="1686"/>
                  </a:lnTo>
                  <a:lnTo>
                    <a:pt x="55" y="1686"/>
                  </a:lnTo>
                  <a:lnTo>
                    <a:pt x="47" y="1670"/>
                  </a:lnTo>
                  <a:lnTo>
                    <a:pt x="55" y="1659"/>
                  </a:lnTo>
                  <a:lnTo>
                    <a:pt x="61" y="1630"/>
                  </a:lnTo>
                  <a:lnTo>
                    <a:pt x="42" y="1589"/>
                  </a:lnTo>
                  <a:lnTo>
                    <a:pt x="33" y="1568"/>
                  </a:lnTo>
                  <a:lnTo>
                    <a:pt x="38" y="1556"/>
                  </a:lnTo>
                  <a:lnTo>
                    <a:pt x="47" y="1556"/>
                  </a:lnTo>
                  <a:lnTo>
                    <a:pt x="52" y="1546"/>
                  </a:lnTo>
                  <a:lnTo>
                    <a:pt x="55" y="1535"/>
                  </a:lnTo>
                  <a:lnTo>
                    <a:pt x="61" y="1525"/>
                  </a:lnTo>
                  <a:lnTo>
                    <a:pt x="55" y="1515"/>
                  </a:lnTo>
                  <a:lnTo>
                    <a:pt x="47" y="1494"/>
                  </a:lnTo>
                  <a:lnTo>
                    <a:pt x="28" y="1462"/>
                  </a:lnTo>
                  <a:lnTo>
                    <a:pt x="33" y="1430"/>
                  </a:lnTo>
                  <a:lnTo>
                    <a:pt x="19" y="1404"/>
                  </a:lnTo>
                  <a:lnTo>
                    <a:pt x="5" y="1389"/>
                  </a:lnTo>
                  <a:lnTo>
                    <a:pt x="14" y="1362"/>
                  </a:lnTo>
                  <a:lnTo>
                    <a:pt x="24" y="1309"/>
                  </a:lnTo>
                  <a:lnTo>
                    <a:pt x="5" y="1283"/>
                  </a:lnTo>
                  <a:lnTo>
                    <a:pt x="0" y="1256"/>
                  </a:lnTo>
                  <a:lnTo>
                    <a:pt x="0" y="1241"/>
                  </a:lnTo>
                  <a:lnTo>
                    <a:pt x="9" y="1209"/>
                  </a:lnTo>
                  <a:lnTo>
                    <a:pt x="24" y="1214"/>
                  </a:lnTo>
                  <a:lnTo>
                    <a:pt x="38" y="1172"/>
                  </a:lnTo>
                  <a:lnTo>
                    <a:pt x="38" y="1124"/>
                  </a:lnTo>
                  <a:lnTo>
                    <a:pt x="42" y="1108"/>
                  </a:lnTo>
                  <a:lnTo>
                    <a:pt x="61" y="1093"/>
                  </a:lnTo>
                  <a:lnTo>
                    <a:pt x="88" y="1071"/>
                  </a:lnTo>
                  <a:lnTo>
                    <a:pt x="88" y="1046"/>
                  </a:lnTo>
                  <a:lnTo>
                    <a:pt x="85" y="966"/>
                  </a:lnTo>
                  <a:lnTo>
                    <a:pt x="74" y="956"/>
                  </a:lnTo>
                  <a:lnTo>
                    <a:pt x="74" y="935"/>
                  </a:lnTo>
                  <a:lnTo>
                    <a:pt x="99" y="923"/>
                  </a:lnTo>
                  <a:lnTo>
                    <a:pt x="107" y="913"/>
                  </a:lnTo>
                  <a:lnTo>
                    <a:pt x="93" y="882"/>
                  </a:lnTo>
                  <a:lnTo>
                    <a:pt x="74" y="851"/>
                  </a:lnTo>
                  <a:lnTo>
                    <a:pt x="80" y="815"/>
                  </a:lnTo>
                  <a:lnTo>
                    <a:pt x="85" y="790"/>
                  </a:lnTo>
                  <a:lnTo>
                    <a:pt x="104" y="743"/>
                  </a:lnTo>
                  <a:lnTo>
                    <a:pt x="104" y="721"/>
                  </a:lnTo>
                  <a:lnTo>
                    <a:pt x="104" y="679"/>
                  </a:lnTo>
                  <a:lnTo>
                    <a:pt x="118" y="642"/>
                  </a:lnTo>
                  <a:lnTo>
                    <a:pt x="140" y="620"/>
                  </a:lnTo>
                  <a:lnTo>
                    <a:pt x="164" y="605"/>
                  </a:lnTo>
                  <a:lnTo>
                    <a:pt x="187" y="610"/>
                  </a:lnTo>
                  <a:lnTo>
                    <a:pt x="211" y="620"/>
                  </a:lnTo>
                  <a:lnTo>
                    <a:pt x="220" y="583"/>
                  </a:lnTo>
                  <a:lnTo>
                    <a:pt x="211" y="552"/>
                  </a:lnTo>
                  <a:lnTo>
                    <a:pt x="201" y="531"/>
                  </a:lnTo>
                  <a:lnTo>
                    <a:pt x="197" y="515"/>
                  </a:lnTo>
                  <a:lnTo>
                    <a:pt x="201" y="500"/>
                  </a:lnTo>
                  <a:lnTo>
                    <a:pt x="216" y="494"/>
                  </a:lnTo>
                  <a:lnTo>
                    <a:pt x="220" y="458"/>
                  </a:lnTo>
                  <a:lnTo>
                    <a:pt x="230" y="426"/>
                  </a:lnTo>
                  <a:lnTo>
                    <a:pt x="234" y="400"/>
                  </a:lnTo>
                  <a:lnTo>
                    <a:pt x="234" y="373"/>
                  </a:lnTo>
                  <a:lnTo>
                    <a:pt x="248" y="347"/>
                  </a:lnTo>
                  <a:lnTo>
                    <a:pt x="277" y="326"/>
                  </a:lnTo>
                  <a:lnTo>
                    <a:pt x="296" y="320"/>
                  </a:lnTo>
                  <a:lnTo>
                    <a:pt x="296" y="295"/>
                  </a:lnTo>
                  <a:lnTo>
                    <a:pt x="305" y="278"/>
                  </a:lnTo>
                  <a:lnTo>
                    <a:pt x="324" y="252"/>
                  </a:lnTo>
                  <a:lnTo>
                    <a:pt x="343" y="236"/>
                  </a:lnTo>
                  <a:lnTo>
                    <a:pt x="333" y="191"/>
                  </a:lnTo>
                  <a:lnTo>
                    <a:pt x="368" y="147"/>
                  </a:lnTo>
                  <a:lnTo>
                    <a:pt x="376" y="128"/>
                  </a:lnTo>
                  <a:lnTo>
                    <a:pt x="401" y="123"/>
                  </a:lnTo>
                  <a:lnTo>
                    <a:pt x="418" y="98"/>
                  </a:lnTo>
                  <a:lnTo>
                    <a:pt x="418" y="83"/>
                  </a:lnTo>
                  <a:lnTo>
                    <a:pt x="434" y="64"/>
                  </a:lnTo>
                  <a:lnTo>
                    <a:pt x="465" y="60"/>
                  </a:lnTo>
                  <a:lnTo>
                    <a:pt x="500" y="60"/>
                  </a:lnTo>
                  <a:lnTo>
                    <a:pt x="528" y="30"/>
                  </a:lnTo>
                  <a:lnTo>
                    <a:pt x="523" y="0"/>
                  </a:lnTo>
                  <a:lnTo>
                    <a:pt x="52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9" name="NO"/>
          <p:cNvGrpSpPr>
            <a:grpSpLocks/>
          </p:cNvGrpSpPr>
          <p:nvPr/>
        </p:nvGrpSpPr>
        <p:grpSpPr bwMode="auto">
          <a:xfrm>
            <a:off x="5584744" y="990600"/>
            <a:ext cx="1892300" cy="1884365"/>
            <a:chOff x="2536825" y="1148442"/>
            <a:chExt cx="1192" cy="1187"/>
          </a:xfrm>
          <a:solidFill>
            <a:srgbClr val="FAFAFA"/>
          </a:solidFill>
          <a:effectLst/>
        </p:grpSpPr>
        <p:sp>
          <p:nvSpPr>
            <p:cNvPr id="81" name="Freeform 552"/>
            <p:cNvSpPr>
              <a:spLocks noChangeAspect="1"/>
            </p:cNvSpPr>
            <p:nvPr/>
          </p:nvSpPr>
          <p:spPr bwMode="auto">
            <a:xfrm>
              <a:off x="2536825" y="1148442"/>
              <a:ext cx="1192" cy="1187"/>
            </a:xfrm>
            <a:custGeom>
              <a:avLst/>
              <a:gdLst>
                <a:gd name="T0" fmla="*/ 376 w 1279"/>
                <a:gd name="T1" fmla="*/ 1439 h 1576"/>
                <a:gd name="T2" fmla="*/ 427 w 1279"/>
                <a:gd name="T3" fmla="*/ 1349 h 1576"/>
                <a:gd name="T4" fmla="*/ 413 w 1279"/>
                <a:gd name="T5" fmla="*/ 1227 h 1576"/>
                <a:gd name="T6" fmla="*/ 423 w 1279"/>
                <a:gd name="T7" fmla="*/ 1122 h 1576"/>
                <a:gd name="T8" fmla="*/ 446 w 1279"/>
                <a:gd name="T9" fmla="*/ 977 h 1576"/>
                <a:gd name="T10" fmla="*/ 511 w 1279"/>
                <a:gd name="T11" fmla="*/ 877 h 1576"/>
                <a:gd name="T12" fmla="*/ 544 w 1279"/>
                <a:gd name="T13" fmla="*/ 798 h 1576"/>
                <a:gd name="T14" fmla="*/ 568 w 1279"/>
                <a:gd name="T15" fmla="*/ 719 h 1576"/>
                <a:gd name="T16" fmla="*/ 638 w 1279"/>
                <a:gd name="T17" fmla="*/ 587 h 1576"/>
                <a:gd name="T18" fmla="*/ 676 w 1279"/>
                <a:gd name="T19" fmla="*/ 482 h 1576"/>
                <a:gd name="T20" fmla="*/ 762 w 1279"/>
                <a:gd name="T21" fmla="*/ 376 h 1576"/>
                <a:gd name="T22" fmla="*/ 833 w 1279"/>
                <a:gd name="T23" fmla="*/ 340 h 1576"/>
                <a:gd name="T24" fmla="*/ 880 w 1279"/>
                <a:gd name="T25" fmla="*/ 247 h 1576"/>
                <a:gd name="T26" fmla="*/ 993 w 1279"/>
                <a:gd name="T27" fmla="*/ 297 h 1576"/>
                <a:gd name="T28" fmla="*/ 1053 w 1279"/>
                <a:gd name="T29" fmla="*/ 312 h 1576"/>
                <a:gd name="T30" fmla="*/ 1086 w 1279"/>
                <a:gd name="T31" fmla="*/ 189 h 1576"/>
                <a:gd name="T32" fmla="*/ 1180 w 1279"/>
                <a:gd name="T33" fmla="*/ 179 h 1576"/>
                <a:gd name="T34" fmla="*/ 1213 w 1279"/>
                <a:gd name="T35" fmla="*/ 226 h 1576"/>
                <a:gd name="T36" fmla="*/ 1241 w 1279"/>
                <a:gd name="T37" fmla="*/ 163 h 1576"/>
                <a:gd name="T38" fmla="*/ 1274 w 1279"/>
                <a:gd name="T39" fmla="*/ 89 h 1576"/>
                <a:gd name="T40" fmla="*/ 1213 w 1279"/>
                <a:gd name="T41" fmla="*/ 27 h 1576"/>
                <a:gd name="T42" fmla="*/ 1157 w 1279"/>
                <a:gd name="T43" fmla="*/ 31 h 1576"/>
                <a:gd name="T44" fmla="*/ 1124 w 1279"/>
                <a:gd name="T45" fmla="*/ 27 h 1576"/>
                <a:gd name="T46" fmla="*/ 1078 w 1279"/>
                <a:gd name="T47" fmla="*/ 62 h 1576"/>
                <a:gd name="T48" fmla="*/ 1059 w 1279"/>
                <a:gd name="T49" fmla="*/ 42 h 1576"/>
                <a:gd name="T50" fmla="*/ 988 w 1279"/>
                <a:gd name="T51" fmla="*/ 136 h 1576"/>
                <a:gd name="T52" fmla="*/ 918 w 1279"/>
                <a:gd name="T53" fmla="*/ 163 h 1576"/>
                <a:gd name="T54" fmla="*/ 842 w 1279"/>
                <a:gd name="T55" fmla="*/ 189 h 1576"/>
                <a:gd name="T56" fmla="*/ 753 w 1279"/>
                <a:gd name="T57" fmla="*/ 210 h 1576"/>
                <a:gd name="T58" fmla="*/ 743 w 1279"/>
                <a:gd name="T59" fmla="*/ 287 h 1576"/>
                <a:gd name="T60" fmla="*/ 734 w 1279"/>
                <a:gd name="T61" fmla="*/ 355 h 1576"/>
                <a:gd name="T62" fmla="*/ 662 w 1279"/>
                <a:gd name="T63" fmla="*/ 371 h 1576"/>
                <a:gd name="T64" fmla="*/ 638 w 1279"/>
                <a:gd name="T65" fmla="*/ 429 h 1576"/>
                <a:gd name="T66" fmla="*/ 582 w 1279"/>
                <a:gd name="T67" fmla="*/ 513 h 1576"/>
                <a:gd name="T68" fmla="*/ 525 w 1279"/>
                <a:gd name="T69" fmla="*/ 618 h 1576"/>
                <a:gd name="T70" fmla="*/ 479 w 1279"/>
                <a:gd name="T71" fmla="*/ 725 h 1576"/>
                <a:gd name="T72" fmla="*/ 451 w 1279"/>
                <a:gd name="T73" fmla="*/ 788 h 1576"/>
                <a:gd name="T74" fmla="*/ 361 w 1279"/>
                <a:gd name="T75" fmla="*/ 877 h 1576"/>
                <a:gd name="T76" fmla="*/ 413 w 1279"/>
                <a:gd name="T77" fmla="*/ 887 h 1576"/>
                <a:gd name="T78" fmla="*/ 333 w 1279"/>
                <a:gd name="T79" fmla="*/ 904 h 1576"/>
                <a:gd name="T80" fmla="*/ 258 w 1279"/>
                <a:gd name="T81" fmla="*/ 957 h 1576"/>
                <a:gd name="T82" fmla="*/ 195 w 1279"/>
                <a:gd name="T83" fmla="*/ 961 h 1576"/>
                <a:gd name="T84" fmla="*/ 143 w 1279"/>
                <a:gd name="T85" fmla="*/ 1001 h 1576"/>
                <a:gd name="T86" fmla="*/ 110 w 1279"/>
                <a:gd name="T87" fmla="*/ 1041 h 1576"/>
                <a:gd name="T88" fmla="*/ 44 w 1279"/>
                <a:gd name="T89" fmla="*/ 1088 h 1576"/>
                <a:gd name="T90" fmla="*/ 25 w 1279"/>
                <a:gd name="T91" fmla="*/ 1261 h 1576"/>
                <a:gd name="T92" fmla="*/ 52 w 1279"/>
                <a:gd name="T93" fmla="*/ 1301 h 1576"/>
                <a:gd name="T94" fmla="*/ 25 w 1279"/>
                <a:gd name="T95" fmla="*/ 1378 h 1576"/>
                <a:gd name="T96" fmla="*/ 42 w 1279"/>
                <a:gd name="T97" fmla="*/ 1423 h 1576"/>
                <a:gd name="T98" fmla="*/ 0 w 1279"/>
                <a:gd name="T99" fmla="*/ 1462 h 1576"/>
                <a:gd name="T100" fmla="*/ 107 w 1279"/>
                <a:gd name="T101" fmla="*/ 1576 h 1576"/>
                <a:gd name="T102" fmla="*/ 265 w 1279"/>
                <a:gd name="T103" fmla="*/ 1446 h 1576"/>
                <a:gd name="T104" fmla="*/ 321 w 1279"/>
                <a:gd name="T105" fmla="*/ 1372 h 1576"/>
                <a:gd name="T106" fmla="*/ 333 w 1279"/>
                <a:gd name="T107" fmla="*/ 1483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9" h="1576">
                  <a:moveTo>
                    <a:pt x="343" y="1483"/>
                  </a:moveTo>
                  <a:lnTo>
                    <a:pt x="347" y="1480"/>
                  </a:lnTo>
                  <a:lnTo>
                    <a:pt x="361" y="1476"/>
                  </a:lnTo>
                  <a:lnTo>
                    <a:pt x="371" y="1459"/>
                  </a:lnTo>
                  <a:lnTo>
                    <a:pt x="376" y="1439"/>
                  </a:lnTo>
                  <a:lnTo>
                    <a:pt x="380" y="1428"/>
                  </a:lnTo>
                  <a:lnTo>
                    <a:pt x="376" y="1396"/>
                  </a:lnTo>
                  <a:lnTo>
                    <a:pt x="380" y="1375"/>
                  </a:lnTo>
                  <a:lnTo>
                    <a:pt x="394" y="1365"/>
                  </a:lnTo>
                  <a:lnTo>
                    <a:pt x="427" y="1349"/>
                  </a:lnTo>
                  <a:lnTo>
                    <a:pt x="432" y="1332"/>
                  </a:lnTo>
                  <a:lnTo>
                    <a:pt x="427" y="1280"/>
                  </a:lnTo>
                  <a:lnTo>
                    <a:pt x="423" y="1270"/>
                  </a:lnTo>
                  <a:lnTo>
                    <a:pt x="423" y="1238"/>
                  </a:lnTo>
                  <a:lnTo>
                    <a:pt x="413" y="1227"/>
                  </a:lnTo>
                  <a:lnTo>
                    <a:pt x="418" y="1202"/>
                  </a:lnTo>
                  <a:lnTo>
                    <a:pt x="427" y="1202"/>
                  </a:lnTo>
                  <a:lnTo>
                    <a:pt x="451" y="1186"/>
                  </a:lnTo>
                  <a:lnTo>
                    <a:pt x="432" y="1137"/>
                  </a:lnTo>
                  <a:lnTo>
                    <a:pt x="423" y="1122"/>
                  </a:lnTo>
                  <a:lnTo>
                    <a:pt x="423" y="1118"/>
                  </a:lnTo>
                  <a:lnTo>
                    <a:pt x="423" y="1078"/>
                  </a:lnTo>
                  <a:lnTo>
                    <a:pt x="437" y="1046"/>
                  </a:lnTo>
                  <a:lnTo>
                    <a:pt x="441" y="1014"/>
                  </a:lnTo>
                  <a:lnTo>
                    <a:pt x="446" y="977"/>
                  </a:lnTo>
                  <a:lnTo>
                    <a:pt x="441" y="945"/>
                  </a:lnTo>
                  <a:lnTo>
                    <a:pt x="451" y="924"/>
                  </a:lnTo>
                  <a:lnTo>
                    <a:pt x="456" y="908"/>
                  </a:lnTo>
                  <a:lnTo>
                    <a:pt x="484" y="887"/>
                  </a:lnTo>
                  <a:lnTo>
                    <a:pt x="511" y="877"/>
                  </a:lnTo>
                  <a:lnTo>
                    <a:pt x="536" y="887"/>
                  </a:lnTo>
                  <a:lnTo>
                    <a:pt x="544" y="893"/>
                  </a:lnTo>
                  <a:lnTo>
                    <a:pt x="558" y="872"/>
                  </a:lnTo>
                  <a:lnTo>
                    <a:pt x="558" y="846"/>
                  </a:lnTo>
                  <a:lnTo>
                    <a:pt x="544" y="798"/>
                  </a:lnTo>
                  <a:lnTo>
                    <a:pt x="539" y="778"/>
                  </a:lnTo>
                  <a:lnTo>
                    <a:pt x="544" y="766"/>
                  </a:lnTo>
                  <a:lnTo>
                    <a:pt x="553" y="766"/>
                  </a:lnTo>
                  <a:lnTo>
                    <a:pt x="563" y="751"/>
                  </a:lnTo>
                  <a:lnTo>
                    <a:pt x="568" y="719"/>
                  </a:lnTo>
                  <a:lnTo>
                    <a:pt x="572" y="677"/>
                  </a:lnTo>
                  <a:lnTo>
                    <a:pt x="577" y="635"/>
                  </a:lnTo>
                  <a:lnTo>
                    <a:pt x="591" y="618"/>
                  </a:lnTo>
                  <a:lnTo>
                    <a:pt x="619" y="598"/>
                  </a:lnTo>
                  <a:lnTo>
                    <a:pt x="638" y="587"/>
                  </a:lnTo>
                  <a:lnTo>
                    <a:pt x="643" y="556"/>
                  </a:lnTo>
                  <a:lnTo>
                    <a:pt x="652" y="534"/>
                  </a:lnTo>
                  <a:lnTo>
                    <a:pt x="676" y="513"/>
                  </a:lnTo>
                  <a:lnTo>
                    <a:pt x="681" y="497"/>
                  </a:lnTo>
                  <a:lnTo>
                    <a:pt x="676" y="482"/>
                  </a:lnTo>
                  <a:lnTo>
                    <a:pt x="676" y="460"/>
                  </a:lnTo>
                  <a:lnTo>
                    <a:pt x="695" y="445"/>
                  </a:lnTo>
                  <a:lnTo>
                    <a:pt x="718" y="398"/>
                  </a:lnTo>
                  <a:lnTo>
                    <a:pt x="734" y="402"/>
                  </a:lnTo>
                  <a:lnTo>
                    <a:pt x="762" y="376"/>
                  </a:lnTo>
                  <a:lnTo>
                    <a:pt x="758" y="355"/>
                  </a:lnTo>
                  <a:lnTo>
                    <a:pt x="776" y="334"/>
                  </a:lnTo>
                  <a:lnTo>
                    <a:pt x="786" y="340"/>
                  </a:lnTo>
                  <a:lnTo>
                    <a:pt x="805" y="334"/>
                  </a:lnTo>
                  <a:lnTo>
                    <a:pt x="833" y="340"/>
                  </a:lnTo>
                  <a:lnTo>
                    <a:pt x="870" y="303"/>
                  </a:lnTo>
                  <a:lnTo>
                    <a:pt x="866" y="281"/>
                  </a:lnTo>
                  <a:lnTo>
                    <a:pt x="870" y="271"/>
                  </a:lnTo>
                  <a:lnTo>
                    <a:pt x="861" y="267"/>
                  </a:lnTo>
                  <a:lnTo>
                    <a:pt x="880" y="247"/>
                  </a:lnTo>
                  <a:lnTo>
                    <a:pt x="908" y="243"/>
                  </a:lnTo>
                  <a:lnTo>
                    <a:pt x="927" y="271"/>
                  </a:lnTo>
                  <a:lnTo>
                    <a:pt x="960" y="312"/>
                  </a:lnTo>
                  <a:lnTo>
                    <a:pt x="974" y="312"/>
                  </a:lnTo>
                  <a:lnTo>
                    <a:pt x="993" y="297"/>
                  </a:lnTo>
                  <a:lnTo>
                    <a:pt x="1007" y="293"/>
                  </a:lnTo>
                  <a:lnTo>
                    <a:pt x="1016" y="297"/>
                  </a:lnTo>
                  <a:lnTo>
                    <a:pt x="1031" y="312"/>
                  </a:lnTo>
                  <a:lnTo>
                    <a:pt x="1048" y="318"/>
                  </a:lnTo>
                  <a:lnTo>
                    <a:pt x="1053" y="312"/>
                  </a:lnTo>
                  <a:lnTo>
                    <a:pt x="1062" y="293"/>
                  </a:lnTo>
                  <a:lnTo>
                    <a:pt x="1067" y="281"/>
                  </a:lnTo>
                  <a:lnTo>
                    <a:pt x="1086" y="247"/>
                  </a:lnTo>
                  <a:lnTo>
                    <a:pt x="1091" y="243"/>
                  </a:lnTo>
                  <a:lnTo>
                    <a:pt x="1086" y="189"/>
                  </a:lnTo>
                  <a:lnTo>
                    <a:pt x="1110" y="163"/>
                  </a:lnTo>
                  <a:lnTo>
                    <a:pt x="1119" y="169"/>
                  </a:lnTo>
                  <a:lnTo>
                    <a:pt x="1147" y="136"/>
                  </a:lnTo>
                  <a:lnTo>
                    <a:pt x="1171" y="169"/>
                  </a:lnTo>
                  <a:lnTo>
                    <a:pt x="1180" y="179"/>
                  </a:lnTo>
                  <a:lnTo>
                    <a:pt x="1194" y="173"/>
                  </a:lnTo>
                  <a:lnTo>
                    <a:pt x="1204" y="189"/>
                  </a:lnTo>
                  <a:lnTo>
                    <a:pt x="1204" y="200"/>
                  </a:lnTo>
                  <a:lnTo>
                    <a:pt x="1213" y="210"/>
                  </a:lnTo>
                  <a:lnTo>
                    <a:pt x="1213" y="226"/>
                  </a:lnTo>
                  <a:lnTo>
                    <a:pt x="1227" y="206"/>
                  </a:lnTo>
                  <a:lnTo>
                    <a:pt x="1251" y="184"/>
                  </a:lnTo>
                  <a:lnTo>
                    <a:pt x="1265" y="152"/>
                  </a:lnTo>
                  <a:lnTo>
                    <a:pt x="1255" y="147"/>
                  </a:lnTo>
                  <a:lnTo>
                    <a:pt x="1241" y="163"/>
                  </a:lnTo>
                  <a:lnTo>
                    <a:pt x="1237" y="136"/>
                  </a:lnTo>
                  <a:lnTo>
                    <a:pt x="1227" y="132"/>
                  </a:lnTo>
                  <a:lnTo>
                    <a:pt x="1223" y="116"/>
                  </a:lnTo>
                  <a:lnTo>
                    <a:pt x="1260" y="83"/>
                  </a:lnTo>
                  <a:lnTo>
                    <a:pt x="1274" y="89"/>
                  </a:lnTo>
                  <a:lnTo>
                    <a:pt x="1279" y="68"/>
                  </a:lnTo>
                  <a:lnTo>
                    <a:pt x="1270" y="62"/>
                  </a:lnTo>
                  <a:lnTo>
                    <a:pt x="1246" y="52"/>
                  </a:lnTo>
                  <a:lnTo>
                    <a:pt x="1232" y="46"/>
                  </a:lnTo>
                  <a:lnTo>
                    <a:pt x="1213" y="27"/>
                  </a:lnTo>
                  <a:lnTo>
                    <a:pt x="1194" y="21"/>
                  </a:lnTo>
                  <a:lnTo>
                    <a:pt x="1175" y="42"/>
                  </a:lnTo>
                  <a:lnTo>
                    <a:pt x="1166" y="58"/>
                  </a:lnTo>
                  <a:lnTo>
                    <a:pt x="1147" y="42"/>
                  </a:lnTo>
                  <a:lnTo>
                    <a:pt x="1157" y="31"/>
                  </a:lnTo>
                  <a:lnTo>
                    <a:pt x="1161" y="5"/>
                  </a:lnTo>
                  <a:lnTo>
                    <a:pt x="1157" y="0"/>
                  </a:lnTo>
                  <a:lnTo>
                    <a:pt x="1133" y="0"/>
                  </a:lnTo>
                  <a:lnTo>
                    <a:pt x="1128" y="10"/>
                  </a:lnTo>
                  <a:lnTo>
                    <a:pt x="1124" y="27"/>
                  </a:lnTo>
                  <a:lnTo>
                    <a:pt x="1128" y="42"/>
                  </a:lnTo>
                  <a:lnTo>
                    <a:pt x="1110" y="62"/>
                  </a:lnTo>
                  <a:lnTo>
                    <a:pt x="1095" y="31"/>
                  </a:lnTo>
                  <a:lnTo>
                    <a:pt x="1081" y="37"/>
                  </a:lnTo>
                  <a:lnTo>
                    <a:pt x="1078" y="62"/>
                  </a:lnTo>
                  <a:lnTo>
                    <a:pt x="1067" y="99"/>
                  </a:lnTo>
                  <a:lnTo>
                    <a:pt x="1045" y="126"/>
                  </a:lnTo>
                  <a:lnTo>
                    <a:pt x="1031" y="95"/>
                  </a:lnTo>
                  <a:lnTo>
                    <a:pt x="1053" y="74"/>
                  </a:lnTo>
                  <a:lnTo>
                    <a:pt x="1059" y="42"/>
                  </a:lnTo>
                  <a:lnTo>
                    <a:pt x="1045" y="42"/>
                  </a:lnTo>
                  <a:lnTo>
                    <a:pt x="1021" y="42"/>
                  </a:lnTo>
                  <a:lnTo>
                    <a:pt x="1002" y="74"/>
                  </a:lnTo>
                  <a:lnTo>
                    <a:pt x="979" y="116"/>
                  </a:lnTo>
                  <a:lnTo>
                    <a:pt x="988" y="136"/>
                  </a:lnTo>
                  <a:lnTo>
                    <a:pt x="974" y="147"/>
                  </a:lnTo>
                  <a:lnTo>
                    <a:pt x="955" y="132"/>
                  </a:lnTo>
                  <a:lnTo>
                    <a:pt x="936" y="142"/>
                  </a:lnTo>
                  <a:lnTo>
                    <a:pt x="941" y="163"/>
                  </a:lnTo>
                  <a:lnTo>
                    <a:pt x="918" y="163"/>
                  </a:lnTo>
                  <a:lnTo>
                    <a:pt x="903" y="169"/>
                  </a:lnTo>
                  <a:lnTo>
                    <a:pt x="885" y="194"/>
                  </a:lnTo>
                  <a:lnTo>
                    <a:pt x="861" y="189"/>
                  </a:lnTo>
                  <a:lnTo>
                    <a:pt x="861" y="206"/>
                  </a:lnTo>
                  <a:lnTo>
                    <a:pt x="842" y="189"/>
                  </a:lnTo>
                  <a:lnTo>
                    <a:pt x="819" y="200"/>
                  </a:lnTo>
                  <a:lnTo>
                    <a:pt x="814" y="221"/>
                  </a:lnTo>
                  <a:lnTo>
                    <a:pt x="795" y="226"/>
                  </a:lnTo>
                  <a:lnTo>
                    <a:pt x="781" y="206"/>
                  </a:lnTo>
                  <a:lnTo>
                    <a:pt x="753" y="210"/>
                  </a:lnTo>
                  <a:lnTo>
                    <a:pt x="725" y="221"/>
                  </a:lnTo>
                  <a:lnTo>
                    <a:pt x="725" y="253"/>
                  </a:lnTo>
                  <a:lnTo>
                    <a:pt x="743" y="258"/>
                  </a:lnTo>
                  <a:lnTo>
                    <a:pt x="743" y="267"/>
                  </a:lnTo>
                  <a:lnTo>
                    <a:pt x="743" y="287"/>
                  </a:lnTo>
                  <a:lnTo>
                    <a:pt x="729" y="281"/>
                  </a:lnTo>
                  <a:lnTo>
                    <a:pt x="713" y="293"/>
                  </a:lnTo>
                  <a:lnTo>
                    <a:pt x="718" y="312"/>
                  </a:lnTo>
                  <a:lnTo>
                    <a:pt x="734" y="330"/>
                  </a:lnTo>
                  <a:lnTo>
                    <a:pt x="734" y="355"/>
                  </a:lnTo>
                  <a:lnTo>
                    <a:pt x="718" y="345"/>
                  </a:lnTo>
                  <a:lnTo>
                    <a:pt x="704" y="349"/>
                  </a:lnTo>
                  <a:lnTo>
                    <a:pt x="704" y="371"/>
                  </a:lnTo>
                  <a:lnTo>
                    <a:pt x="681" y="371"/>
                  </a:lnTo>
                  <a:lnTo>
                    <a:pt x="662" y="371"/>
                  </a:lnTo>
                  <a:lnTo>
                    <a:pt x="657" y="386"/>
                  </a:lnTo>
                  <a:lnTo>
                    <a:pt x="652" y="398"/>
                  </a:lnTo>
                  <a:lnTo>
                    <a:pt x="638" y="402"/>
                  </a:lnTo>
                  <a:lnTo>
                    <a:pt x="633" y="413"/>
                  </a:lnTo>
                  <a:lnTo>
                    <a:pt x="638" y="429"/>
                  </a:lnTo>
                  <a:lnTo>
                    <a:pt x="610" y="439"/>
                  </a:lnTo>
                  <a:lnTo>
                    <a:pt x="629" y="460"/>
                  </a:lnTo>
                  <a:lnTo>
                    <a:pt x="633" y="472"/>
                  </a:lnTo>
                  <a:lnTo>
                    <a:pt x="615" y="487"/>
                  </a:lnTo>
                  <a:lnTo>
                    <a:pt x="582" y="513"/>
                  </a:lnTo>
                  <a:lnTo>
                    <a:pt x="558" y="534"/>
                  </a:lnTo>
                  <a:lnTo>
                    <a:pt x="544" y="566"/>
                  </a:lnTo>
                  <a:lnTo>
                    <a:pt x="520" y="587"/>
                  </a:lnTo>
                  <a:lnTo>
                    <a:pt x="520" y="603"/>
                  </a:lnTo>
                  <a:lnTo>
                    <a:pt x="525" y="618"/>
                  </a:lnTo>
                  <a:lnTo>
                    <a:pt x="506" y="635"/>
                  </a:lnTo>
                  <a:lnTo>
                    <a:pt x="511" y="655"/>
                  </a:lnTo>
                  <a:lnTo>
                    <a:pt x="492" y="692"/>
                  </a:lnTo>
                  <a:lnTo>
                    <a:pt x="479" y="698"/>
                  </a:lnTo>
                  <a:lnTo>
                    <a:pt x="479" y="725"/>
                  </a:lnTo>
                  <a:lnTo>
                    <a:pt x="489" y="741"/>
                  </a:lnTo>
                  <a:lnTo>
                    <a:pt x="473" y="756"/>
                  </a:lnTo>
                  <a:lnTo>
                    <a:pt x="465" y="745"/>
                  </a:lnTo>
                  <a:lnTo>
                    <a:pt x="446" y="756"/>
                  </a:lnTo>
                  <a:lnTo>
                    <a:pt x="451" y="788"/>
                  </a:lnTo>
                  <a:lnTo>
                    <a:pt x="432" y="798"/>
                  </a:lnTo>
                  <a:lnTo>
                    <a:pt x="404" y="803"/>
                  </a:lnTo>
                  <a:lnTo>
                    <a:pt x="385" y="830"/>
                  </a:lnTo>
                  <a:lnTo>
                    <a:pt x="380" y="856"/>
                  </a:lnTo>
                  <a:lnTo>
                    <a:pt x="361" y="877"/>
                  </a:lnTo>
                  <a:lnTo>
                    <a:pt x="361" y="893"/>
                  </a:lnTo>
                  <a:lnTo>
                    <a:pt x="385" y="872"/>
                  </a:lnTo>
                  <a:lnTo>
                    <a:pt x="413" y="850"/>
                  </a:lnTo>
                  <a:lnTo>
                    <a:pt x="423" y="856"/>
                  </a:lnTo>
                  <a:lnTo>
                    <a:pt x="413" y="887"/>
                  </a:lnTo>
                  <a:lnTo>
                    <a:pt x="390" y="904"/>
                  </a:lnTo>
                  <a:lnTo>
                    <a:pt x="366" y="899"/>
                  </a:lnTo>
                  <a:lnTo>
                    <a:pt x="371" y="920"/>
                  </a:lnTo>
                  <a:lnTo>
                    <a:pt x="338" y="936"/>
                  </a:lnTo>
                  <a:lnTo>
                    <a:pt x="333" y="904"/>
                  </a:lnTo>
                  <a:lnTo>
                    <a:pt x="319" y="893"/>
                  </a:lnTo>
                  <a:lnTo>
                    <a:pt x="300" y="924"/>
                  </a:lnTo>
                  <a:lnTo>
                    <a:pt x="281" y="924"/>
                  </a:lnTo>
                  <a:lnTo>
                    <a:pt x="261" y="930"/>
                  </a:lnTo>
                  <a:lnTo>
                    <a:pt x="258" y="957"/>
                  </a:lnTo>
                  <a:lnTo>
                    <a:pt x="248" y="961"/>
                  </a:lnTo>
                  <a:lnTo>
                    <a:pt x="248" y="975"/>
                  </a:lnTo>
                  <a:lnTo>
                    <a:pt x="237" y="970"/>
                  </a:lnTo>
                  <a:lnTo>
                    <a:pt x="220" y="958"/>
                  </a:lnTo>
                  <a:lnTo>
                    <a:pt x="195" y="961"/>
                  </a:lnTo>
                  <a:lnTo>
                    <a:pt x="195" y="977"/>
                  </a:lnTo>
                  <a:lnTo>
                    <a:pt x="197" y="991"/>
                  </a:lnTo>
                  <a:lnTo>
                    <a:pt x="187" y="995"/>
                  </a:lnTo>
                  <a:lnTo>
                    <a:pt x="164" y="982"/>
                  </a:lnTo>
                  <a:lnTo>
                    <a:pt x="143" y="1001"/>
                  </a:lnTo>
                  <a:lnTo>
                    <a:pt x="148" y="1017"/>
                  </a:lnTo>
                  <a:lnTo>
                    <a:pt x="145" y="1028"/>
                  </a:lnTo>
                  <a:lnTo>
                    <a:pt x="124" y="1017"/>
                  </a:lnTo>
                  <a:lnTo>
                    <a:pt x="118" y="1031"/>
                  </a:lnTo>
                  <a:lnTo>
                    <a:pt x="110" y="1041"/>
                  </a:lnTo>
                  <a:lnTo>
                    <a:pt x="85" y="1035"/>
                  </a:lnTo>
                  <a:lnTo>
                    <a:pt x="71" y="1038"/>
                  </a:lnTo>
                  <a:lnTo>
                    <a:pt x="68" y="1059"/>
                  </a:lnTo>
                  <a:lnTo>
                    <a:pt x="58" y="1065"/>
                  </a:lnTo>
                  <a:lnTo>
                    <a:pt x="44" y="1088"/>
                  </a:lnTo>
                  <a:lnTo>
                    <a:pt x="47" y="1118"/>
                  </a:lnTo>
                  <a:lnTo>
                    <a:pt x="42" y="1159"/>
                  </a:lnTo>
                  <a:lnTo>
                    <a:pt x="35" y="1202"/>
                  </a:lnTo>
                  <a:lnTo>
                    <a:pt x="30" y="1241"/>
                  </a:lnTo>
                  <a:lnTo>
                    <a:pt x="25" y="1261"/>
                  </a:lnTo>
                  <a:lnTo>
                    <a:pt x="38" y="1280"/>
                  </a:lnTo>
                  <a:lnTo>
                    <a:pt x="58" y="1264"/>
                  </a:lnTo>
                  <a:lnTo>
                    <a:pt x="72" y="1273"/>
                  </a:lnTo>
                  <a:lnTo>
                    <a:pt x="72" y="1288"/>
                  </a:lnTo>
                  <a:lnTo>
                    <a:pt x="52" y="1301"/>
                  </a:lnTo>
                  <a:lnTo>
                    <a:pt x="49" y="1328"/>
                  </a:lnTo>
                  <a:lnTo>
                    <a:pt x="44" y="1341"/>
                  </a:lnTo>
                  <a:lnTo>
                    <a:pt x="24" y="1338"/>
                  </a:lnTo>
                  <a:lnTo>
                    <a:pt x="16" y="1369"/>
                  </a:lnTo>
                  <a:lnTo>
                    <a:pt x="25" y="1378"/>
                  </a:lnTo>
                  <a:lnTo>
                    <a:pt x="44" y="1372"/>
                  </a:lnTo>
                  <a:lnTo>
                    <a:pt x="54" y="1386"/>
                  </a:lnTo>
                  <a:lnTo>
                    <a:pt x="56" y="1394"/>
                  </a:lnTo>
                  <a:lnTo>
                    <a:pt x="40" y="1405"/>
                  </a:lnTo>
                  <a:lnTo>
                    <a:pt x="42" y="1423"/>
                  </a:lnTo>
                  <a:lnTo>
                    <a:pt x="24" y="1428"/>
                  </a:lnTo>
                  <a:lnTo>
                    <a:pt x="11" y="1418"/>
                  </a:lnTo>
                  <a:lnTo>
                    <a:pt x="14" y="1443"/>
                  </a:lnTo>
                  <a:lnTo>
                    <a:pt x="11" y="1462"/>
                  </a:lnTo>
                  <a:lnTo>
                    <a:pt x="0" y="1462"/>
                  </a:lnTo>
                  <a:lnTo>
                    <a:pt x="28" y="1495"/>
                  </a:lnTo>
                  <a:lnTo>
                    <a:pt x="42" y="1513"/>
                  </a:lnTo>
                  <a:lnTo>
                    <a:pt x="49" y="1539"/>
                  </a:lnTo>
                  <a:lnTo>
                    <a:pt x="77" y="1557"/>
                  </a:lnTo>
                  <a:lnTo>
                    <a:pt x="107" y="1576"/>
                  </a:lnTo>
                  <a:lnTo>
                    <a:pt x="137" y="1576"/>
                  </a:lnTo>
                  <a:lnTo>
                    <a:pt x="178" y="1544"/>
                  </a:lnTo>
                  <a:lnTo>
                    <a:pt x="220" y="1510"/>
                  </a:lnTo>
                  <a:lnTo>
                    <a:pt x="258" y="1452"/>
                  </a:lnTo>
                  <a:lnTo>
                    <a:pt x="265" y="1446"/>
                  </a:lnTo>
                  <a:lnTo>
                    <a:pt x="275" y="1465"/>
                  </a:lnTo>
                  <a:lnTo>
                    <a:pt x="294" y="1452"/>
                  </a:lnTo>
                  <a:lnTo>
                    <a:pt x="300" y="1431"/>
                  </a:lnTo>
                  <a:lnTo>
                    <a:pt x="302" y="1405"/>
                  </a:lnTo>
                  <a:lnTo>
                    <a:pt x="321" y="1372"/>
                  </a:lnTo>
                  <a:lnTo>
                    <a:pt x="314" y="1409"/>
                  </a:lnTo>
                  <a:lnTo>
                    <a:pt x="324" y="1415"/>
                  </a:lnTo>
                  <a:lnTo>
                    <a:pt x="319" y="1431"/>
                  </a:lnTo>
                  <a:lnTo>
                    <a:pt x="324" y="1459"/>
                  </a:lnTo>
                  <a:lnTo>
                    <a:pt x="333" y="1483"/>
                  </a:lnTo>
                  <a:lnTo>
                    <a:pt x="344" y="1476"/>
                  </a:lnTo>
                  <a:lnTo>
                    <a:pt x="343" y="148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2" name="Freeform 553"/>
            <p:cNvSpPr>
              <a:spLocks noChangeAspect="1"/>
            </p:cNvSpPr>
            <p:nvPr/>
          </p:nvSpPr>
          <p:spPr bwMode="auto">
            <a:xfrm>
              <a:off x="2537422" y="1148650"/>
              <a:ext cx="36" cy="42"/>
            </a:xfrm>
            <a:custGeom>
              <a:avLst/>
              <a:gdLst>
                <a:gd name="T0" fmla="*/ 38 w 38"/>
                <a:gd name="T1" fmla="*/ 9 h 56"/>
                <a:gd name="T2" fmla="*/ 34 w 38"/>
                <a:gd name="T3" fmla="*/ 21 h 56"/>
                <a:gd name="T4" fmla="*/ 38 w 38"/>
                <a:gd name="T5" fmla="*/ 47 h 56"/>
                <a:gd name="T6" fmla="*/ 11 w 38"/>
                <a:gd name="T7" fmla="*/ 56 h 56"/>
                <a:gd name="T8" fmla="*/ 0 w 38"/>
                <a:gd name="T9" fmla="*/ 43 h 56"/>
                <a:gd name="T10" fmla="*/ 0 w 38"/>
                <a:gd name="T11" fmla="*/ 21 h 56"/>
                <a:gd name="T12" fmla="*/ 8 w 38"/>
                <a:gd name="T13" fmla="*/ 0 h 56"/>
                <a:gd name="T14" fmla="*/ 38 w 38"/>
                <a:gd name="T15" fmla="*/ 9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6">
                  <a:moveTo>
                    <a:pt x="38" y="9"/>
                  </a:moveTo>
                  <a:lnTo>
                    <a:pt x="34" y="21"/>
                  </a:lnTo>
                  <a:lnTo>
                    <a:pt x="38" y="47"/>
                  </a:lnTo>
                  <a:lnTo>
                    <a:pt x="11" y="56"/>
                  </a:lnTo>
                  <a:lnTo>
                    <a:pt x="0" y="43"/>
                  </a:lnTo>
                  <a:lnTo>
                    <a:pt x="0" y="21"/>
                  </a:lnTo>
                  <a:lnTo>
                    <a:pt x="8" y="0"/>
                  </a:lnTo>
                  <a:lnTo>
                    <a:pt x="38" y="9"/>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3" name="Freeform 554"/>
            <p:cNvSpPr>
              <a:spLocks noChangeAspect="1"/>
            </p:cNvSpPr>
            <p:nvPr/>
          </p:nvSpPr>
          <p:spPr bwMode="auto">
            <a:xfrm>
              <a:off x="2537367" y="1148679"/>
              <a:ext cx="32" cy="22"/>
            </a:xfrm>
            <a:custGeom>
              <a:avLst/>
              <a:gdLst>
                <a:gd name="T0" fmla="*/ 31 w 34"/>
                <a:gd name="T1" fmla="*/ 0 h 30"/>
                <a:gd name="T2" fmla="*/ 34 w 34"/>
                <a:gd name="T3" fmla="*/ 22 h 30"/>
                <a:gd name="T4" fmla="*/ 8 w 34"/>
                <a:gd name="T5" fmla="*/ 30 h 30"/>
                <a:gd name="T6" fmla="*/ 0 w 34"/>
                <a:gd name="T7" fmla="*/ 9 h 30"/>
                <a:gd name="T8" fmla="*/ 31 w 34"/>
                <a:gd name="T9" fmla="*/ 0 h 30"/>
              </a:gdLst>
              <a:ahLst/>
              <a:cxnLst>
                <a:cxn ang="0">
                  <a:pos x="T0" y="T1"/>
                </a:cxn>
                <a:cxn ang="0">
                  <a:pos x="T2" y="T3"/>
                </a:cxn>
                <a:cxn ang="0">
                  <a:pos x="T4" y="T5"/>
                </a:cxn>
                <a:cxn ang="0">
                  <a:pos x="T6" y="T7"/>
                </a:cxn>
                <a:cxn ang="0">
                  <a:pos x="T8" y="T9"/>
                </a:cxn>
              </a:cxnLst>
              <a:rect l="0" t="0" r="r" b="b"/>
              <a:pathLst>
                <a:path w="34" h="30">
                  <a:moveTo>
                    <a:pt x="31" y="0"/>
                  </a:moveTo>
                  <a:lnTo>
                    <a:pt x="34" y="22"/>
                  </a:lnTo>
                  <a:lnTo>
                    <a:pt x="8" y="30"/>
                  </a:lnTo>
                  <a:lnTo>
                    <a:pt x="0" y="9"/>
                  </a:lnTo>
                  <a:lnTo>
                    <a:pt x="3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4" name="Freeform 555"/>
            <p:cNvSpPr>
              <a:spLocks noChangeAspect="1"/>
            </p:cNvSpPr>
            <p:nvPr/>
          </p:nvSpPr>
          <p:spPr bwMode="auto">
            <a:xfrm>
              <a:off x="2537376" y="1148632"/>
              <a:ext cx="40" cy="27"/>
            </a:xfrm>
            <a:custGeom>
              <a:avLst/>
              <a:gdLst>
                <a:gd name="T0" fmla="*/ 0 w 41"/>
                <a:gd name="T1" fmla="*/ 23 h 36"/>
                <a:gd name="T2" fmla="*/ 30 w 41"/>
                <a:gd name="T3" fmla="*/ 36 h 36"/>
                <a:gd name="T4" fmla="*/ 41 w 41"/>
                <a:gd name="T5" fmla="*/ 9 h 36"/>
                <a:gd name="T6" fmla="*/ 22 w 41"/>
                <a:gd name="T7" fmla="*/ 0 h 36"/>
                <a:gd name="T8" fmla="*/ 11 w 41"/>
                <a:gd name="T9" fmla="*/ 9 h 36"/>
                <a:gd name="T10" fmla="*/ 0 w 41"/>
                <a:gd name="T11" fmla="*/ 16 h 36"/>
                <a:gd name="T12" fmla="*/ 0 w 41"/>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1" h="36">
                  <a:moveTo>
                    <a:pt x="0" y="23"/>
                  </a:moveTo>
                  <a:lnTo>
                    <a:pt x="30" y="36"/>
                  </a:lnTo>
                  <a:lnTo>
                    <a:pt x="41" y="9"/>
                  </a:lnTo>
                  <a:lnTo>
                    <a:pt x="22" y="0"/>
                  </a:lnTo>
                  <a:lnTo>
                    <a:pt x="11" y="9"/>
                  </a:lnTo>
                  <a:lnTo>
                    <a:pt x="0" y="16"/>
                  </a:lnTo>
                  <a:lnTo>
                    <a:pt x="0" y="2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5" name="Freeform 556"/>
            <p:cNvSpPr>
              <a:spLocks noChangeAspect="1"/>
            </p:cNvSpPr>
            <p:nvPr/>
          </p:nvSpPr>
          <p:spPr bwMode="auto">
            <a:xfrm>
              <a:off x="2537422" y="1148608"/>
              <a:ext cx="29" cy="17"/>
            </a:xfrm>
            <a:custGeom>
              <a:avLst/>
              <a:gdLst>
                <a:gd name="T0" fmla="*/ 0 w 30"/>
                <a:gd name="T1" fmla="*/ 22 h 22"/>
                <a:gd name="T2" fmla="*/ 23 w 30"/>
                <a:gd name="T3" fmla="*/ 0 h 22"/>
                <a:gd name="T4" fmla="*/ 30 w 30"/>
                <a:gd name="T5" fmla="*/ 8 h 22"/>
                <a:gd name="T6" fmla="*/ 0 w 30"/>
                <a:gd name="T7" fmla="*/ 22 h 22"/>
              </a:gdLst>
              <a:ahLst/>
              <a:cxnLst>
                <a:cxn ang="0">
                  <a:pos x="T0" y="T1"/>
                </a:cxn>
                <a:cxn ang="0">
                  <a:pos x="T2" y="T3"/>
                </a:cxn>
                <a:cxn ang="0">
                  <a:pos x="T4" y="T5"/>
                </a:cxn>
                <a:cxn ang="0">
                  <a:pos x="T6" y="T7"/>
                </a:cxn>
              </a:cxnLst>
              <a:rect l="0" t="0" r="r" b="b"/>
              <a:pathLst>
                <a:path w="30" h="22">
                  <a:moveTo>
                    <a:pt x="0" y="22"/>
                  </a:moveTo>
                  <a:lnTo>
                    <a:pt x="23" y="0"/>
                  </a:lnTo>
                  <a:lnTo>
                    <a:pt x="30" y="8"/>
                  </a:lnTo>
                  <a:lnTo>
                    <a:pt x="0" y="22"/>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6" name="Freeform 557"/>
            <p:cNvSpPr>
              <a:spLocks noChangeAspect="1"/>
            </p:cNvSpPr>
            <p:nvPr/>
          </p:nvSpPr>
          <p:spPr bwMode="auto">
            <a:xfrm>
              <a:off x="2537321" y="1148688"/>
              <a:ext cx="20" cy="19"/>
            </a:xfrm>
            <a:custGeom>
              <a:avLst/>
              <a:gdLst>
                <a:gd name="T0" fmla="*/ 19 w 23"/>
                <a:gd name="T1" fmla="*/ 0 h 26"/>
                <a:gd name="T2" fmla="*/ 23 w 23"/>
                <a:gd name="T3" fmla="*/ 22 h 26"/>
                <a:gd name="T4" fmla="*/ 0 w 23"/>
                <a:gd name="T5" fmla="*/ 26 h 26"/>
                <a:gd name="T6" fmla="*/ 19 w 23"/>
                <a:gd name="T7" fmla="*/ 0 h 26"/>
              </a:gdLst>
              <a:ahLst/>
              <a:cxnLst>
                <a:cxn ang="0">
                  <a:pos x="T0" y="T1"/>
                </a:cxn>
                <a:cxn ang="0">
                  <a:pos x="T2" y="T3"/>
                </a:cxn>
                <a:cxn ang="0">
                  <a:pos x="T4" y="T5"/>
                </a:cxn>
                <a:cxn ang="0">
                  <a:pos x="T6" y="T7"/>
                </a:cxn>
              </a:cxnLst>
              <a:rect l="0" t="0" r="r" b="b"/>
              <a:pathLst>
                <a:path w="23" h="26">
                  <a:moveTo>
                    <a:pt x="19" y="0"/>
                  </a:moveTo>
                  <a:lnTo>
                    <a:pt x="23" y="22"/>
                  </a:lnTo>
                  <a:lnTo>
                    <a:pt x="0" y="26"/>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7" name="Freeform 558"/>
            <p:cNvSpPr>
              <a:spLocks noChangeAspect="1"/>
            </p:cNvSpPr>
            <p:nvPr/>
          </p:nvSpPr>
          <p:spPr bwMode="auto">
            <a:xfrm>
              <a:off x="2537543" y="1148555"/>
              <a:ext cx="40" cy="29"/>
            </a:xfrm>
            <a:custGeom>
              <a:avLst/>
              <a:gdLst>
                <a:gd name="T0" fmla="*/ 19 w 42"/>
                <a:gd name="T1" fmla="*/ 0 h 38"/>
                <a:gd name="T2" fmla="*/ 0 w 42"/>
                <a:gd name="T3" fmla="*/ 17 h 38"/>
                <a:gd name="T4" fmla="*/ 27 w 42"/>
                <a:gd name="T5" fmla="*/ 38 h 38"/>
                <a:gd name="T6" fmla="*/ 42 w 42"/>
                <a:gd name="T7" fmla="*/ 17 h 38"/>
                <a:gd name="T8" fmla="*/ 19 w 42"/>
                <a:gd name="T9" fmla="*/ 0 h 38"/>
              </a:gdLst>
              <a:ahLst/>
              <a:cxnLst>
                <a:cxn ang="0">
                  <a:pos x="T0" y="T1"/>
                </a:cxn>
                <a:cxn ang="0">
                  <a:pos x="T2" y="T3"/>
                </a:cxn>
                <a:cxn ang="0">
                  <a:pos x="T4" y="T5"/>
                </a:cxn>
                <a:cxn ang="0">
                  <a:pos x="T6" y="T7"/>
                </a:cxn>
                <a:cxn ang="0">
                  <a:pos x="T8" y="T9"/>
                </a:cxn>
              </a:cxnLst>
              <a:rect l="0" t="0" r="r" b="b"/>
              <a:pathLst>
                <a:path w="42" h="38">
                  <a:moveTo>
                    <a:pt x="19" y="0"/>
                  </a:moveTo>
                  <a:lnTo>
                    <a:pt x="0" y="17"/>
                  </a:lnTo>
                  <a:lnTo>
                    <a:pt x="27" y="38"/>
                  </a:lnTo>
                  <a:lnTo>
                    <a:pt x="42" y="17"/>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8" name="Freeform 559"/>
            <p:cNvSpPr>
              <a:spLocks noChangeAspect="1"/>
            </p:cNvSpPr>
            <p:nvPr/>
          </p:nvSpPr>
          <p:spPr bwMode="auto">
            <a:xfrm>
              <a:off x="2537579" y="1148530"/>
              <a:ext cx="40" cy="28"/>
            </a:xfrm>
            <a:custGeom>
              <a:avLst/>
              <a:gdLst>
                <a:gd name="T0" fmla="*/ 0 w 42"/>
                <a:gd name="T1" fmla="*/ 13 h 38"/>
                <a:gd name="T2" fmla="*/ 19 w 42"/>
                <a:gd name="T3" fmla="*/ 38 h 38"/>
                <a:gd name="T4" fmla="*/ 42 w 42"/>
                <a:gd name="T5" fmla="*/ 21 h 38"/>
                <a:gd name="T6" fmla="*/ 23 w 42"/>
                <a:gd name="T7" fmla="*/ 0 h 38"/>
                <a:gd name="T8" fmla="*/ 0 w 42"/>
                <a:gd name="T9" fmla="*/ 13 h 38"/>
              </a:gdLst>
              <a:ahLst/>
              <a:cxnLst>
                <a:cxn ang="0">
                  <a:pos x="T0" y="T1"/>
                </a:cxn>
                <a:cxn ang="0">
                  <a:pos x="T2" y="T3"/>
                </a:cxn>
                <a:cxn ang="0">
                  <a:pos x="T4" y="T5"/>
                </a:cxn>
                <a:cxn ang="0">
                  <a:pos x="T6" y="T7"/>
                </a:cxn>
                <a:cxn ang="0">
                  <a:pos x="T8" y="T9"/>
                </a:cxn>
              </a:cxnLst>
              <a:rect l="0" t="0" r="r" b="b"/>
              <a:pathLst>
                <a:path w="42" h="38">
                  <a:moveTo>
                    <a:pt x="0" y="13"/>
                  </a:moveTo>
                  <a:lnTo>
                    <a:pt x="19" y="38"/>
                  </a:lnTo>
                  <a:lnTo>
                    <a:pt x="42" y="21"/>
                  </a:lnTo>
                  <a:lnTo>
                    <a:pt x="23" y="0"/>
                  </a:lnTo>
                  <a:lnTo>
                    <a:pt x="0"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9" name="Freeform 560"/>
            <p:cNvSpPr>
              <a:spLocks noChangeAspect="1"/>
            </p:cNvSpPr>
            <p:nvPr/>
          </p:nvSpPr>
          <p:spPr bwMode="auto">
            <a:xfrm>
              <a:off x="2537682" y="1148475"/>
              <a:ext cx="58" cy="35"/>
            </a:xfrm>
            <a:custGeom>
              <a:avLst/>
              <a:gdLst>
                <a:gd name="T0" fmla="*/ 26 w 60"/>
                <a:gd name="T1" fmla="*/ 13 h 47"/>
                <a:gd name="T2" fmla="*/ 38 w 60"/>
                <a:gd name="T3" fmla="*/ 22 h 47"/>
                <a:gd name="T4" fmla="*/ 60 w 60"/>
                <a:gd name="T5" fmla="*/ 0 h 47"/>
                <a:gd name="T6" fmla="*/ 49 w 60"/>
                <a:gd name="T7" fmla="*/ 43 h 47"/>
                <a:gd name="T8" fmla="*/ 26 w 60"/>
                <a:gd name="T9" fmla="*/ 47 h 47"/>
                <a:gd name="T10" fmla="*/ 0 w 60"/>
                <a:gd name="T11" fmla="*/ 17 h 47"/>
                <a:gd name="T12" fmla="*/ 26 w 60"/>
                <a:gd name="T13" fmla="*/ 13 h 47"/>
              </a:gdLst>
              <a:ahLst/>
              <a:cxnLst>
                <a:cxn ang="0">
                  <a:pos x="T0" y="T1"/>
                </a:cxn>
                <a:cxn ang="0">
                  <a:pos x="T2" y="T3"/>
                </a:cxn>
                <a:cxn ang="0">
                  <a:pos x="T4" y="T5"/>
                </a:cxn>
                <a:cxn ang="0">
                  <a:pos x="T6" y="T7"/>
                </a:cxn>
                <a:cxn ang="0">
                  <a:pos x="T8" y="T9"/>
                </a:cxn>
                <a:cxn ang="0">
                  <a:pos x="T10" y="T11"/>
                </a:cxn>
                <a:cxn ang="0">
                  <a:pos x="T12" y="T13"/>
                </a:cxn>
              </a:cxnLst>
              <a:rect l="0" t="0" r="r" b="b"/>
              <a:pathLst>
                <a:path w="60" h="47">
                  <a:moveTo>
                    <a:pt x="26" y="13"/>
                  </a:moveTo>
                  <a:lnTo>
                    <a:pt x="38" y="22"/>
                  </a:lnTo>
                  <a:lnTo>
                    <a:pt x="60" y="0"/>
                  </a:lnTo>
                  <a:lnTo>
                    <a:pt x="49" y="43"/>
                  </a:lnTo>
                  <a:lnTo>
                    <a:pt x="26" y="47"/>
                  </a:lnTo>
                  <a:lnTo>
                    <a:pt x="0" y="17"/>
                  </a:lnTo>
                  <a:lnTo>
                    <a:pt x="26"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0" name="Freeform 561"/>
            <p:cNvSpPr>
              <a:spLocks noChangeAspect="1"/>
            </p:cNvSpPr>
            <p:nvPr/>
          </p:nvSpPr>
          <p:spPr bwMode="auto">
            <a:xfrm>
              <a:off x="2537792" y="1148442"/>
              <a:ext cx="27" cy="19"/>
            </a:xfrm>
            <a:custGeom>
              <a:avLst/>
              <a:gdLst>
                <a:gd name="T0" fmla="*/ 15 w 31"/>
                <a:gd name="T1" fmla="*/ 0 h 25"/>
                <a:gd name="T2" fmla="*/ 27 w 31"/>
                <a:gd name="T3" fmla="*/ 8 h 25"/>
                <a:gd name="T4" fmla="*/ 31 w 31"/>
                <a:gd name="T5" fmla="*/ 25 h 25"/>
                <a:gd name="T6" fmla="*/ 0 w 31"/>
                <a:gd name="T7" fmla="*/ 25 h 25"/>
                <a:gd name="T8" fmla="*/ 15 w 31"/>
                <a:gd name="T9" fmla="*/ 0 h 25"/>
              </a:gdLst>
              <a:ahLst/>
              <a:cxnLst>
                <a:cxn ang="0">
                  <a:pos x="T0" y="T1"/>
                </a:cxn>
                <a:cxn ang="0">
                  <a:pos x="T2" y="T3"/>
                </a:cxn>
                <a:cxn ang="0">
                  <a:pos x="T4" y="T5"/>
                </a:cxn>
                <a:cxn ang="0">
                  <a:pos x="T6" y="T7"/>
                </a:cxn>
                <a:cxn ang="0">
                  <a:pos x="T8" y="T9"/>
                </a:cxn>
              </a:cxnLst>
              <a:rect l="0" t="0" r="r" b="b"/>
              <a:pathLst>
                <a:path w="31" h="25">
                  <a:moveTo>
                    <a:pt x="15" y="0"/>
                  </a:moveTo>
                  <a:lnTo>
                    <a:pt x="27" y="8"/>
                  </a:lnTo>
                  <a:lnTo>
                    <a:pt x="31" y="25"/>
                  </a:lnTo>
                  <a:lnTo>
                    <a:pt x="0" y="25"/>
                  </a:lnTo>
                  <a:lnTo>
                    <a:pt x="1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1" name="Freeform 562"/>
            <p:cNvSpPr>
              <a:spLocks noChangeAspect="1"/>
            </p:cNvSpPr>
            <p:nvPr/>
          </p:nvSpPr>
          <p:spPr bwMode="auto">
            <a:xfrm>
              <a:off x="2537065" y="1149099"/>
              <a:ext cx="43" cy="24"/>
            </a:xfrm>
            <a:custGeom>
              <a:avLst/>
              <a:gdLst>
                <a:gd name="T0" fmla="*/ 46 w 46"/>
                <a:gd name="T1" fmla="*/ 17 h 29"/>
                <a:gd name="T2" fmla="*/ 12 w 46"/>
                <a:gd name="T3" fmla="*/ 0 h 29"/>
                <a:gd name="T4" fmla="*/ 0 w 46"/>
                <a:gd name="T5" fmla="*/ 12 h 29"/>
                <a:gd name="T6" fmla="*/ 4 w 46"/>
                <a:gd name="T7" fmla="*/ 29 h 29"/>
                <a:gd name="T8" fmla="*/ 46 w 46"/>
                <a:gd name="T9" fmla="*/ 17 h 29"/>
              </a:gdLst>
              <a:ahLst/>
              <a:cxnLst>
                <a:cxn ang="0">
                  <a:pos x="T0" y="T1"/>
                </a:cxn>
                <a:cxn ang="0">
                  <a:pos x="T2" y="T3"/>
                </a:cxn>
                <a:cxn ang="0">
                  <a:pos x="T4" y="T5"/>
                </a:cxn>
                <a:cxn ang="0">
                  <a:pos x="T6" y="T7"/>
                </a:cxn>
                <a:cxn ang="0">
                  <a:pos x="T8" y="T9"/>
                </a:cxn>
              </a:cxnLst>
              <a:rect l="0" t="0" r="r" b="b"/>
              <a:pathLst>
                <a:path w="46" h="29">
                  <a:moveTo>
                    <a:pt x="46" y="17"/>
                  </a:moveTo>
                  <a:lnTo>
                    <a:pt x="12" y="0"/>
                  </a:lnTo>
                  <a:lnTo>
                    <a:pt x="0" y="12"/>
                  </a:lnTo>
                  <a:lnTo>
                    <a:pt x="4" y="29"/>
                  </a:lnTo>
                  <a:lnTo>
                    <a:pt x="46" y="17"/>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0" name="MK"/>
          <p:cNvSpPr>
            <a:spLocks noChangeAspect="1"/>
          </p:cNvSpPr>
          <p:nvPr/>
        </p:nvSpPr>
        <p:spPr bwMode="auto">
          <a:xfrm>
            <a:off x="6932613" y="5165725"/>
            <a:ext cx="306387" cy="203200"/>
          </a:xfrm>
          <a:custGeom>
            <a:avLst/>
            <a:gdLst>
              <a:gd name="T0" fmla="*/ 8 w 205"/>
              <a:gd name="T1" fmla="*/ 47 h 156"/>
              <a:gd name="T2" fmla="*/ 43 w 205"/>
              <a:gd name="T3" fmla="*/ 20 h 156"/>
              <a:gd name="T4" fmla="*/ 66 w 205"/>
              <a:gd name="T5" fmla="*/ 15 h 156"/>
              <a:gd name="T6" fmla="*/ 89 w 205"/>
              <a:gd name="T7" fmla="*/ 8 h 156"/>
              <a:gd name="T8" fmla="*/ 108 w 205"/>
              <a:gd name="T9" fmla="*/ 8 h 156"/>
              <a:gd name="T10" fmla="*/ 127 w 205"/>
              <a:gd name="T11" fmla="*/ 0 h 156"/>
              <a:gd name="T12" fmla="*/ 159 w 205"/>
              <a:gd name="T13" fmla="*/ 8 h 156"/>
              <a:gd name="T14" fmla="*/ 178 w 205"/>
              <a:gd name="T15" fmla="*/ 7 h 156"/>
              <a:gd name="T16" fmla="*/ 197 w 205"/>
              <a:gd name="T17" fmla="*/ 28 h 156"/>
              <a:gd name="T18" fmla="*/ 195 w 205"/>
              <a:gd name="T19" fmla="*/ 89 h 156"/>
              <a:gd name="T20" fmla="*/ 205 w 205"/>
              <a:gd name="T21" fmla="*/ 97 h 156"/>
              <a:gd name="T22" fmla="*/ 191 w 205"/>
              <a:gd name="T23" fmla="*/ 122 h 156"/>
              <a:gd name="T24" fmla="*/ 146 w 205"/>
              <a:gd name="T25" fmla="*/ 132 h 156"/>
              <a:gd name="T26" fmla="*/ 127 w 205"/>
              <a:gd name="T27" fmla="*/ 126 h 156"/>
              <a:gd name="T28" fmla="*/ 114 w 205"/>
              <a:gd name="T29" fmla="*/ 156 h 156"/>
              <a:gd name="T30" fmla="*/ 80 w 205"/>
              <a:gd name="T31" fmla="*/ 153 h 156"/>
              <a:gd name="T32" fmla="*/ 66 w 205"/>
              <a:gd name="T33" fmla="*/ 149 h 156"/>
              <a:gd name="T34" fmla="*/ 46 w 205"/>
              <a:gd name="T35" fmla="*/ 148 h 156"/>
              <a:gd name="T36" fmla="*/ 34 w 205"/>
              <a:gd name="T37" fmla="*/ 135 h 156"/>
              <a:gd name="T38" fmla="*/ 27 w 205"/>
              <a:gd name="T39" fmla="*/ 139 h 156"/>
              <a:gd name="T40" fmla="*/ 11 w 205"/>
              <a:gd name="T41" fmla="*/ 126 h 156"/>
              <a:gd name="T42" fmla="*/ 0 w 205"/>
              <a:gd name="T43" fmla="*/ 89 h 156"/>
              <a:gd name="T44" fmla="*/ 9 w 205"/>
              <a:gd name="T45" fmla="*/ 71 h 156"/>
              <a:gd name="T46" fmla="*/ 8 w 205"/>
              <a:gd name="T4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156">
                <a:moveTo>
                  <a:pt x="8" y="47"/>
                </a:moveTo>
                <a:lnTo>
                  <a:pt x="43" y="20"/>
                </a:lnTo>
                <a:lnTo>
                  <a:pt x="66" y="15"/>
                </a:lnTo>
                <a:lnTo>
                  <a:pt x="89" y="8"/>
                </a:lnTo>
                <a:lnTo>
                  <a:pt x="108" y="8"/>
                </a:lnTo>
                <a:lnTo>
                  <a:pt x="127" y="0"/>
                </a:lnTo>
                <a:lnTo>
                  <a:pt x="159" y="8"/>
                </a:lnTo>
                <a:lnTo>
                  <a:pt x="178" y="7"/>
                </a:lnTo>
                <a:lnTo>
                  <a:pt x="197" y="28"/>
                </a:lnTo>
                <a:lnTo>
                  <a:pt x="195" y="89"/>
                </a:lnTo>
                <a:lnTo>
                  <a:pt x="205" y="97"/>
                </a:lnTo>
                <a:lnTo>
                  <a:pt x="191" y="122"/>
                </a:lnTo>
                <a:lnTo>
                  <a:pt x="146" y="132"/>
                </a:lnTo>
                <a:lnTo>
                  <a:pt x="127" y="126"/>
                </a:lnTo>
                <a:lnTo>
                  <a:pt x="114" y="156"/>
                </a:lnTo>
                <a:lnTo>
                  <a:pt x="80" y="153"/>
                </a:lnTo>
                <a:lnTo>
                  <a:pt x="66" y="149"/>
                </a:lnTo>
                <a:lnTo>
                  <a:pt x="46" y="148"/>
                </a:lnTo>
                <a:lnTo>
                  <a:pt x="34" y="135"/>
                </a:lnTo>
                <a:lnTo>
                  <a:pt x="27" y="139"/>
                </a:lnTo>
                <a:lnTo>
                  <a:pt x="11" y="126"/>
                </a:lnTo>
                <a:lnTo>
                  <a:pt x="0" y="89"/>
                </a:lnTo>
                <a:lnTo>
                  <a:pt x="9" y="71"/>
                </a:lnTo>
                <a:lnTo>
                  <a:pt x="8" y="47"/>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1" name="PT"/>
          <p:cNvSpPr>
            <a:spLocks noChangeAspect="1"/>
          </p:cNvSpPr>
          <p:nvPr/>
        </p:nvSpPr>
        <p:spPr bwMode="auto">
          <a:xfrm>
            <a:off x="3048000" y="4589463"/>
            <a:ext cx="574675" cy="735012"/>
          </a:xfrm>
          <a:custGeom>
            <a:avLst/>
            <a:gdLst>
              <a:gd name="T0" fmla="*/ 224 w 388"/>
              <a:gd name="T1" fmla="*/ 0 h 619"/>
              <a:gd name="T2" fmla="*/ 246 w 388"/>
              <a:gd name="T3" fmla="*/ 53 h 619"/>
              <a:gd name="T4" fmla="*/ 267 w 388"/>
              <a:gd name="T5" fmla="*/ 54 h 619"/>
              <a:gd name="T6" fmla="*/ 324 w 388"/>
              <a:gd name="T7" fmla="*/ 64 h 619"/>
              <a:gd name="T8" fmla="*/ 353 w 388"/>
              <a:gd name="T9" fmla="*/ 80 h 619"/>
              <a:gd name="T10" fmla="*/ 377 w 388"/>
              <a:gd name="T11" fmla="*/ 127 h 619"/>
              <a:gd name="T12" fmla="*/ 384 w 388"/>
              <a:gd name="T13" fmla="*/ 147 h 619"/>
              <a:gd name="T14" fmla="*/ 314 w 388"/>
              <a:gd name="T15" fmla="*/ 179 h 619"/>
              <a:gd name="T16" fmla="*/ 294 w 388"/>
              <a:gd name="T17" fmla="*/ 238 h 619"/>
              <a:gd name="T18" fmla="*/ 274 w 388"/>
              <a:gd name="T19" fmla="*/ 292 h 619"/>
              <a:gd name="T20" fmla="*/ 260 w 388"/>
              <a:gd name="T21" fmla="*/ 333 h 619"/>
              <a:gd name="T22" fmla="*/ 228 w 388"/>
              <a:gd name="T23" fmla="*/ 323 h 619"/>
              <a:gd name="T24" fmla="*/ 222 w 388"/>
              <a:gd name="T25" fmla="*/ 366 h 619"/>
              <a:gd name="T26" fmla="*/ 225 w 388"/>
              <a:gd name="T27" fmla="*/ 407 h 619"/>
              <a:gd name="T28" fmla="*/ 196 w 388"/>
              <a:gd name="T29" fmla="*/ 445 h 619"/>
              <a:gd name="T30" fmla="*/ 192 w 388"/>
              <a:gd name="T31" fmla="*/ 502 h 619"/>
              <a:gd name="T32" fmla="*/ 198 w 388"/>
              <a:gd name="T33" fmla="*/ 536 h 619"/>
              <a:gd name="T34" fmla="*/ 147 w 388"/>
              <a:gd name="T35" fmla="*/ 565 h 619"/>
              <a:gd name="T36" fmla="*/ 146 w 388"/>
              <a:gd name="T37" fmla="*/ 613 h 619"/>
              <a:gd name="T38" fmla="*/ 75 w 388"/>
              <a:gd name="T39" fmla="*/ 619 h 619"/>
              <a:gd name="T40" fmla="*/ 24 w 388"/>
              <a:gd name="T41" fmla="*/ 576 h 619"/>
              <a:gd name="T42" fmla="*/ 0 w 388"/>
              <a:gd name="T43" fmla="*/ 561 h 619"/>
              <a:gd name="T44" fmla="*/ 28 w 388"/>
              <a:gd name="T45" fmla="*/ 514 h 619"/>
              <a:gd name="T46" fmla="*/ 61 w 388"/>
              <a:gd name="T47" fmla="*/ 445 h 619"/>
              <a:gd name="T48" fmla="*/ 56 w 388"/>
              <a:gd name="T49" fmla="*/ 408 h 619"/>
              <a:gd name="T50" fmla="*/ 38 w 388"/>
              <a:gd name="T51" fmla="*/ 386 h 619"/>
              <a:gd name="T52" fmla="*/ 66 w 388"/>
              <a:gd name="T53" fmla="*/ 359 h 619"/>
              <a:gd name="T54" fmla="*/ 28 w 388"/>
              <a:gd name="T55" fmla="*/ 364 h 619"/>
              <a:gd name="T56" fmla="*/ 38 w 388"/>
              <a:gd name="T57" fmla="*/ 322 h 619"/>
              <a:gd name="T58" fmla="*/ 52 w 388"/>
              <a:gd name="T59" fmla="*/ 285 h 619"/>
              <a:gd name="T60" fmla="*/ 66 w 388"/>
              <a:gd name="T61" fmla="*/ 265 h 619"/>
              <a:gd name="T62" fmla="*/ 104 w 388"/>
              <a:gd name="T63" fmla="*/ 238 h 619"/>
              <a:gd name="T64" fmla="*/ 155 w 388"/>
              <a:gd name="T65" fmla="*/ 164 h 619"/>
              <a:gd name="T66" fmla="*/ 174 w 388"/>
              <a:gd name="T67" fmla="*/ 111 h 619"/>
              <a:gd name="T68" fmla="*/ 187 w 388"/>
              <a:gd name="T69" fmla="*/ 54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8" h="619">
                <a:moveTo>
                  <a:pt x="196" y="6"/>
                </a:moveTo>
                <a:lnTo>
                  <a:pt x="224" y="0"/>
                </a:lnTo>
                <a:lnTo>
                  <a:pt x="243" y="24"/>
                </a:lnTo>
                <a:lnTo>
                  <a:pt x="246" y="53"/>
                </a:lnTo>
                <a:lnTo>
                  <a:pt x="253" y="59"/>
                </a:lnTo>
                <a:lnTo>
                  <a:pt x="267" y="54"/>
                </a:lnTo>
                <a:lnTo>
                  <a:pt x="312" y="74"/>
                </a:lnTo>
                <a:lnTo>
                  <a:pt x="324" y="64"/>
                </a:lnTo>
                <a:lnTo>
                  <a:pt x="342" y="63"/>
                </a:lnTo>
                <a:lnTo>
                  <a:pt x="353" y="80"/>
                </a:lnTo>
                <a:lnTo>
                  <a:pt x="363" y="108"/>
                </a:lnTo>
                <a:lnTo>
                  <a:pt x="377" y="127"/>
                </a:lnTo>
                <a:lnTo>
                  <a:pt x="388" y="137"/>
                </a:lnTo>
                <a:lnTo>
                  <a:pt x="384" y="147"/>
                </a:lnTo>
                <a:lnTo>
                  <a:pt x="351" y="157"/>
                </a:lnTo>
                <a:lnTo>
                  <a:pt x="314" y="179"/>
                </a:lnTo>
                <a:lnTo>
                  <a:pt x="315" y="218"/>
                </a:lnTo>
                <a:lnTo>
                  <a:pt x="294" y="238"/>
                </a:lnTo>
                <a:lnTo>
                  <a:pt x="276" y="255"/>
                </a:lnTo>
                <a:lnTo>
                  <a:pt x="274" y="292"/>
                </a:lnTo>
                <a:lnTo>
                  <a:pt x="274" y="316"/>
                </a:lnTo>
                <a:lnTo>
                  <a:pt x="260" y="333"/>
                </a:lnTo>
                <a:lnTo>
                  <a:pt x="248" y="316"/>
                </a:lnTo>
                <a:lnTo>
                  <a:pt x="228" y="323"/>
                </a:lnTo>
                <a:lnTo>
                  <a:pt x="225" y="335"/>
                </a:lnTo>
                <a:lnTo>
                  <a:pt x="222" y="366"/>
                </a:lnTo>
                <a:lnTo>
                  <a:pt x="229" y="377"/>
                </a:lnTo>
                <a:lnTo>
                  <a:pt x="225" y="407"/>
                </a:lnTo>
                <a:lnTo>
                  <a:pt x="213" y="421"/>
                </a:lnTo>
                <a:lnTo>
                  <a:pt x="196" y="445"/>
                </a:lnTo>
                <a:lnTo>
                  <a:pt x="189" y="465"/>
                </a:lnTo>
                <a:lnTo>
                  <a:pt x="192" y="502"/>
                </a:lnTo>
                <a:lnTo>
                  <a:pt x="206" y="524"/>
                </a:lnTo>
                <a:lnTo>
                  <a:pt x="198" y="536"/>
                </a:lnTo>
                <a:lnTo>
                  <a:pt x="161" y="549"/>
                </a:lnTo>
                <a:lnTo>
                  <a:pt x="147" y="565"/>
                </a:lnTo>
                <a:lnTo>
                  <a:pt x="146" y="582"/>
                </a:lnTo>
                <a:lnTo>
                  <a:pt x="146" y="613"/>
                </a:lnTo>
                <a:lnTo>
                  <a:pt x="104" y="613"/>
                </a:lnTo>
                <a:lnTo>
                  <a:pt x="75" y="619"/>
                </a:lnTo>
                <a:lnTo>
                  <a:pt x="42" y="576"/>
                </a:lnTo>
                <a:lnTo>
                  <a:pt x="24" y="576"/>
                </a:lnTo>
                <a:lnTo>
                  <a:pt x="9" y="576"/>
                </a:lnTo>
                <a:lnTo>
                  <a:pt x="0" y="561"/>
                </a:lnTo>
                <a:lnTo>
                  <a:pt x="9" y="545"/>
                </a:lnTo>
                <a:lnTo>
                  <a:pt x="28" y="514"/>
                </a:lnTo>
                <a:lnTo>
                  <a:pt x="38" y="482"/>
                </a:lnTo>
                <a:lnTo>
                  <a:pt x="61" y="445"/>
                </a:lnTo>
                <a:lnTo>
                  <a:pt x="66" y="424"/>
                </a:lnTo>
                <a:lnTo>
                  <a:pt x="56" y="408"/>
                </a:lnTo>
                <a:lnTo>
                  <a:pt x="42" y="394"/>
                </a:lnTo>
                <a:lnTo>
                  <a:pt x="38" y="386"/>
                </a:lnTo>
                <a:lnTo>
                  <a:pt x="56" y="380"/>
                </a:lnTo>
                <a:lnTo>
                  <a:pt x="66" y="359"/>
                </a:lnTo>
                <a:lnTo>
                  <a:pt x="47" y="353"/>
                </a:lnTo>
                <a:lnTo>
                  <a:pt x="28" y="364"/>
                </a:lnTo>
                <a:lnTo>
                  <a:pt x="28" y="337"/>
                </a:lnTo>
                <a:lnTo>
                  <a:pt x="38" y="322"/>
                </a:lnTo>
                <a:lnTo>
                  <a:pt x="47" y="306"/>
                </a:lnTo>
                <a:lnTo>
                  <a:pt x="52" y="285"/>
                </a:lnTo>
                <a:lnTo>
                  <a:pt x="56" y="269"/>
                </a:lnTo>
                <a:lnTo>
                  <a:pt x="66" y="265"/>
                </a:lnTo>
                <a:lnTo>
                  <a:pt x="80" y="275"/>
                </a:lnTo>
                <a:lnTo>
                  <a:pt x="104" y="238"/>
                </a:lnTo>
                <a:lnTo>
                  <a:pt x="118" y="212"/>
                </a:lnTo>
                <a:lnTo>
                  <a:pt x="155" y="164"/>
                </a:lnTo>
                <a:lnTo>
                  <a:pt x="155" y="144"/>
                </a:lnTo>
                <a:lnTo>
                  <a:pt x="174" y="111"/>
                </a:lnTo>
                <a:lnTo>
                  <a:pt x="179" y="74"/>
                </a:lnTo>
                <a:lnTo>
                  <a:pt x="187" y="54"/>
                </a:lnTo>
                <a:lnTo>
                  <a:pt x="196" y="6"/>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2" name="ES"/>
          <p:cNvGrpSpPr>
            <a:grpSpLocks/>
          </p:cNvGrpSpPr>
          <p:nvPr/>
        </p:nvGrpSpPr>
        <p:grpSpPr bwMode="auto">
          <a:xfrm>
            <a:off x="3260628" y="4351278"/>
            <a:ext cx="1579555" cy="1219185"/>
            <a:chOff x="212709" y="4669452"/>
            <a:chExt cx="724" cy="631"/>
          </a:xfrm>
          <a:solidFill>
            <a:srgbClr val="FAFAFA"/>
          </a:solidFill>
          <a:effectLst/>
        </p:grpSpPr>
        <p:sp>
          <p:nvSpPr>
            <p:cNvPr id="77" name="Freeform 548"/>
            <p:cNvSpPr>
              <a:spLocks noChangeAspect="1"/>
            </p:cNvSpPr>
            <p:nvPr/>
          </p:nvSpPr>
          <p:spPr bwMode="auto">
            <a:xfrm>
              <a:off x="213239" y="4669976"/>
              <a:ext cx="27" cy="20"/>
            </a:xfrm>
            <a:custGeom>
              <a:avLst/>
              <a:gdLst>
                <a:gd name="T0" fmla="*/ 39 w 39"/>
                <a:gd name="T1" fmla="*/ 0 h 31"/>
                <a:gd name="T2" fmla="*/ 20 w 39"/>
                <a:gd name="T3" fmla="*/ 0 h 31"/>
                <a:gd name="T4" fmla="*/ 0 w 39"/>
                <a:gd name="T5" fmla="*/ 21 h 31"/>
                <a:gd name="T6" fmla="*/ 10 w 39"/>
                <a:gd name="T7" fmla="*/ 31 h 31"/>
                <a:gd name="T8" fmla="*/ 29 w 39"/>
                <a:gd name="T9" fmla="*/ 31 h 31"/>
                <a:gd name="T10" fmla="*/ 39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9" y="0"/>
                  </a:moveTo>
                  <a:lnTo>
                    <a:pt x="20" y="0"/>
                  </a:lnTo>
                  <a:lnTo>
                    <a:pt x="0" y="21"/>
                  </a:lnTo>
                  <a:lnTo>
                    <a:pt x="10" y="31"/>
                  </a:lnTo>
                  <a:lnTo>
                    <a:pt x="29" y="31"/>
                  </a:lnTo>
                  <a:lnTo>
                    <a:pt x="3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8" name="Freeform 549"/>
            <p:cNvSpPr>
              <a:spLocks noChangeAspect="1"/>
            </p:cNvSpPr>
            <p:nvPr/>
          </p:nvSpPr>
          <p:spPr bwMode="auto">
            <a:xfrm>
              <a:off x="213316" y="4669928"/>
              <a:ext cx="62" cy="48"/>
            </a:xfrm>
            <a:custGeom>
              <a:avLst/>
              <a:gdLst>
                <a:gd name="T0" fmla="*/ 66 w 90"/>
                <a:gd name="T1" fmla="*/ 0 h 80"/>
                <a:gd name="T2" fmla="*/ 57 w 90"/>
                <a:gd name="T3" fmla="*/ 10 h 80"/>
                <a:gd name="T4" fmla="*/ 19 w 90"/>
                <a:gd name="T5" fmla="*/ 16 h 80"/>
                <a:gd name="T6" fmla="*/ 0 w 90"/>
                <a:gd name="T7" fmla="*/ 43 h 80"/>
                <a:gd name="T8" fmla="*/ 28 w 90"/>
                <a:gd name="T9" fmla="*/ 64 h 80"/>
                <a:gd name="T10" fmla="*/ 43 w 90"/>
                <a:gd name="T11" fmla="*/ 80 h 80"/>
                <a:gd name="T12" fmla="*/ 71 w 90"/>
                <a:gd name="T13" fmla="*/ 74 h 80"/>
                <a:gd name="T14" fmla="*/ 90 w 90"/>
                <a:gd name="T15" fmla="*/ 64 h 80"/>
                <a:gd name="T16" fmla="*/ 85 w 90"/>
                <a:gd name="T17" fmla="*/ 43 h 80"/>
                <a:gd name="T18" fmla="*/ 71 w 90"/>
                <a:gd name="T19" fmla="*/ 27 h 80"/>
                <a:gd name="T20" fmla="*/ 66 w 90"/>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66" y="0"/>
                  </a:moveTo>
                  <a:lnTo>
                    <a:pt x="57" y="10"/>
                  </a:lnTo>
                  <a:lnTo>
                    <a:pt x="19" y="16"/>
                  </a:lnTo>
                  <a:lnTo>
                    <a:pt x="0" y="43"/>
                  </a:lnTo>
                  <a:lnTo>
                    <a:pt x="28" y="64"/>
                  </a:lnTo>
                  <a:lnTo>
                    <a:pt x="43" y="80"/>
                  </a:lnTo>
                  <a:lnTo>
                    <a:pt x="71" y="74"/>
                  </a:lnTo>
                  <a:lnTo>
                    <a:pt x="90" y="64"/>
                  </a:lnTo>
                  <a:lnTo>
                    <a:pt x="85" y="43"/>
                  </a:lnTo>
                  <a:lnTo>
                    <a:pt x="71" y="27"/>
                  </a:lnTo>
                  <a:lnTo>
                    <a:pt x="6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9" name="Freeform 550"/>
            <p:cNvSpPr>
              <a:spLocks noChangeAspect="1"/>
            </p:cNvSpPr>
            <p:nvPr/>
          </p:nvSpPr>
          <p:spPr bwMode="auto">
            <a:xfrm>
              <a:off x="213412" y="4669930"/>
              <a:ext cx="21" cy="26"/>
            </a:xfrm>
            <a:custGeom>
              <a:avLst/>
              <a:gdLst>
                <a:gd name="T0" fmla="*/ 19 w 29"/>
                <a:gd name="T1" fmla="*/ 0 h 41"/>
                <a:gd name="T2" fmla="*/ 0 w 29"/>
                <a:gd name="T3" fmla="*/ 10 h 41"/>
                <a:gd name="T4" fmla="*/ 16 w 29"/>
                <a:gd name="T5" fmla="*/ 25 h 41"/>
                <a:gd name="T6" fmla="*/ 29 w 29"/>
                <a:gd name="T7" fmla="*/ 41 h 41"/>
                <a:gd name="T8" fmla="*/ 19 w 29"/>
                <a:gd name="T9" fmla="*/ 0 h 41"/>
              </a:gdLst>
              <a:ahLst/>
              <a:cxnLst>
                <a:cxn ang="0">
                  <a:pos x="T0" y="T1"/>
                </a:cxn>
                <a:cxn ang="0">
                  <a:pos x="T2" y="T3"/>
                </a:cxn>
                <a:cxn ang="0">
                  <a:pos x="T4" y="T5"/>
                </a:cxn>
                <a:cxn ang="0">
                  <a:pos x="T6" y="T7"/>
                </a:cxn>
                <a:cxn ang="0">
                  <a:pos x="T8" y="T9"/>
                </a:cxn>
              </a:cxnLst>
              <a:rect l="0" t="0" r="r" b="b"/>
              <a:pathLst>
                <a:path w="29" h="41">
                  <a:moveTo>
                    <a:pt x="19" y="0"/>
                  </a:moveTo>
                  <a:lnTo>
                    <a:pt x="0" y="10"/>
                  </a:lnTo>
                  <a:lnTo>
                    <a:pt x="16" y="25"/>
                  </a:lnTo>
                  <a:lnTo>
                    <a:pt x="29" y="41"/>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0" name="Freeform 551"/>
            <p:cNvSpPr>
              <a:spLocks noChangeAspect="1"/>
            </p:cNvSpPr>
            <p:nvPr/>
          </p:nvSpPr>
          <p:spPr bwMode="auto">
            <a:xfrm>
              <a:off x="212709" y="4669452"/>
              <a:ext cx="696" cy="631"/>
            </a:xfrm>
            <a:custGeom>
              <a:avLst/>
              <a:gdLst>
                <a:gd name="T0" fmla="*/ 46 w 1024"/>
                <a:gd name="T1" fmla="*/ 185 h 1020"/>
                <a:gd name="T2" fmla="*/ 79 w 1024"/>
                <a:gd name="T3" fmla="*/ 111 h 1020"/>
                <a:gd name="T4" fmla="*/ 71 w 1024"/>
                <a:gd name="T5" fmla="*/ 84 h 1020"/>
                <a:gd name="T6" fmla="*/ 55 w 1024"/>
                <a:gd name="T7" fmla="*/ 59 h 1020"/>
                <a:gd name="T8" fmla="*/ 112 w 1024"/>
                <a:gd name="T9" fmla="*/ 27 h 1020"/>
                <a:gd name="T10" fmla="*/ 154 w 1024"/>
                <a:gd name="T11" fmla="*/ 16 h 1020"/>
                <a:gd name="T12" fmla="*/ 197 w 1024"/>
                <a:gd name="T13" fmla="*/ 6 h 1020"/>
                <a:gd name="T14" fmla="*/ 281 w 1024"/>
                <a:gd name="T15" fmla="*/ 80 h 1020"/>
                <a:gd name="T16" fmla="*/ 340 w 1024"/>
                <a:gd name="T17" fmla="*/ 84 h 1020"/>
                <a:gd name="T18" fmla="*/ 504 w 1024"/>
                <a:gd name="T19" fmla="*/ 170 h 1020"/>
                <a:gd name="T20" fmla="*/ 573 w 1024"/>
                <a:gd name="T21" fmla="*/ 190 h 1020"/>
                <a:gd name="T22" fmla="*/ 621 w 1024"/>
                <a:gd name="T23" fmla="*/ 232 h 1020"/>
                <a:gd name="T24" fmla="*/ 668 w 1024"/>
                <a:gd name="T25" fmla="*/ 238 h 1020"/>
                <a:gd name="T26" fmla="*/ 668 w 1024"/>
                <a:gd name="T27" fmla="*/ 264 h 1020"/>
                <a:gd name="T28" fmla="*/ 743 w 1024"/>
                <a:gd name="T29" fmla="*/ 343 h 1020"/>
                <a:gd name="T30" fmla="*/ 804 w 1024"/>
                <a:gd name="T31" fmla="*/ 374 h 1020"/>
                <a:gd name="T32" fmla="*/ 898 w 1024"/>
                <a:gd name="T33" fmla="*/ 406 h 1020"/>
                <a:gd name="T34" fmla="*/ 917 w 1024"/>
                <a:gd name="T35" fmla="*/ 443 h 1020"/>
                <a:gd name="T36" fmla="*/ 953 w 1024"/>
                <a:gd name="T37" fmla="*/ 458 h 1020"/>
                <a:gd name="T38" fmla="*/ 991 w 1024"/>
                <a:gd name="T39" fmla="*/ 458 h 1020"/>
                <a:gd name="T40" fmla="*/ 1015 w 1024"/>
                <a:gd name="T41" fmla="*/ 458 h 1020"/>
                <a:gd name="T42" fmla="*/ 1024 w 1024"/>
                <a:gd name="T43" fmla="*/ 507 h 1020"/>
                <a:gd name="T44" fmla="*/ 936 w 1024"/>
                <a:gd name="T45" fmla="*/ 584 h 1020"/>
                <a:gd name="T46" fmla="*/ 809 w 1024"/>
                <a:gd name="T47" fmla="*/ 609 h 1020"/>
                <a:gd name="T48" fmla="*/ 776 w 1024"/>
                <a:gd name="T49" fmla="*/ 646 h 1020"/>
                <a:gd name="T50" fmla="*/ 738 w 1024"/>
                <a:gd name="T51" fmla="*/ 662 h 1020"/>
                <a:gd name="T52" fmla="*/ 700 w 1024"/>
                <a:gd name="T53" fmla="*/ 709 h 1020"/>
                <a:gd name="T54" fmla="*/ 658 w 1024"/>
                <a:gd name="T55" fmla="*/ 741 h 1020"/>
                <a:gd name="T56" fmla="*/ 672 w 1024"/>
                <a:gd name="T57" fmla="*/ 798 h 1020"/>
                <a:gd name="T58" fmla="*/ 677 w 1024"/>
                <a:gd name="T59" fmla="*/ 841 h 1020"/>
                <a:gd name="T60" fmla="*/ 653 w 1024"/>
                <a:gd name="T61" fmla="*/ 857 h 1020"/>
                <a:gd name="T62" fmla="*/ 589 w 1024"/>
                <a:gd name="T63" fmla="*/ 921 h 1020"/>
                <a:gd name="T64" fmla="*/ 564 w 1024"/>
                <a:gd name="T65" fmla="*/ 946 h 1020"/>
                <a:gd name="T66" fmla="*/ 523 w 1024"/>
                <a:gd name="T67" fmla="*/ 962 h 1020"/>
                <a:gd name="T68" fmla="*/ 480 w 1024"/>
                <a:gd name="T69" fmla="*/ 973 h 1020"/>
                <a:gd name="T70" fmla="*/ 457 w 1024"/>
                <a:gd name="T71" fmla="*/ 1005 h 1020"/>
                <a:gd name="T72" fmla="*/ 419 w 1024"/>
                <a:gd name="T73" fmla="*/ 1015 h 1020"/>
                <a:gd name="T74" fmla="*/ 344 w 1024"/>
                <a:gd name="T75" fmla="*/ 1005 h 1020"/>
                <a:gd name="T76" fmla="*/ 229 w 1024"/>
                <a:gd name="T77" fmla="*/ 962 h 1020"/>
                <a:gd name="T78" fmla="*/ 173 w 1024"/>
                <a:gd name="T79" fmla="*/ 989 h 1020"/>
                <a:gd name="T80" fmla="*/ 121 w 1024"/>
                <a:gd name="T81" fmla="*/ 1010 h 1020"/>
                <a:gd name="T82" fmla="*/ 55 w 1024"/>
                <a:gd name="T83" fmla="*/ 958 h 1020"/>
                <a:gd name="T84" fmla="*/ 33 w 1024"/>
                <a:gd name="T85" fmla="*/ 835 h 1020"/>
                <a:gd name="T86" fmla="*/ 0 w 1024"/>
                <a:gd name="T87" fmla="*/ 794 h 1020"/>
                <a:gd name="T88" fmla="*/ 14 w 1024"/>
                <a:gd name="T89" fmla="*/ 746 h 1020"/>
                <a:gd name="T90" fmla="*/ 60 w 1024"/>
                <a:gd name="T91" fmla="*/ 720 h 1020"/>
                <a:gd name="T92" fmla="*/ 41 w 1024"/>
                <a:gd name="T93" fmla="*/ 662 h 1020"/>
                <a:gd name="T94" fmla="*/ 84 w 1024"/>
                <a:gd name="T95" fmla="*/ 599 h 1020"/>
                <a:gd name="T96" fmla="*/ 74 w 1024"/>
                <a:gd name="T97" fmla="*/ 554 h 1020"/>
                <a:gd name="T98" fmla="*/ 88 w 1024"/>
                <a:gd name="T99" fmla="*/ 512 h 1020"/>
                <a:gd name="T100" fmla="*/ 112 w 1024"/>
                <a:gd name="T101" fmla="*/ 528 h 1020"/>
                <a:gd name="T102" fmla="*/ 131 w 1024"/>
                <a:gd name="T103" fmla="*/ 448 h 1020"/>
                <a:gd name="T104" fmla="*/ 168 w 1024"/>
                <a:gd name="T105" fmla="*/ 390 h 1020"/>
                <a:gd name="T106" fmla="*/ 206 w 1024"/>
                <a:gd name="T107" fmla="*/ 349 h 1020"/>
                <a:gd name="T108" fmla="*/ 244 w 1024"/>
                <a:gd name="T109" fmla="*/ 332 h 1020"/>
                <a:gd name="T110" fmla="*/ 201 w 1024"/>
                <a:gd name="T111" fmla="*/ 264 h 1020"/>
                <a:gd name="T112" fmla="*/ 164 w 1024"/>
                <a:gd name="T113" fmla="*/ 269 h 1020"/>
                <a:gd name="T114" fmla="*/ 117 w 1024"/>
                <a:gd name="T115" fmla="*/ 248 h 1020"/>
                <a:gd name="T116" fmla="*/ 98 w 1024"/>
                <a:gd name="T117" fmla="*/ 242 h 1020"/>
                <a:gd name="T118" fmla="*/ 84 w 1024"/>
                <a:gd name="T119" fmla="*/ 201 h 1020"/>
                <a:gd name="T120" fmla="*/ 52 w 1024"/>
                <a:gd name="T121" fmla="*/ 20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1020">
                  <a:moveTo>
                    <a:pt x="52" y="201"/>
                  </a:moveTo>
                  <a:lnTo>
                    <a:pt x="46" y="185"/>
                  </a:lnTo>
                  <a:lnTo>
                    <a:pt x="52" y="164"/>
                  </a:lnTo>
                  <a:lnTo>
                    <a:pt x="79" y="111"/>
                  </a:lnTo>
                  <a:lnTo>
                    <a:pt x="65" y="100"/>
                  </a:lnTo>
                  <a:lnTo>
                    <a:pt x="71" y="84"/>
                  </a:lnTo>
                  <a:lnTo>
                    <a:pt x="55" y="80"/>
                  </a:lnTo>
                  <a:lnTo>
                    <a:pt x="55" y="59"/>
                  </a:lnTo>
                  <a:lnTo>
                    <a:pt x="65" y="43"/>
                  </a:lnTo>
                  <a:lnTo>
                    <a:pt x="112" y="27"/>
                  </a:lnTo>
                  <a:lnTo>
                    <a:pt x="150" y="32"/>
                  </a:lnTo>
                  <a:lnTo>
                    <a:pt x="154" y="16"/>
                  </a:lnTo>
                  <a:lnTo>
                    <a:pt x="182" y="0"/>
                  </a:lnTo>
                  <a:lnTo>
                    <a:pt x="197" y="6"/>
                  </a:lnTo>
                  <a:lnTo>
                    <a:pt x="229" y="53"/>
                  </a:lnTo>
                  <a:lnTo>
                    <a:pt x="281" y="80"/>
                  </a:lnTo>
                  <a:lnTo>
                    <a:pt x="328" y="80"/>
                  </a:lnTo>
                  <a:lnTo>
                    <a:pt x="340" y="84"/>
                  </a:lnTo>
                  <a:lnTo>
                    <a:pt x="466" y="164"/>
                  </a:lnTo>
                  <a:lnTo>
                    <a:pt x="504" y="170"/>
                  </a:lnTo>
                  <a:lnTo>
                    <a:pt x="532" y="201"/>
                  </a:lnTo>
                  <a:lnTo>
                    <a:pt x="573" y="190"/>
                  </a:lnTo>
                  <a:lnTo>
                    <a:pt x="597" y="207"/>
                  </a:lnTo>
                  <a:lnTo>
                    <a:pt x="621" y="232"/>
                  </a:lnTo>
                  <a:lnTo>
                    <a:pt x="649" y="232"/>
                  </a:lnTo>
                  <a:lnTo>
                    <a:pt x="668" y="238"/>
                  </a:lnTo>
                  <a:lnTo>
                    <a:pt x="677" y="248"/>
                  </a:lnTo>
                  <a:lnTo>
                    <a:pt x="668" y="264"/>
                  </a:lnTo>
                  <a:lnTo>
                    <a:pt x="668" y="285"/>
                  </a:lnTo>
                  <a:lnTo>
                    <a:pt x="743" y="343"/>
                  </a:lnTo>
                  <a:lnTo>
                    <a:pt x="785" y="380"/>
                  </a:lnTo>
                  <a:lnTo>
                    <a:pt x="804" y="374"/>
                  </a:lnTo>
                  <a:lnTo>
                    <a:pt x="827" y="369"/>
                  </a:lnTo>
                  <a:lnTo>
                    <a:pt x="898" y="406"/>
                  </a:lnTo>
                  <a:lnTo>
                    <a:pt x="906" y="433"/>
                  </a:lnTo>
                  <a:lnTo>
                    <a:pt x="917" y="443"/>
                  </a:lnTo>
                  <a:lnTo>
                    <a:pt x="939" y="448"/>
                  </a:lnTo>
                  <a:lnTo>
                    <a:pt x="953" y="458"/>
                  </a:lnTo>
                  <a:lnTo>
                    <a:pt x="972" y="458"/>
                  </a:lnTo>
                  <a:lnTo>
                    <a:pt x="991" y="458"/>
                  </a:lnTo>
                  <a:lnTo>
                    <a:pt x="1010" y="464"/>
                  </a:lnTo>
                  <a:lnTo>
                    <a:pt x="1015" y="458"/>
                  </a:lnTo>
                  <a:lnTo>
                    <a:pt x="1024" y="480"/>
                  </a:lnTo>
                  <a:lnTo>
                    <a:pt x="1024" y="507"/>
                  </a:lnTo>
                  <a:lnTo>
                    <a:pt x="1010" y="522"/>
                  </a:lnTo>
                  <a:lnTo>
                    <a:pt x="936" y="584"/>
                  </a:lnTo>
                  <a:lnTo>
                    <a:pt x="903" y="584"/>
                  </a:lnTo>
                  <a:lnTo>
                    <a:pt x="809" y="609"/>
                  </a:lnTo>
                  <a:lnTo>
                    <a:pt x="776" y="615"/>
                  </a:lnTo>
                  <a:lnTo>
                    <a:pt x="776" y="646"/>
                  </a:lnTo>
                  <a:lnTo>
                    <a:pt x="757" y="646"/>
                  </a:lnTo>
                  <a:lnTo>
                    <a:pt x="738" y="662"/>
                  </a:lnTo>
                  <a:lnTo>
                    <a:pt x="719" y="689"/>
                  </a:lnTo>
                  <a:lnTo>
                    <a:pt x="700" y="709"/>
                  </a:lnTo>
                  <a:lnTo>
                    <a:pt x="677" y="714"/>
                  </a:lnTo>
                  <a:lnTo>
                    <a:pt x="658" y="741"/>
                  </a:lnTo>
                  <a:lnTo>
                    <a:pt x="658" y="778"/>
                  </a:lnTo>
                  <a:lnTo>
                    <a:pt x="672" y="798"/>
                  </a:lnTo>
                  <a:lnTo>
                    <a:pt x="677" y="814"/>
                  </a:lnTo>
                  <a:lnTo>
                    <a:pt x="677" y="841"/>
                  </a:lnTo>
                  <a:lnTo>
                    <a:pt x="672" y="851"/>
                  </a:lnTo>
                  <a:lnTo>
                    <a:pt x="653" y="857"/>
                  </a:lnTo>
                  <a:lnTo>
                    <a:pt x="625" y="884"/>
                  </a:lnTo>
                  <a:lnTo>
                    <a:pt x="589" y="921"/>
                  </a:lnTo>
                  <a:lnTo>
                    <a:pt x="573" y="936"/>
                  </a:lnTo>
                  <a:lnTo>
                    <a:pt x="564" y="946"/>
                  </a:lnTo>
                  <a:lnTo>
                    <a:pt x="564" y="962"/>
                  </a:lnTo>
                  <a:lnTo>
                    <a:pt x="523" y="962"/>
                  </a:lnTo>
                  <a:lnTo>
                    <a:pt x="499" y="968"/>
                  </a:lnTo>
                  <a:lnTo>
                    <a:pt x="480" y="973"/>
                  </a:lnTo>
                  <a:lnTo>
                    <a:pt x="471" y="983"/>
                  </a:lnTo>
                  <a:lnTo>
                    <a:pt x="457" y="1005"/>
                  </a:lnTo>
                  <a:lnTo>
                    <a:pt x="433" y="1015"/>
                  </a:lnTo>
                  <a:lnTo>
                    <a:pt x="419" y="1015"/>
                  </a:lnTo>
                  <a:lnTo>
                    <a:pt x="391" y="1010"/>
                  </a:lnTo>
                  <a:lnTo>
                    <a:pt x="344" y="1005"/>
                  </a:lnTo>
                  <a:lnTo>
                    <a:pt x="262" y="968"/>
                  </a:lnTo>
                  <a:lnTo>
                    <a:pt x="229" y="962"/>
                  </a:lnTo>
                  <a:lnTo>
                    <a:pt x="197" y="973"/>
                  </a:lnTo>
                  <a:lnTo>
                    <a:pt x="173" y="989"/>
                  </a:lnTo>
                  <a:lnTo>
                    <a:pt x="145" y="993"/>
                  </a:lnTo>
                  <a:lnTo>
                    <a:pt x="121" y="1010"/>
                  </a:lnTo>
                  <a:lnTo>
                    <a:pt x="107" y="1020"/>
                  </a:lnTo>
                  <a:lnTo>
                    <a:pt x="55" y="958"/>
                  </a:lnTo>
                  <a:lnTo>
                    <a:pt x="55" y="868"/>
                  </a:lnTo>
                  <a:lnTo>
                    <a:pt x="33" y="835"/>
                  </a:lnTo>
                  <a:lnTo>
                    <a:pt x="5" y="810"/>
                  </a:lnTo>
                  <a:lnTo>
                    <a:pt x="0" y="794"/>
                  </a:lnTo>
                  <a:lnTo>
                    <a:pt x="0" y="761"/>
                  </a:lnTo>
                  <a:lnTo>
                    <a:pt x="14" y="746"/>
                  </a:lnTo>
                  <a:lnTo>
                    <a:pt x="52" y="730"/>
                  </a:lnTo>
                  <a:lnTo>
                    <a:pt x="60" y="720"/>
                  </a:lnTo>
                  <a:lnTo>
                    <a:pt x="46" y="699"/>
                  </a:lnTo>
                  <a:lnTo>
                    <a:pt x="41" y="662"/>
                  </a:lnTo>
                  <a:lnTo>
                    <a:pt x="55" y="630"/>
                  </a:lnTo>
                  <a:lnTo>
                    <a:pt x="84" y="599"/>
                  </a:lnTo>
                  <a:lnTo>
                    <a:pt x="84" y="575"/>
                  </a:lnTo>
                  <a:lnTo>
                    <a:pt x="74" y="554"/>
                  </a:lnTo>
                  <a:lnTo>
                    <a:pt x="84" y="517"/>
                  </a:lnTo>
                  <a:lnTo>
                    <a:pt x="88" y="512"/>
                  </a:lnTo>
                  <a:lnTo>
                    <a:pt x="102" y="512"/>
                  </a:lnTo>
                  <a:lnTo>
                    <a:pt x="112" y="528"/>
                  </a:lnTo>
                  <a:lnTo>
                    <a:pt x="126" y="507"/>
                  </a:lnTo>
                  <a:lnTo>
                    <a:pt x="131" y="448"/>
                  </a:lnTo>
                  <a:lnTo>
                    <a:pt x="168" y="411"/>
                  </a:lnTo>
                  <a:lnTo>
                    <a:pt x="168" y="390"/>
                  </a:lnTo>
                  <a:lnTo>
                    <a:pt x="168" y="374"/>
                  </a:lnTo>
                  <a:lnTo>
                    <a:pt x="206" y="349"/>
                  </a:lnTo>
                  <a:lnTo>
                    <a:pt x="234" y="343"/>
                  </a:lnTo>
                  <a:lnTo>
                    <a:pt x="244" y="332"/>
                  </a:lnTo>
                  <a:lnTo>
                    <a:pt x="220" y="306"/>
                  </a:lnTo>
                  <a:lnTo>
                    <a:pt x="201" y="264"/>
                  </a:lnTo>
                  <a:lnTo>
                    <a:pt x="192" y="254"/>
                  </a:lnTo>
                  <a:lnTo>
                    <a:pt x="164" y="269"/>
                  </a:lnTo>
                  <a:lnTo>
                    <a:pt x="145" y="259"/>
                  </a:lnTo>
                  <a:lnTo>
                    <a:pt x="117" y="248"/>
                  </a:lnTo>
                  <a:lnTo>
                    <a:pt x="107" y="254"/>
                  </a:lnTo>
                  <a:lnTo>
                    <a:pt x="98" y="242"/>
                  </a:lnTo>
                  <a:lnTo>
                    <a:pt x="98" y="222"/>
                  </a:lnTo>
                  <a:lnTo>
                    <a:pt x="84" y="201"/>
                  </a:lnTo>
                  <a:lnTo>
                    <a:pt x="74" y="195"/>
                  </a:lnTo>
                  <a:lnTo>
                    <a:pt x="52" y="201"/>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3" name="IT"/>
          <p:cNvGrpSpPr>
            <a:grpSpLocks/>
          </p:cNvGrpSpPr>
          <p:nvPr/>
        </p:nvGrpSpPr>
        <p:grpSpPr bwMode="auto">
          <a:xfrm>
            <a:off x="5286549" y="4381647"/>
            <a:ext cx="1374773" cy="1579562"/>
            <a:chOff x="2243131" y="4710790"/>
            <a:chExt cx="631" cy="817"/>
          </a:xfrm>
          <a:solidFill>
            <a:srgbClr val="FAFAFA"/>
          </a:solidFill>
          <a:effectLst/>
        </p:grpSpPr>
        <p:sp>
          <p:nvSpPr>
            <p:cNvPr id="74" name="Freeform 545"/>
            <p:cNvSpPr>
              <a:spLocks noChangeAspect="1"/>
            </p:cNvSpPr>
            <p:nvPr/>
          </p:nvSpPr>
          <p:spPr bwMode="auto">
            <a:xfrm>
              <a:off x="2243153" y="4711222"/>
              <a:ext cx="100" cy="168"/>
            </a:xfrm>
            <a:custGeom>
              <a:avLst/>
              <a:gdLst>
                <a:gd name="T0" fmla="*/ 89 w 150"/>
                <a:gd name="T1" fmla="*/ 0 h 275"/>
                <a:gd name="T2" fmla="*/ 66 w 150"/>
                <a:gd name="T3" fmla="*/ 16 h 275"/>
                <a:gd name="T4" fmla="*/ 47 w 150"/>
                <a:gd name="T5" fmla="*/ 31 h 275"/>
                <a:gd name="T6" fmla="*/ 28 w 150"/>
                <a:gd name="T7" fmla="*/ 37 h 275"/>
                <a:gd name="T8" fmla="*/ 0 w 150"/>
                <a:gd name="T9" fmla="*/ 31 h 275"/>
                <a:gd name="T10" fmla="*/ 5 w 150"/>
                <a:gd name="T11" fmla="*/ 64 h 275"/>
                <a:gd name="T12" fmla="*/ 19 w 150"/>
                <a:gd name="T13" fmla="*/ 84 h 275"/>
                <a:gd name="T14" fmla="*/ 14 w 150"/>
                <a:gd name="T15" fmla="*/ 138 h 275"/>
                <a:gd name="T16" fmla="*/ 14 w 150"/>
                <a:gd name="T17" fmla="*/ 164 h 275"/>
                <a:gd name="T18" fmla="*/ 19 w 150"/>
                <a:gd name="T19" fmla="*/ 185 h 275"/>
                <a:gd name="T20" fmla="*/ 5 w 150"/>
                <a:gd name="T21" fmla="*/ 228 h 275"/>
                <a:gd name="T22" fmla="*/ 9 w 150"/>
                <a:gd name="T23" fmla="*/ 259 h 275"/>
                <a:gd name="T24" fmla="*/ 28 w 150"/>
                <a:gd name="T25" fmla="*/ 275 h 275"/>
                <a:gd name="T26" fmla="*/ 56 w 150"/>
                <a:gd name="T27" fmla="*/ 253 h 275"/>
                <a:gd name="T28" fmla="*/ 66 w 150"/>
                <a:gd name="T29" fmla="*/ 248 h 275"/>
                <a:gd name="T30" fmla="*/ 94 w 150"/>
                <a:gd name="T31" fmla="*/ 253 h 275"/>
                <a:gd name="T32" fmla="*/ 113 w 150"/>
                <a:gd name="T33" fmla="*/ 232 h 275"/>
                <a:gd name="T34" fmla="*/ 113 w 150"/>
                <a:gd name="T35" fmla="*/ 211 h 275"/>
                <a:gd name="T36" fmla="*/ 136 w 150"/>
                <a:gd name="T37" fmla="*/ 169 h 275"/>
                <a:gd name="T38" fmla="*/ 145 w 150"/>
                <a:gd name="T39" fmla="*/ 142 h 275"/>
                <a:gd name="T40" fmla="*/ 136 w 150"/>
                <a:gd name="T41" fmla="*/ 117 h 275"/>
                <a:gd name="T42" fmla="*/ 150 w 150"/>
                <a:gd name="T43" fmla="*/ 84 h 275"/>
                <a:gd name="T44" fmla="*/ 141 w 150"/>
                <a:gd name="T45" fmla="*/ 37 h 275"/>
                <a:gd name="T46" fmla="*/ 136 w 150"/>
                <a:gd name="T47" fmla="*/ 10 h 275"/>
                <a:gd name="T48" fmla="*/ 89 w 150"/>
                <a:gd name="T4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75">
                  <a:moveTo>
                    <a:pt x="89" y="0"/>
                  </a:moveTo>
                  <a:lnTo>
                    <a:pt x="66" y="16"/>
                  </a:lnTo>
                  <a:lnTo>
                    <a:pt x="47" y="31"/>
                  </a:lnTo>
                  <a:lnTo>
                    <a:pt x="28" y="37"/>
                  </a:lnTo>
                  <a:lnTo>
                    <a:pt x="0" y="31"/>
                  </a:lnTo>
                  <a:lnTo>
                    <a:pt x="5" y="64"/>
                  </a:lnTo>
                  <a:lnTo>
                    <a:pt x="19" y="84"/>
                  </a:lnTo>
                  <a:lnTo>
                    <a:pt x="14" y="138"/>
                  </a:lnTo>
                  <a:lnTo>
                    <a:pt x="14" y="164"/>
                  </a:lnTo>
                  <a:lnTo>
                    <a:pt x="19" y="185"/>
                  </a:lnTo>
                  <a:lnTo>
                    <a:pt x="5" y="228"/>
                  </a:lnTo>
                  <a:lnTo>
                    <a:pt x="9" y="259"/>
                  </a:lnTo>
                  <a:lnTo>
                    <a:pt x="28" y="275"/>
                  </a:lnTo>
                  <a:lnTo>
                    <a:pt x="56" y="253"/>
                  </a:lnTo>
                  <a:lnTo>
                    <a:pt x="66" y="248"/>
                  </a:lnTo>
                  <a:lnTo>
                    <a:pt x="94" y="253"/>
                  </a:lnTo>
                  <a:lnTo>
                    <a:pt x="113" y="232"/>
                  </a:lnTo>
                  <a:lnTo>
                    <a:pt x="113" y="211"/>
                  </a:lnTo>
                  <a:lnTo>
                    <a:pt x="136" y="169"/>
                  </a:lnTo>
                  <a:lnTo>
                    <a:pt x="145" y="142"/>
                  </a:lnTo>
                  <a:lnTo>
                    <a:pt x="136" y="117"/>
                  </a:lnTo>
                  <a:lnTo>
                    <a:pt x="150" y="84"/>
                  </a:lnTo>
                  <a:lnTo>
                    <a:pt x="141" y="37"/>
                  </a:lnTo>
                  <a:lnTo>
                    <a:pt x="136" y="10"/>
                  </a:lnTo>
                  <a:lnTo>
                    <a:pt x="8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5" name="Freeform 546"/>
            <p:cNvSpPr>
              <a:spLocks noChangeAspect="1"/>
            </p:cNvSpPr>
            <p:nvPr/>
          </p:nvSpPr>
          <p:spPr bwMode="auto">
            <a:xfrm>
              <a:off x="2243388" y="4711487"/>
              <a:ext cx="184" cy="120"/>
            </a:xfrm>
            <a:custGeom>
              <a:avLst/>
              <a:gdLst>
                <a:gd name="T0" fmla="*/ 260 w 274"/>
                <a:gd name="T1" fmla="*/ 0 h 194"/>
                <a:gd name="T2" fmla="*/ 274 w 274"/>
                <a:gd name="T3" fmla="*/ 16 h 194"/>
                <a:gd name="T4" fmla="*/ 265 w 274"/>
                <a:gd name="T5" fmla="*/ 32 h 194"/>
                <a:gd name="T6" fmla="*/ 255 w 274"/>
                <a:gd name="T7" fmla="*/ 57 h 194"/>
                <a:gd name="T8" fmla="*/ 241 w 274"/>
                <a:gd name="T9" fmla="*/ 73 h 194"/>
                <a:gd name="T10" fmla="*/ 246 w 274"/>
                <a:gd name="T11" fmla="*/ 121 h 194"/>
                <a:gd name="T12" fmla="*/ 255 w 274"/>
                <a:gd name="T13" fmla="*/ 157 h 194"/>
                <a:gd name="T14" fmla="*/ 231 w 274"/>
                <a:gd name="T15" fmla="*/ 172 h 194"/>
                <a:gd name="T16" fmla="*/ 227 w 274"/>
                <a:gd name="T17" fmla="*/ 188 h 194"/>
                <a:gd name="T18" fmla="*/ 208 w 274"/>
                <a:gd name="T19" fmla="*/ 194 h 194"/>
                <a:gd name="T20" fmla="*/ 180 w 274"/>
                <a:gd name="T21" fmla="*/ 162 h 194"/>
                <a:gd name="T22" fmla="*/ 161 w 274"/>
                <a:gd name="T23" fmla="*/ 162 h 194"/>
                <a:gd name="T24" fmla="*/ 146 w 274"/>
                <a:gd name="T25" fmla="*/ 137 h 194"/>
                <a:gd name="T26" fmla="*/ 118 w 274"/>
                <a:gd name="T27" fmla="*/ 121 h 194"/>
                <a:gd name="T28" fmla="*/ 99 w 274"/>
                <a:gd name="T29" fmla="*/ 115 h 194"/>
                <a:gd name="T30" fmla="*/ 80 w 274"/>
                <a:gd name="T31" fmla="*/ 105 h 194"/>
                <a:gd name="T32" fmla="*/ 61 w 274"/>
                <a:gd name="T33" fmla="*/ 88 h 194"/>
                <a:gd name="T34" fmla="*/ 28 w 274"/>
                <a:gd name="T35" fmla="*/ 63 h 194"/>
                <a:gd name="T36" fmla="*/ 14 w 274"/>
                <a:gd name="T37" fmla="*/ 57 h 194"/>
                <a:gd name="T38" fmla="*/ 0 w 274"/>
                <a:gd name="T39" fmla="*/ 41 h 194"/>
                <a:gd name="T40" fmla="*/ 0 w 274"/>
                <a:gd name="T41" fmla="*/ 22 h 194"/>
                <a:gd name="T42" fmla="*/ 5 w 274"/>
                <a:gd name="T43" fmla="*/ 6 h 194"/>
                <a:gd name="T44" fmla="*/ 33 w 274"/>
                <a:gd name="T45" fmla="*/ 10 h 194"/>
                <a:gd name="T46" fmla="*/ 76 w 274"/>
                <a:gd name="T47" fmla="*/ 10 h 194"/>
                <a:gd name="T48" fmla="*/ 85 w 274"/>
                <a:gd name="T49" fmla="*/ 26 h 194"/>
                <a:gd name="T50" fmla="*/ 132 w 274"/>
                <a:gd name="T51" fmla="*/ 26 h 194"/>
                <a:gd name="T52" fmla="*/ 165 w 274"/>
                <a:gd name="T53" fmla="*/ 26 h 194"/>
                <a:gd name="T54" fmla="*/ 208 w 274"/>
                <a:gd name="T55" fmla="*/ 16 h 194"/>
                <a:gd name="T56" fmla="*/ 260 w 274"/>
                <a:gd name="T5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 h="194">
                  <a:moveTo>
                    <a:pt x="260" y="0"/>
                  </a:moveTo>
                  <a:lnTo>
                    <a:pt x="274" y="16"/>
                  </a:lnTo>
                  <a:lnTo>
                    <a:pt x="265" y="32"/>
                  </a:lnTo>
                  <a:lnTo>
                    <a:pt x="255" y="57"/>
                  </a:lnTo>
                  <a:lnTo>
                    <a:pt x="241" y="73"/>
                  </a:lnTo>
                  <a:lnTo>
                    <a:pt x="246" y="121"/>
                  </a:lnTo>
                  <a:lnTo>
                    <a:pt x="255" y="157"/>
                  </a:lnTo>
                  <a:lnTo>
                    <a:pt x="231" y="172"/>
                  </a:lnTo>
                  <a:lnTo>
                    <a:pt x="227" y="188"/>
                  </a:lnTo>
                  <a:lnTo>
                    <a:pt x="208" y="194"/>
                  </a:lnTo>
                  <a:lnTo>
                    <a:pt x="180" y="162"/>
                  </a:lnTo>
                  <a:lnTo>
                    <a:pt x="161" y="162"/>
                  </a:lnTo>
                  <a:lnTo>
                    <a:pt x="146" y="137"/>
                  </a:lnTo>
                  <a:lnTo>
                    <a:pt x="118" y="121"/>
                  </a:lnTo>
                  <a:lnTo>
                    <a:pt x="99" y="115"/>
                  </a:lnTo>
                  <a:lnTo>
                    <a:pt x="80" y="105"/>
                  </a:lnTo>
                  <a:lnTo>
                    <a:pt x="61" y="88"/>
                  </a:lnTo>
                  <a:lnTo>
                    <a:pt x="28" y="63"/>
                  </a:lnTo>
                  <a:lnTo>
                    <a:pt x="14" y="57"/>
                  </a:lnTo>
                  <a:lnTo>
                    <a:pt x="0" y="41"/>
                  </a:lnTo>
                  <a:lnTo>
                    <a:pt x="0" y="22"/>
                  </a:lnTo>
                  <a:lnTo>
                    <a:pt x="5" y="6"/>
                  </a:lnTo>
                  <a:lnTo>
                    <a:pt x="33" y="10"/>
                  </a:lnTo>
                  <a:lnTo>
                    <a:pt x="76" y="10"/>
                  </a:lnTo>
                  <a:lnTo>
                    <a:pt x="85" y="26"/>
                  </a:lnTo>
                  <a:lnTo>
                    <a:pt x="132" y="26"/>
                  </a:lnTo>
                  <a:lnTo>
                    <a:pt x="165" y="26"/>
                  </a:lnTo>
                  <a:lnTo>
                    <a:pt x="208" y="16"/>
                  </a:lnTo>
                  <a:lnTo>
                    <a:pt x="26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6" name="Freeform 547"/>
            <p:cNvSpPr>
              <a:spLocks noChangeAspect="1"/>
            </p:cNvSpPr>
            <p:nvPr/>
          </p:nvSpPr>
          <p:spPr bwMode="auto">
            <a:xfrm>
              <a:off x="2243131" y="4710790"/>
              <a:ext cx="631" cy="730"/>
            </a:xfrm>
            <a:custGeom>
              <a:avLst/>
              <a:gdLst>
                <a:gd name="T0" fmla="*/ 713 w 931"/>
                <a:gd name="T1" fmla="*/ 1163 h 1179"/>
                <a:gd name="T2" fmla="*/ 769 w 931"/>
                <a:gd name="T3" fmla="*/ 1052 h 1179"/>
                <a:gd name="T4" fmla="*/ 793 w 931"/>
                <a:gd name="T5" fmla="*/ 1015 h 1179"/>
                <a:gd name="T6" fmla="*/ 774 w 931"/>
                <a:gd name="T7" fmla="*/ 963 h 1179"/>
                <a:gd name="T8" fmla="*/ 751 w 931"/>
                <a:gd name="T9" fmla="*/ 957 h 1179"/>
                <a:gd name="T10" fmla="*/ 769 w 931"/>
                <a:gd name="T11" fmla="*/ 916 h 1179"/>
                <a:gd name="T12" fmla="*/ 798 w 931"/>
                <a:gd name="T13" fmla="*/ 857 h 1179"/>
                <a:gd name="T14" fmla="*/ 887 w 931"/>
                <a:gd name="T15" fmla="*/ 926 h 1179"/>
                <a:gd name="T16" fmla="*/ 924 w 931"/>
                <a:gd name="T17" fmla="*/ 926 h 1179"/>
                <a:gd name="T18" fmla="*/ 896 w 931"/>
                <a:gd name="T19" fmla="*/ 846 h 1179"/>
                <a:gd name="T20" fmla="*/ 868 w 931"/>
                <a:gd name="T21" fmla="*/ 842 h 1179"/>
                <a:gd name="T22" fmla="*/ 769 w 931"/>
                <a:gd name="T23" fmla="*/ 752 h 1179"/>
                <a:gd name="T24" fmla="*/ 708 w 931"/>
                <a:gd name="T25" fmla="*/ 704 h 1179"/>
                <a:gd name="T26" fmla="*/ 713 w 931"/>
                <a:gd name="T27" fmla="*/ 672 h 1179"/>
                <a:gd name="T28" fmla="*/ 620 w 931"/>
                <a:gd name="T29" fmla="*/ 624 h 1179"/>
                <a:gd name="T30" fmla="*/ 578 w 931"/>
                <a:gd name="T31" fmla="*/ 583 h 1179"/>
                <a:gd name="T32" fmla="*/ 479 w 931"/>
                <a:gd name="T33" fmla="*/ 416 h 1179"/>
                <a:gd name="T34" fmla="*/ 460 w 931"/>
                <a:gd name="T35" fmla="*/ 284 h 1179"/>
                <a:gd name="T36" fmla="*/ 432 w 931"/>
                <a:gd name="T37" fmla="*/ 232 h 1179"/>
                <a:gd name="T38" fmla="*/ 512 w 931"/>
                <a:gd name="T39" fmla="*/ 190 h 1179"/>
                <a:gd name="T40" fmla="*/ 549 w 931"/>
                <a:gd name="T41" fmla="*/ 99 h 1179"/>
                <a:gd name="T42" fmla="*/ 465 w 931"/>
                <a:gd name="T43" fmla="*/ 58 h 1179"/>
                <a:gd name="T44" fmla="*/ 451 w 931"/>
                <a:gd name="T45" fmla="*/ 21 h 1179"/>
                <a:gd name="T46" fmla="*/ 334 w 931"/>
                <a:gd name="T47" fmla="*/ 5 h 1179"/>
                <a:gd name="T48" fmla="*/ 278 w 931"/>
                <a:gd name="T49" fmla="*/ 74 h 1179"/>
                <a:gd name="T50" fmla="*/ 230 w 931"/>
                <a:gd name="T51" fmla="*/ 68 h 1179"/>
                <a:gd name="T52" fmla="*/ 169 w 931"/>
                <a:gd name="T53" fmla="*/ 89 h 1179"/>
                <a:gd name="T54" fmla="*/ 146 w 931"/>
                <a:gd name="T55" fmla="*/ 42 h 1179"/>
                <a:gd name="T56" fmla="*/ 113 w 931"/>
                <a:gd name="T57" fmla="*/ 84 h 1179"/>
                <a:gd name="T58" fmla="*/ 28 w 931"/>
                <a:gd name="T59" fmla="*/ 121 h 1179"/>
                <a:gd name="T60" fmla="*/ 9 w 931"/>
                <a:gd name="T61" fmla="*/ 195 h 1179"/>
                <a:gd name="T62" fmla="*/ 0 w 931"/>
                <a:gd name="T63" fmla="*/ 268 h 1179"/>
                <a:gd name="T64" fmla="*/ 38 w 931"/>
                <a:gd name="T65" fmla="*/ 296 h 1179"/>
                <a:gd name="T66" fmla="*/ 66 w 931"/>
                <a:gd name="T67" fmla="*/ 354 h 1179"/>
                <a:gd name="T68" fmla="*/ 155 w 931"/>
                <a:gd name="T69" fmla="*/ 300 h 1179"/>
                <a:gd name="T70" fmla="*/ 240 w 931"/>
                <a:gd name="T71" fmla="*/ 385 h 1179"/>
                <a:gd name="T72" fmla="*/ 278 w 931"/>
                <a:gd name="T73" fmla="*/ 500 h 1179"/>
                <a:gd name="T74" fmla="*/ 342 w 931"/>
                <a:gd name="T75" fmla="*/ 563 h 1179"/>
                <a:gd name="T76" fmla="*/ 427 w 931"/>
                <a:gd name="T77" fmla="*/ 678 h 1179"/>
                <a:gd name="T78" fmla="*/ 559 w 931"/>
                <a:gd name="T79" fmla="*/ 788 h 1179"/>
                <a:gd name="T80" fmla="*/ 601 w 931"/>
                <a:gd name="T81" fmla="*/ 820 h 1179"/>
                <a:gd name="T82" fmla="*/ 634 w 931"/>
                <a:gd name="T83" fmla="*/ 894 h 1179"/>
                <a:gd name="T84" fmla="*/ 686 w 931"/>
                <a:gd name="T85" fmla="*/ 916 h 1179"/>
                <a:gd name="T86" fmla="*/ 705 w 931"/>
                <a:gd name="T87" fmla="*/ 1010 h 1179"/>
                <a:gd name="T88" fmla="*/ 689 w 931"/>
                <a:gd name="T89" fmla="*/ 1079 h 1179"/>
                <a:gd name="T90" fmla="*/ 675 w 931"/>
                <a:gd name="T91" fmla="*/ 116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1" h="1179">
                  <a:moveTo>
                    <a:pt x="675" y="1163"/>
                  </a:moveTo>
                  <a:lnTo>
                    <a:pt x="689" y="1179"/>
                  </a:lnTo>
                  <a:lnTo>
                    <a:pt x="713" y="1163"/>
                  </a:lnTo>
                  <a:lnTo>
                    <a:pt x="741" y="1121"/>
                  </a:lnTo>
                  <a:lnTo>
                    <a:pt x="755" y="1058"/>
                  </a:lnTo>
                  <a:lnTo>
                    <a:pt x="769" y="1052"/>
                  </a:lnTo>
                  <a:lnTo>
                    <a:pt x="779" y="1062"/>
                  </a:lnTo>
                  <a:lnTo>
                    <a:pt x="798" y="1042"/>
                  </a:lnTo>
                  <a:lnTo>
                    <a:pt x="793" y="1015"/>
                  </a:lnTo>
                  <a:lnTo>
                    <a:pt x="802" y="994"/>
                  </a:lnTo>
                  <a:lnTo>
                    <a:pt x="798" y="984"/>
                  </a:lnTo>
                  <a:lnTo>
                    <a:pt x="774" y="963"/>
                  </a:lnTo>
                  <a:lnTo>
                    <a:pt x="765" y="963"/>
                  </a:lnTo>
                  <a:lnTo>
                    <a:pt x="769" y="951"/>
                  </a:lnTo>
                  <a:lnTo>
                    <a:pt x="751" y="957"/>
                  </a:lnTo>
                  <a:lnTo>
                    <a:pt x="741" y="947"/>
                  </a:lnTo>
                  <a:lnTo>
                    <a:pt x="741" y="936"/>
                  </a:lnTo>
                  <a:lnTo>
                    <a:pt x="769" y="916"/>
                  </a:lnTo>
                  <a:lnTo>
                    <a:pt x="783" y="894"/>
                  </a:lnTo>
                  <a:lnTo>
                    <a:pt x="783" y="862"/>
                  </a:lnTo>
                  <a:lnTo>
                    <a:pt x="798" y="857"/>
                  </a:lnTo>
                  <a:lnTo>
                    <a:pt x="845" y="883"/>
                  </a:lnTo>
                  <a:lnTo>
                    <a:pt x="863" y="889"/>
                  </a:lnTo>
                  <a:lnTo>
                    <a:pt x="887" y="926"/>
                  </a:lnTo>
                  <a:lnTo>
                    <a:pt x="896" y="947"/>
                  </a:lnTo>
                  <a:lnTo>
                    <a:pt x="910" y="947"/>
                  </a:lnTo>
                  <a:lnTo>
                    <a:pt x="924" y="926"/>
                  </a:lnTo>
                  <a:lnTo>
                    <a:pt x="931" y="904"/>
                  </a:lnTo>
                  <a:lnTo>
                    <a:pt x="915" y="867"/>
                  </a:lnTo>
                  <a:lnTo>
                    <a:pt x="896" y="846"/>
                  </a:lnTo>
                  <a:lnTo>
                    <a:pt x="878" y="846"/>
                  </a:lnTo>
                  <a:lnTo>
                    <a:pt x="878" y="842"/>
                  </a:lnTo>
                  <a:lnTo>
                    <a:pt x="868" y="842"/>
                  </a:lnTo>
                  <a:lnTo>
                    <a:pt x="821" y="788"/>
                  </a:lnTo>
                  <a:lnTo>
                    <a:pt x="798" y="793"/>
                  </a:lnTo>
                  <a:lnTo>
                    <a:pt x="769" y="752"/>
                  </a:lnTo>
                  <a:lnTo>
                    <a:pt x="751" y="746"/>
                  </a:lnTo>
                  <a:lnTo>
                    <a:pt x="722" y="715"/>
                  </a:lnTo>
                  <a:lnTo>
                    <a:pt x="708" y="704"/>
                  </a:lnTo>
                  <a:lnTo>
                    <a:pt x="719" y="694"/>
                  </a:lnTo>
                  <a:lnTo>
                    <a:pt x="732" y="688"/>
                  </a:lnTo>
                  <a:lnTo>
                    <a:pt x="713" y="672"/>
                  </a:lnTo>
                  <a:lnTo>
                    <a:pt x="689" y="682"/>
                  </a:lnTo>
                  <a:lnTo>
                    <a:pt x="672" y="672"/>
                  </a:lnTo>
                  <a:lnTo>
                    <a:pt x="620" y="624"/>
                  </a:lnTo>
                  <a:lnTo>
                    <a:pt x="615" y="604"/>
                  </a:lnTo>
                  <a:lnTo>
                    <a:pt x="596" y="598"/>
                  </a:lnTo>
                  <a:lnTo>
                    <a:pt x="578" y="583"/>
                  </a:lnTo>
                  <a:lnTo>
                    <a:pt x="530" y="469"/>
                  </a:lnTo>
                  <a:lnTo>
                    <a:pt x="516" y="453"/>
                  </a:lnTo>
                  <a:lnTo>
                    <a:pt x="479" y="416"/>
                  </a:lnTo>
                  <a:lnTo>
                    <a:pt x="436" y="342"/>
                  </a:lnTo>
                  <a:lnTo>
                    <a:pt x="436" y="300"/>
                  </a:lnTo>
                  <a:lnTo>
                    <a:pt x="460" y="284"/>
                  </a:lnTo>
                  <a:lnTo>
                    <a:pt x="460" y="263"/>
                  </a:lnTo>
                  <a:lnTo>
                    <a:pt x="441" y="243"/>
                  </a:lnTo>
                  <a:lnTo>
                    <a:pt x="432" y="232"/>
                  </a:lnTo>
                  <a:lnTo>
                    <a:pt x="436" y="216"/>
                  </a:lnTo>
                  <a:lnTo>
                    <a:pt x="455" y="206"/>
                  </a:lnTo>
                  <a:lnTo>
                    <a:pt x="512" y="190"/>
                  </a:lnTo>
                  <a:lnTo>
                    <a:pt x="535" y="173"/>
                  </a:lnTo>
                  <a:lnTo>
                    <a:pt x="554" y="153"/>
                  </a:lnTo>
                  <a:lnTo>
                    <a:pt x="549" y="99"/>
                  </a:lnTo>
                  <a:lnTo>
                    <a:pt x="554" y="79"/>
                  </a:lnTo>
                  <a:lnTo>
                    <a:pt x="526" y="74"/>
                  </a:lnTo>
                  <a:lnTo>
                    <a:pt x="465" y="58"/>
                  </a:lnTo>
                  <a:lnTo>
                    <a:pt x="455" y="42"/>
                  </a:lnTo>
                  <a:lnTo>
                    <a:pt x="451" y="37"/>
                  </a:lnTo>
                  <a:lnTo>
                    <a:pt x="451" y="21"/>
                  </a:lnTo>
                  <a:lnTo>
                    <a:pt x="446" y="5"/>
                  </a:lnTo>
                  <a:lnTo>
                    <a:pt x="413" y="0"/>
                  </a:lnTo>
                  <a:lnTo>
                    <a:pt x="334" y="5"/>
                  </a:lnTo>
                  <a:lnTo>
                    <a:pt x="325" y="27"/>
                  </a:lnTo>
                  <a:lnTo>
                    <a:pt x="296" y="31"/>
                  </a:lnTo>
                  <a:lnTo>
                    <a:pt x="278" y="74"/>
                  </a:lnTo>
                  <a:lnTo>
                    <a:pt x="278" y="89"/>
                  </a:lnTo>
                  <a:lnTo>
                    <a:pt x="259" y="74"/>
                  </a:lnTo>
                  <a:lnTo>
                    <a:pt x="230" y="68"/>
                  </a:lnTo>
                  <a:lnTo>
                    <a:pt x="212" y="79"/>
                  </a:lnTo>
                  <a:lnTo>
                    <a:pt x="198" y="111"/>
                  </a:lnTo>
                  <a:lnTo>
                    <a:pt x="169" y="89"/>
                  </a:lnTo>
                  <a:lnTo>
                    <a:pt x="174" y="58"/>
                  </a:lnTo>
                  <a:lnTo>
                    <a:pt x="165" y="37"/>
                  </a:lnTo>
                  <a:lnTo>
                    <a:pt x="146" y="42"/>
                  </a:lnTo>
                  <a:lnTo>
                    <a:pt x="141" y="68"/>
                  </a:lnTo>
                  <a:lnTo>
                    <a:pt x="127" y="84"/>
                  </a:lnTo>
                  <a:lnTo>
                    <a:pt x="113" y="84"/>
                  </a:lnTo>
                  <a:lnTo>
                    <a:pt x="47" y="74"/>
                  </a:lnTo>
                  <a:lnTo>
                    <a:pt x="25" y="95"/>
                  </a:lnTo>
                  <a:lnTo>
                    <a:pt x="28" y="121"/>
                  </a:lnTo>
                  <a:lnTo>
                    <a:pt x="33" y="142"/>
                  </a:lnTo>
                  <a:lnTo>
                    <a:pt x="0" y="173"/>
                  </a:lnTo>
                  <a:lnTo>
                    <a:pt x="9" y="195"/>
                  </a:lnTo>
                  <a:lnTo>
                    <a:pt x="19" y="206"/>
                  </a:lnTo>
                  <a:lnTo>
                    <a:pt x="0" y="232"/>
                  </a:lnTo>
                  <a:lnTo>
                    <a:pt x="0" y="268"/>
                  </a:lnTo>
                  <a:lnTo>
                    <a:pt x="9" y="284"/>
                  </a:lnTo>
                  <a:lnTo>
                    <a:pt x="28" y="284"/>
                  </a:lnTo>
                  <a:lnTo>
                    <a:pt x="38" y="296"/>
                  </a:lnTo>
                  <a:lnTo>
                    <a:pt x="47" y="321"/>
                  </a:lnTo>
                  <a:lnTo>
                    <a:pt x="47" y="348"/>
                  </a:lnTo>
                  <a:lnTo>
                    <a:pt x="66" y="354"/>
                  </a:lnTo>
                  <a:lnTo>
                    <a:pt x="80" y="348"/>
                  </a:lnTo>
                  <a:lnTo>
                    <a:pt x="132" y="290"/>
                  </a:lnTo>
                  <a:lnTo>
                    <a:pt x="155" y="300"/>
                  </a:lnTo>
                  <a:lnTo>
                    <a:pt x="202" y="327"/>
                  </a:lnTo>
                  <a:lnTo>
                    <a:pt x="235" y="354"/>
                  </a:lnTo>
                  <a:lnTo>
                    <a:pt x="240" y="385"/>
                  </a:lnTo>
                  <a:lnTo>
                    <a:pt x="259" y="406"/>
                  </a:lnTo>
                  <a:lnTo>
                    <a:pt x="268" y="443"/>
                  </a:lnTo>
                  <a:lnTo>
                    <a:pt x="278" y="500"/>
                  </a:lnTo>
                  <a:lnTo>
                    <a:pt x="292" y="527"/>
                  </a:lnTo>
                  <a:lnTo>
                    <a:pt x="309" y="549"/>
                  </a:lnTo>
                  <a:lnTo>
                    <a:pt x="342" y="563"/>
                  </a:lnTo>
                  <a:lnTo>
                    <a:pt x="372" y="614"/>
                  </a:lnTo>
                  <a:lnTo>
                    <a:pt x="399" y="657"/>
                  </a:lnTo>
                  <a:lnTo>
                    <a:pt x="427" y="678"/>
                  </a:lnTo>
                  <a:lnTo>
                    <a:pt x="479" y="746"/>
                  </a:lnTo>
                  <a:lnTo>
                    <a:pt x="516" y="746"/>
                  </a:lnTo>
                  <a:lnTo>
                    <a:pt x="559" y="788"/>
                  </a:lnTo>
                  <a:lnTo>
                    <a:pt x="559" y="830"/>
                  </a:lnTo>
                  <a:lnTo>
                    <a:pt x="573" y="842"/>
                  </a:lnTo>
                  <a:lnTo>
                    <a:pt x="601" y="820"/>
                  </a:lnTo>
                  <a:lnTo>
                    <a:pt x="606" y="842"/>
                  </a:lnTo>
                  <a:lnTo>
                    <a:pt x="606" y="867"/>
                  </a:lnTo>
                  <a:lnTo>
                    <a:pt x="634" y="894"/>
                  </a:lnTo>
                  <a:lnTo>
                    <a:pt x="643" y="910"/>
                  </a:lnTo>
                  <a:lnTo>
                    <a:pt x="681" y="899"/>
                  </a:lnTo>
                  <a:lnTo>
                    <a:pt x="686" y="916"/>
                  </a:lnTo>
                  <a:lnTo>
                    <a:pt x="681" y="951"/>
                  </a:lnTo>
                  <a:lnTo>
                    <a:pt x="700" y="984"/>
                  </a:lnTo>
                  <a:lnTo>
                    <a:pt x="705" y="1010"/>
                  </a:lnTo>
                  <a:lnTo>
                    <a:pt x="713" y="1037"/>
                  </a:lnTo>
                  <a:lnTo>
                    <a:pt x="708" y="1058"/>
                  </a:lnTo>
                  <a:lnTo>
                    <a:pt x="689" y="1079"/>
                  </a:lnTo>
                  <a:lnTo>
                    <a:pt x="686" y="1105"/>
                  </a:lnTo>
                  <a:lnTo>
                    <a:pt x="672" y="1136"/>
                  </a:lnTo>
                  <a:lnTo>
                    <a:pt x="675" y="116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4" name="GR"/>
          <p:cNvGrpSpPr>
            <a:grpSpLocks/>
          </p:cNvGrpSpPr>
          <p:nvPr/>
        </p:nvGrpSpPr>
        <p:grpSpPr bwMode="auto">
          <a:xfrm>
            <a:off x="6856601" y="5199139"/>
            <a:ext cx="1093780" cy="1031887"/>
            <a:chOff x="3816299" y="5517315"/>
            <a:chExt cx="501" cy="535"/>
          </a:xfrm>
          <a:solidFill>
            <a:srgbClr val="FAFAFA"/>
          </a:solidFill>
          <a:effectLst/>
        </p:grpSpPr>
        <p:sp>
          <p:nvSpPr>
            <p:cNvPr id="65" name="Freeform 536"/>
            <p:cNvSpPr>
              <a:spLocks noChangeAspect="1"/>
            </p:cNvSpPr>
            <p:nvPr/>
          </p:nvSpPr>
          <p:spPr bwMode="auto">
            <a:xfrm>
              <a:off x="3816585" y="5517458"/>
              <a:ext cx="26" cy="24"/>
            </a:xfrm>
            <a:custGeom>
              <a:avLst/>
              <a:gdLst>
                <a:gd name="T0" fmla="*/ 38 w 38"/>
                <a:gd name="T1" fmla="*/ 0 h 40"/>
                <a:gd name="T2" fmla="*/ 14 w 38"/>
                <a:gd name="T3" fmla="*/ 0 h 40"/>
                <a:gd name="T4" fmla="*/ 2 w 38"/>
                <a:gd name="T5" fmla="*/ 9 h 40"/>
                <a:gd name="T6" fmla="*/ 0 w 38"/>
                <a:gd name="T7" fmla="*/ 22 h 40"/>
                <a:gd name="T8" fmla="*/ 0 w 38"/>
                <a:gd name="T9" fmla="*/ 37 h 40"/>
                <a:gd name="T10" fmla="*/ 11 w 38"/>
                <a:gd name="T11" fmla="*/ 40 h 40"/>
                <a:gd name="T12" fmla="*/ 33 w 38"/>
                <a:gd name="T13" fmla="*/ 25 h 40"/>
                <a:gd name="T14" fmla="*/ 38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8" y="0"/>
                  </a:moveTo>
                  <a:lnTo>
                    <a:pt x="14" y="0"/>
                  </a:lnTo>
                  <a:lnTo>
                    <a:pt x="2" y="9"/>
                  </a:lnTo>
                  <a:lnTo>
                    <a:pt x="0" y="22"/>
                  </a:lnTo>
                  <a:lnTo>
                    <a:pt x="0" y="37"/>
                  </a:lnTo>
                  <a:lnTo>
                    <a:pt x="11" y="40"/>
                  </a:lnTo>
                  <a:lnTo>
                    <a:pt x="33" y="25"/>
                  </a:lnTo>
                  <a:lnTo>
                    <a:pt x="3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6" name="Freeform 537"/>
            <p:cNvSpPr>
              <a:spLocks noChangeAspect="1"/>
            </p:cNvSpPr>
            <p:nvPr/>
          </p:nvSpPr>
          <p:spPr bwMode="auto">
            <a:xfrm>
              <a:off x="3816633" y="5517499"/>
              <a:ext cx="45" cy="33"/>
            </a:xfrm>
            <a:custGeom>
              <a:avLst/>
              <a:gdLst>
                <a:gd name="T0" fmla="*/ 35 w 66"/>
                <a:gd name="T1" fmla="*/ 0 h 52"/>
                <a:gd name="T2" fmla="*/ 66 w 66"/>
                <a:gd name="T3" fmla="*/ 37 h 52"/>
                <a:gd name="T4" fmla="*/ 60 w 66"/>
                <a:gd name="T5" fmla="*/ 47 h 52"/>
                <a:gd name="T6" fmla="*/ 44 w 66"/>
                <a:gd name="T7" fmla="*/ 52 h 52"/>
                <a:gd name="T8" fmla="*/ 41 w 66"/>
                <a:gd name="T9" fmla="*/ 40 h 52"/>
                <a:gd name="T10" fmla="*/ 35 w 66"/>
                <a:gd name="T11" fmla="*/ 34 h 52"/>
                <a:gd name="T12" fmla="*/ 25 w 66"/>
                <a:gd name="T13" fmla="*/ 40 h 52"/>
                <a:gd name="T14" fmla="*/ 14 w 66"/>
                <a:gd name="T15" fmla="*/ 31 h 52"/>
                <a:gd name="T16" fmla="*/ 9 w 66"/>
                <a:gd name="T17" fmla="*/ 24 h 52"/>
                <a:gd name="T18" fmla="*/ 16 w 66"/>
                <a:gd name="T19" fmla="*/ 18 h 52"/>
                <a:gd name="T20" fmla="*/ 2 w 66"/>
                <a:gd name="T21" fmla="*/ 27 h 52"/>
                <a:gd name="T22" fmla="*/ 0 w 66"/>
                <a:gd name="T23" fmla="*/ 18 h 52"/>
                <a:gd name="T24" fmla="*/ 19 w 66"/>
                <a:gd name="T25" fmla="*/ 10 h 52"/>
                <a:gd name="T26" fmla="*/ 35 w 66"/>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52">
                  <a:moveTo>
                    <a:pt x="35" y="0"/>
                  </a:moveTo>
                  <a:lnTo>
                    <a:pt x="66" y="37"/>
                  </a:lnTo>
                  <a:lnTo>
                    <a:pt x="60" y="47"/>
                  </a:lnTo>
                  <a:lnTo>
                    <a:pt x="44" y="52"/>
                  </a:lnTo>
                  <a:lnTo>
                    <a:pt x="41" y="40"/>
                  </a:lnTo>
                  <a:lnTo>
                    <a:pt x="35" y="34"/>
                  </a:lnTo>
                  <a:lnTo>
                    <a:pt x="25" y="40"/>
                  </a:lnTo>
                  <a:lnTo>
                    <a:pt x="14" y="31"/>
                  </a:lnTo>
                  <a:lnTo>
                    <a:pt x="9" y="24"/>
                  </a:lnTo>
                  <a:lnTo>
                    <a:pt x="16" y="18"/>
                  </a:lnTo>
                  <a:lnTo>
                    <a:pt x="2" y="27"/>
                  </a:lnTo>
                  <a:lnTo>
                    <a:pt x="0" y="18"/>
                  </a:lnTo>
                  <a:lnTo>
                    <a:pt x="19" y="10"/>
                  </a:lnTo>
                  <a:lnTo>
                    <a:pt x="3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7" name="Freeform 538"/>
            <p:cNvSpPr>
              <a:spLocks noChangeAspect="1"/>
            </p:cNvSpPr>
            <p:nvPr/>
          </p:nvSpPr>
          <p:spPr bwMode="auto">
            <a:xfrm>
              <a:off x="3816309" y="5517596"/>
              <a:ext cx="21" cy="22"/>
            </a:xfrm>
            <a:custGeom>
              <a:avLst/>
              <a:gdLst>
                <a:gd name="T0" fmla="*/ 22 w 30"/>
                <a:gd name="T1" fmla="*/ 0 h 36"/>
                <a:gd name="T2" fmla="*/ 30 w 30"/>
                <a:gd name="T3" fmla="*/ 10 h 36"/>
                <a:gd name="T4" fmla="*/ 27 w 30"/>
                <a:gd name="T5" fmla="*/ 23 h 36"/>
                <a:gd name="T6" fmla="*/ 30 w 30"/>
                <a:gd name="T7" fmla="*/ 33 h 36"/>
                <a:gd name="T8" fmla="*/ 22 w 30"/>
                <a:gd name="T9" fmla="*/ 36 h 36"/>
                <a:gd name="T10" fmla="*/ 8 w 30"/>
                <a:gd name="T11" fmla="*/ 33 h 36"/>
                <a:gd name="T12" fmla="*/ 0 w 30"/>
                <a:gd name="T13" fmla="*/ 20 h 36"/>
                <a:gd name="T14" fmla="*/ 22 w 3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6">
                  <a:moveTo>
                    <a:pt x="22" y="0"/>
                  </a:moveTo>
                  <a:lnTo>
                    <a:pt x="30" y="10"/>
                  </a:lnTo>
                  <a:lnTo>
                    <a:pt x="27" y="23"/>
                  </a:lnTo>
                  <a:lnTo>
                    <a:pt x="30" y="33"/>
                  </a:lnTo>
                  <a:lnTo>
                    <a:pt x="22" y="36"/>
                  </a:lnTo>
                  <a:lnTo>
                    <a:pt x="8" y="33"/>
                  </a:lnTo>
                  <a:lnTo>
                    <a:pt x="0" y="20"/>
                  </a:lnTo>
                  <a:lnTo>
                    <a:pt x="22"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8" name="Freeform 539"/>
            <p:cNvSpPr>
              <a:spLocks noChangeAspect="1"/>
            </p:cNvSpPr>
            <p:nvPr/>
          </p:nvSpPr>
          <p:spPr bwMode="auto">
            <a:xfrm>
              <a:off x="3816484" y="5517548"/>
              <a:ext cx="91" cy="76"/>
            </a:xfrm>
            <a:custGeom>
              <a:avLst/>
              <a:gdLst>
                <a:gd name="T0" fmla="*/ 11 w 134"/>
                <a:gd name="T1" fmla="*/ 0 h 124"/>
                <a:gd name="T2" fmla="*/ 0 w 134"/>
                <a:gd name="T3" fmla="*/ 10 h 124"/>
                <a:gd name="T4" fmla="*/ 14 w 134"/>
                <a:gd name="T5" fmla="*/ 37 h 124"/>
                <a:gd name="T6" fmla="*/ 30 w 134"/>
                <a:gd name="T7" fmla="*/ 43 h 124"/>
                <a:gd name="T8" fmla="*/ 49 w 134"/>
                <a:gd name="T9" fmla="*/ 65 h 124"/>
                <a:gd name="T10" fmla="*/ 66 w 134"/>
                <a:gd name="T11" fmla="*/ 77 h 124"/>
                <a:gd name="T12" fmla="*/ 93 w 134"/>
                <a:gd name="T13" fmla="*/ 100 h 124"/>
                <a:gd name="T14" fmla="*/ 109 w 134"/>
                <a:gd name="T15" fmla="*/ 108 h 124"/>
                <a:gd name="T16" fmla="*/ 129 w 134"/>
                <a:gd name="T17" fmla="*/ 124 h 124"/>
                <a:gd name="T18" fmla="*/ 134 w 134"/>
                <a:gd name="T19" fmla="*/ 115 h 124"/>
                <a:gd name="T20" fmla="*/ 93 w 134"/>
                <a:gd name="T21" fmla="*/ 80 h 124"/>
                <a:gd name="T22" fmla="*/ 90 w 134"/>
                <a:gd name="T23" fmla="*/ 63 h 124"/>
                <a:gd name="T24" fmla="*/ 85 w 134"/>
                <a:gd name="T25" fmla="*/ 47 h 124"/>
                <a:gd name="T26" fmla="*/ 68 w 134"/>
                <a:gd name="T27" fmla="*/ 28 h 124"/>
                <a:gd name="T28" fmla="*/ 63 w 134"/>
                <a:gd name="T29" fmla="*/ 31 h 124"/>
                <a:gd name="T30" fmla="*/ 41 w 134"/>
                <a:gd name="T31" fmla="*/ 13 h 124"/>
                <a:gd name="T32" fmla="*/ 28 w 134"/>
                <a:gd name="T33" fmla="*/ 6 h 124"/>
                <a:gd name="T34" fmla="*/ 11 w 134"/>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24">
                  <a:moveTo>
                    <a:pt x="11" y="0"/>
                  </a:moveTo>
                  <a:lnTo>
                    <a:pt x="0" y="10"/>
                  </a:lnTo>
                  <a:lnTo>
                    <a:pt x="14" y="37"/>
                  </a:lnTo>
                  <a:lnTo>
                    <a:pt x="30" y="43"/>
                  </a:lnTo>
                  <a:lnTo>
                    <a:pt x="49" y="65"/>
                  </a:lnTo>
                  <a:lnTo>
                    <a:pt x="66" y="77"/>
                  </a:lnTo>
                  <a:lnTo>
                    <a:pt x="93" y="100"/>
                  </a:lnTo>
                  <a:lnTo>
                    <a:pt x="109" y="108"/>
                  </a:lnTo>
                  <a:lnTo>
                    <a:pt x="129" y="124"/>
                  </a:lnTo>
                  <a:lnTo>
                    <a:pt x="134" y="115"/>
                  </a:lnTo>
                  <a:lnTo>
                    <a:pt x="93" y="80"/>
                  </a:lnTo>
                  <a:lnTo>
                    <a:pt x="90" y="63"/>
                  </a:lnTo>
                  <a:lnTo>
                    <a:pt x="85" y="47"/>
                  </a:lnTo>
                  <a:lnTo>
                    <a:pt x="68" y="28"/>
                  </a:lnTo>
                  <a:lnTo>
                    <a:pt x="63" y="31"/>
                  </a:lnTo>
                  <a:lnTo>
                    <a:pt x="41" y="13"/>
                  </a:lnTo>
                  <a:lnTo>
                    <a:pt x="28" y="6"/>
                  </a:lnTo>
                  <a:lnTo>
                    <a:pt x="1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9" name="Freeform 540"/>
            <p:cNvSpPr>
              <a:spLocks noChangeAspect="1"/>
            </p:cNvSpPr>
            <p:nvPr/>
          </p:nvSpPr>
          <p:spPr bwMode="auto">
            <a:xfrm>
              <a:off x="3816760" y="5517688"/>
              <a:ext cx="36" cy="20"/>
            </a:xfrm>
            <a:custGeom>
              <a:avLst/>
              <a:gdLst>
                <a:gd name="T0" fmla="*/ 52 w 52"/>
                <a:gd name="T1" fmla="*/ 8 h 31"/>
                <a:gd name="T2" fmla="*/ 28 w 52"/>
                <a:gd name="T3" fmla="*/ 31 h 31"/>
                <a:gd name="T4" fmla="*/ 12 w 52"/>
                <a:gd name="T5" fmla="*/ 31 h 31"/>
                <a:gd name="T6" fmla="*/ 0 w 52"/>
                <a:gd name="T7" fmla="*/ 21 h 31"/>
                <a:gd name="T8" fmla="*/ 8 w 52"/>
                <a:gd name="T9" fmla="*/ 2 h 31"/>
                <a:gd name="T10" fmla="*/ 33 w 52"/>
                <a:gd name="T11" fmla="*/ 0 h 31"/>
                <a:gd name="T12" fmla="*/ 52 w 52"/>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52" h="31">
                  <a:moveTo>
                    <a:pt x="52" y="8"/>
                  </a:moveTo>
                  <a:lnTo>
                    <a:pt x="28" y="31"/>
                  </a:lnTo>
                  <a:lnTo>
                    <a:pt x="12" y="31"/>
                  </a:lnTo>
                  <a:lnTo>
                    <a:pt x="0" y="21"/>
                  </a:lnTo>
                  <a:lnTo>
                    <a:pt x="8" y="2"/>
                  </a:lnTo>
                  <a:lnTo>
                    <a:pt x="33" y="0"/>
                  </a:lnTo>
                  <a:lnTo>
                    <a:pt x="52" y="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0" name="Freeform 541"/>
            <p:cNvSpPr>
              <a:spLocks noChangeAspect="1"/>
            </p:cNvSpPr>
            <p:nvPr/>
          </p:nvSpPr>
          <p:spPr bwMode="auto">
            <a:xfrm>
              <a:off x="3816767" y="5517732"/>
              <a:ext cx="33" cy="30"/>
            </a:xfrm>
            <a:custGeom>
              <a:avLst/>
              <a:gdLst>
                <a:gd name="T0" fmla="*/ 53 w 53"/>
                <a:gd name="T1" fmla="*/ 0 h 47"/>
                <a:gd name="T2" fmla="*/ 53 w 53"/>
                <a:gd name="T3" fmla="*/ 15 h 47"/>
                <a:gd name="T4" fmla="*/ 20 w 53"/>
                <a:gd name="T5" fmla="*/ 40 h 47"/>
                <a:gd name="T6" fmla="*/ 6 w 53"/>
                <a:gd name="T7" fmla="*/ 47 h 47"/>
                <a:gd name="T8" fmla="*/ 0 w 53"/>
                <a:gd name="T9" fmla="*/ 44 h 47"/>
                <a:gd name="T10" fmla="*/ 5 w 53"/>
                <a:gd name="T11" fmla="*/ 27 h 47"/>
                <a:gd name="T12" fmla="*/ 28 w 53"/>
                <a:gd name="T13" fmla="*/ 8 h 47"/>
                <a:gd name="T14" fmla="*/ 53 w 53"/>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7">
                  <a:moveTo>
                    <a:pt x="53" y="0"/>
                  </a:moveTo>
                  <a:lnTo>
                    <a:pt x="53" y="15"/>
                  </a:lnTo>
                  <a:lnTo>
                    <a:pt x="20" y="40"/>
                  </a:lnTo>
                  <a:lnTo>
                    <a:pt x="6" y="47"/>
                  </a:lnTo>
                  <a:lnTo>
                    <a:pt x="0" y="44"/>
                  </a:lnTo>
                  <a:lnTo>
                    <a:pt x="5" y="27"/>
                  </a:lnTo>
                  <a:lnTo>
                    <a:pt x="28" y="8"/>
                  </a:lnTo>
                  <a:lnTo>
                    <a:pt x="5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1" name="Freeform 542"/>
            <p:cNvSpPr>
              <a:spLocks noChangeAspect="1"/>
            </p:cNvSpPr>
            <p:nvPr/>
          </p:nvSpPr>
          <p:spPr bwMode="auto">
            <a:xfrm>
              <a:off x="3816352" y="5517605"/>
              <a:ext cx="158" cy="142"/>
            </a:xfrm>
            <a:custGeom>
              <a:avLst/>
              <a:gdLst>
                <a:gd name="T0" fmla="*/ 33 w 233"/>
                <a:gd name="T1" fmla="*/ 10 h 231"/>
                <a:gd name="T2" fmla="*/ 21 w 233"/>
                <a:gd name="T3" fmla="*/ 16 h 231"/>
                <a:gd name="T4" fmla="*/ 25 w 233"/>
                <a:gd name="T5" fmla="*/ 29 h 231"/>
                <a:gd name="T6" fmla="*/ 14 w 233"/>
                <a:gd name="T7" fmla="*/ 45 h 231"/>
                <a:gd name="T8" fmla="*/ 5 w 233"/>
                <a:gd name="T9" fmla="*/ 43 h 231"/>
                <a:gd name="T10" fmla="*/ 0 w 233"/>
                <a:gd name="T11" fmla="*/ 50 h 231"/>
                <a:gd name="T12" fmla="*/ 2 w 233"/>
                <a:gd name="T13" fmla="*/ 66 h 231"/>
                <a:gd name="T14" fmla="*/ 40 w 233"/>
                <a:gd name="T15" fmla="*/ 82 h 231"/>
                <a:gd name="T16" fmla="*/ 49 w 233"/>
                <a:gd name="T17" fmla="*/ 117 h 231"/>
                <a:gd name="T18" fmla="*/ 60 w 233"/>
                <a:gd name="T19" fmla="*/ 161 h 231"/>
                <a:gd name="T20" fmla="*/ 74 w 233"/>
                <a:gd name="T21" fmla="*/ 185 h 231"/>
                <a:gd name="T22" fmla="*/ 91 w 233"/>
                <a:gd name="T23" fmla="*/ 170 h 231"/>
                <a:gd name="T24" fmla="*/ 112 w 233"/>
                <a:gd name="T25" fmla="*/ 201 h 231"/>
                <a:gd name="T26" fmla="*/ 134 w 233"/>
                <a:gd name="T27" fmla="*/ 231 h 231"/>
                <a:gd name="T28" fmla="*/ 143 w 233"/>
                <a:gd name="T29" fmla="*/ 208 h 231"/>
                <a:gd name="T30" fmla="*/ 136 w 233"/>
                <a:gd name="T31" fmla="*/ 192 h 231"/>
                <a:gd name="T32" fmla="*/ 145 w 233"/>
                <a:gd name="T33" fmla="*/ 185 h 231"/>
                <a:gd name="T34" fmla="*/ 178 w 233"/>
                <a:gd name="T35" fmla="*/ 214 h 231"/>
                <a:gd name="T36" fmla="*/ 188 w 233"/>
                <a:gd name="T37" fmla="*/ 205 h 231"/>
                <a:gd name="T38" fmla="*/ 191 w 233"/>
                <a:gd name="T39" fmla="*/ 195 h 231"/>
                <a:gd name="T40" fmla="*/ 174 w 233"/>
                <a:gd name="T41" fmla="*/ 158 h 231"/>
                <a:gd name="T42" fmla="*/ 174 w 233"/>
                <a:gd name="T43" fmla="*/ 151 h 231"/>
                <a:gd name="T44" fmla="*/ 159 w 233"/>
                <a:gd name="T45" fmla="*/ 121 h 231"/>
                <a:gd name="T46" fmla="*/ 153 w 233"/>
                <a:gd name="T47" fmla="*/ 100 h 231"/>
                <a:gd name="T48" fmla="*/ 159 w 233"/>
                <a:gd name="T49" fmla="*/ 99 h 231"/>
                <a:gd name="T50" fmla="*/ 178 w 233"/>
                <a:gd name="T51" fmla="*/ 103 h 231"/>
                <a:gd name="T52" fmla="*/ 200 w 233"/>
                <a:gd name="T53" fmla="*/ 124 h 231"/>
                <a:gd name="T54" fmla="*/ 211 w 233"/>
                <a:gd name="T55" fmla="*/ 109 h 231"/>
                <a:gd name="T56" fmla="*/ 230 w 233"/>
                <a:gd name="T57" fmla="*/ 111 h 231"/>
                <a:gd name="T58" fmla="*/ 233 w 233"/>
                <a:gd name="T59" fmla="*/ 106 h 231"/>
                <a:gd name="T60" fmla="*/ 209 w 233"/>
                <a:gd name="T61" fmla="*/ 72 h 231"/>
                <a:gd name="T62" fmla="*/ 191 w 233"/>
                <a:gd name="T63" fmla="*/ 74 h 231"/>
                <a:gd name="T64" fmla="*/ 186 w 233"/>
                <a:gd name="T65" fmla="*/ 63 h 231"/>
                <a:gd name="T66" fmla="*/ 174 w 233"/>
                <a:gd name="T67" fmla="*/ 37 h 231"/>
                <a:gd name="T68" fmla="*/ 164 w 233"/>
                <a:gd name="T69" fmla="*/ 47 h 231"/>
                <a:gd name="T70" fmla="*/ 141 w 233"/>
                <a:gd name="T71" fmla="*/ 37 h 231"/>
                <a:gd name="T72" fmla="*/ 126 w 233"/>
                <a:gd name="T73" fmla="*/ 10 h 231"/>
                <a:gd name="T74" fmla="*/ 98 w 233"/>
                <a:gd name="T75" fmla="*/ 13 h 231"/>
                <a:gd name="T76" fmla="*/ 77 w 233"/>
                <a:gd name="T77" fmla="*/ 16 h 231"/>
                <a:gd name="T78" fmla="*/ 63 w 233"/>
                <a:gd name="T79" fmla="*/ 0 h 231"/>
                <a:gd name="T80" fmla="*/ 52 w 233"/>
                <a:gd name="T81" fmla="*/ 9 h 231"/>
                <a:gd name="T82" fmla="*/ 33 w 233"/>
                <a:gd name="T83" fmla="*/ 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 h="231">
                  <a:moveTo>
                    <a:pt x="33" y="10"/>
                  </a:moveTo>
                  <a:lnTo>
                    <a:pt x="21" y="16"/>
                  </a:lnTo>
                  <a:lnTo>
                    <a:pt x="25" y="29"/>
                  </a:lnTo>
                  <a:lnTo>
                    <a:pt x="14" y="45"/>
                  </a:lnTo>
                  <a:lnTo>
                    <a:pt x="5" y="43"/>
                  </a:lnTo>
                  <a:lnTo>
                    <a:pt x="0" y="50"/>
                  </a:lnTo>
                  <a:lnTo>
                    <a:pt x="2" y="66"/>
                  </a:lnTo>
                  <a:lnTo>
                    <a:pt x="40" y="82"/>
                  </a:lnTo>
                  <a:lnTo>
                    <a:pt x="49" y="117"/>
                  </a:lnTo>
                  <a:lnTo>
                    <a:pt x="60" y="161"/>
                  </a:lnTo>
                  <a:lnTo>
                    <a:pt x="74" y="185"/>
                  </a:lnTo>
                  <a:lnTo>
                    <a:pt x="91" y="170"/>
                  </a:lnTo>
                  <a:lnTo>
                    <a:pt x="112" y="201"/>
                  </a:lnTo>
                  <a:lnTo>
                    <a:pt x="134" y="231"/>
                  </a:lnTo>
                  <a:lnTo>
                    <a:pt x="143" y="208"/>
                  </a:lnTo>
                  <a:lnTo>
                    <a:pt x="136" y="192"/>
                  </a:lnTo>
                  <a:lnTo>
                    <a:pt x="145" y="185"/>
                  </a:lnTo>
                  <a:lnTo>
                    <a:pt x="178" y="214"/>
                  </a:lnTo>
                  <a:lnTo>
                    <a:pt x="188" y="205"/>
                  </a:lnTo>
                  <a:lnTo>
                    <a:pt x="191" y="195"/>
                  </a:lnTo>
                  <a:lnTo>
                    <a:pt x="174" y="158"/>
                  </a:lnTo>
                  <a:lnTo>
                    <a:pt x="174" y="151"/>
                  </a:lnTo>
                  <a:lnTo>
                    <a:pt x="159" y="121"/>
                  </a:lnTo>
                  <a:lnTo>
                    <a:pt x="153" y="100"/>
                  </a:lnTo>
                  <a:lnTo>
                    <a:pt x="159" y="99"/>
                  </a:lnTo>
                  <a:lnTo>
                    <a:pt x="178" y="103"/>
                  </a:lnTo>
                  <a:lnTo>
                    <a:pt x="200" y="124"/>
                  </a:lnTo>
                  <a:lnTo>
                    <a:pt x="211" y="109"/>
                  </a:lnTo>
                  <a:lnTo>
                    <a:pt x="230" y="111"/>
                  </a:lnTo>
                  <a:lnTo>
                    <a:pt x="233" y="106"/>
                  </a:lnTo>
                  <a:lnTo>
                    <a:pt x="209" y="72"/>
                  </a:lnTo>
                  <a:lnTo>
                    <a:pt x="191" y="74"/>
                  </a:lnTo>
                  <a:lnTo>
                    <a:pt x="186" y="63"/>
                  </a:lnTo>
                  <a:lnTo>
                    <a:pt x="174" y="37"/>
                  </a:lnTo>
                  <a:lnTo>
                    <a:pt x="164" y="47"/>
                  </a:lnTo>
                  <a:lnTo>
                    <a:pt x="141" y="37"/>
                  </a:lnTo>
                  <a:lnTo>
                    <a:pt x="126" y="10"/>
                  </a:lnTo>
                  <a:lnTo>
                    <a:pt x="98" y="13"/>
                  </a:lnTo>
                  <a:lnTo>
                    <a:pt x="77" y="16"/>
                  </a:lnTo>
                  <a:lnTo>
                    <a:pt x="63" y="0"/>
                  </a:lnTo>
                  <a:lnTo>
                    <a:pt x="52" y="9"/>
                  </a:lnTo>
                  <a:lnTo>
                    <a:pt x="33" y="1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2" name="Freeform 543"/>
            <p:cNvSpPr>
              <a:spLocks noChangeAspect="1"/>
            </p:cNvSpPr>
            <p:nvPr/>
          </p:nvSpPr>
          <p:spPr bwMode="auto">
            <a:xfrm>
              <a:off x="3816299" y="5517315"/>
              <a:ext cx="370" cy="338"/>
            </a:xfrm>
            <a:custGeom>
              <a:avLst/>
              <a:gdLst>
                <a:gd name="T0" fmla="*/ 99 w 543"/>
                <a:gd name="T1" fmla="*/ 145 h 549"/>
                <a:gd name="T2" fmla="*/ 70 w 543"/>
                <a:gd name="T3" fmla="*/ 238 h 549"/>
                <a:gd name="T4" fmla="*/ 56 w 543"/>
                <a:gd name="T5" fmla="*/ 259 h 549"/>
                <a:gd name="T6" fmla="*/ 30 w 543"/>
                <a:gd name="T7" fmla="*/ 285 h 549"/>
                <a:gd name="T8" fmla="*/ 0 w 543"/>
                <a:gd name="T9" fmla="*/ 290 h 549"/>
                <a:gd name="T10" fmla="*/ 39 w 543"/>
                <a:gd name="T11" fmla="*/ 370 h 549"/>
                <a:gd name="T12" fmla="*/ 72 w 543"/>
                <a:gd name="T13" fmla="*/ 370 h 549"/>
                <a:gd name="T14" fmla="*/ 61 w 543"/>
                <a:gd name="T15" fmla="*/ 395 h 549"/>
                <a:gd name="T16" fmla="*/ 72 w 543"/>
                <a:gd name="T17" fmla="*/ 438 h 549"/>
                <a:gd name="T18" fmla="*/ 96 w 543"/>
                <a:gd name="T19" fmla="*/ 469 h 549"/>
                <a:gd name="T20" fmla="*/ 115 w 543"/>
                <a:gd name="T21" fmla="*/ 451 h 549"/>
                <a:gd name="T22" fmla="*/ 136 w 543"/>
                <a:gd name="T23" fmla="*/ 454 h 549"/>
                <a:gd name="T24" fmla="*/ 201 w 543"/>
                <a:gd name="T25" fmla="*/ 462 h 549"/>
                <a:gd name="T26" fmla="*/ 241 w 543"/>
                <a:gd name="T27" fmla="*/ 485 h 549"/>
                <a:gd name="T28" fmla="*/ 262 w 543"/>
                <a:gd name="T29" fmla="*/ 515 h 549"/>
                <a:gd name="T30" fmla="*/ 290 w 543"/>
                <a:gd name="T31" fmla="*/ 502 h 549"/>
                <a:gd name="T32" fmla="*/ 342 w 543"/>
                <a:gd name="T33" fmla="*/ 549 h 549"/>
                <a:gd name="T34" fmla="*/ 351 w 543"/>
                <a:gd name="T35" fmla="*/ 522 h 549"/>
                <a:gd name="T36" fmla="*/ 350 w 543"/>
                <a:gd name="T37" fmla="*/ 478 h 549"/>
                <a:gd name="T38" fmla="*/ 328 w 543"/>
                <a:gd name="T39" fmla="*/ 459 h 549"/>
                <a:gd name="T40" fmla="*/ 272 w 543"/>
                <a:gd name="T41" fmla="*/ 420 h 549"/>
                <a:gd name="T42" fmla="*/ 239 w 543"/>
                <a:gd name="T43" fmla="*/ 407 h 549"/>
                <a:gd name="T44" fmla="*/ 227 w 543"/>
                <a:gd name="T45" fmla="*/ 388 h 549"/>
                <a:gd name="T46" fmla="*/ 246 w 543"/>
                <a:gd name="T47" fmla="*/ 367 h 549"/>
                <a:gd name="T48" fmla="*/ 232 w 543"/>
                <a:gd name="T49" fmla="*/ 336 h 549"/>
                <a:gd name="T50" fmla="*/ 256 w 543"/>
                <a:gd name="T51" fmla="*/ 349 h 549"/>
                <a:gd name="T52" fmla="*/ 272 w 543"/>
                <a:gd name="T53" fmla="*/ 339 h 549"/>
                <a:gd name="T54" fmla="*/ 241 w 543"/>
                <a:gd name="T55" fmla="*/ 287 h 549"/>
                <a:gd name="T56" fmla="*/ 215 w 543"/>
                <a:gd name="T57" fmla="*/ 228 h 549"/>
                <a:gd name="T58" fmla="*/ 209 w 543"/>
                <a:gd name="T59" fmla="*/ 191 h 549"/>
                <a:gd name="T60" fmla="*/ 223 w 543"/>
                <a:gd name="T61" fmla="*/ 166 h 549"/>
                <a:gd name="T62" fmla="*/ 234 w 543"/>
                <a:gd name="T63" fmla="*/ 198 h 549"/>
                <a:gd name="T64" fmla="*/ 241 w 543"/>
                <a:gd name="T65" fmla="*/ 209 h 549"/>
                <a:gd name="T66" fmla="*/ 288 w 543"/>
                <a:gd name="T67" fmla="*/ 250 h 549"/>
                <a:gd name="T68" fmla="*/ 293 w 543"/>
                <a:gd name="T69" fmla="*/ 222 h 549"/>
                <a:gd name="T70" fmla="*/ 326 w 543"/>
                <a:gd name="T71" fmla="*/ 250 h 549"/>
                <a:gd name="T72" fmla="*/ 312 w 543"/>
                <a:gd name="T73" fmla="*/ 216 h 549"/>
                <a:gd name="T74" fmla="*/ 326 w 543"/>
                <a:gd name="T75" fmla="*/ 201 h 549"/>
                <a:gd name="T76" fmla="*/ 364 w 543"/>
                <a:gd name="T77" fmla="*/ 211 h 549"/>
                <a:gd name="T78" fmla="*/ 347 w 543"/>
                <a:gd name="T79" fmla="*/ 185 h 549"/>
                <a:gd name="T80" fmla="*/ 312 w 543"/>
                <a:gd name="T81" fmla="*/ 161 h 549"/>
                <a:gd name="T82" fmla="*/ 314 w 543"/>
                <a:gd name="T83" fmla="*/ 139 h 549"/>
                <a:gd name="T84" fmla="*/ 377 w 543"/>
                <a:gd name="T85" fmla="*/ 124 h 549"/>
                <a:gd name="T86" fmla="*/ 442 w 543"/>
                <a:gd name="T87" fmla="*/ 117 h 549"/>
                <a:gd name="T88" fmla="*/ 478 w 543"/>
                <a:gd name="T89" fmla="*/ 124 h 549"/>
                <a:gd name="T90" fmla="*/ 513 w 543"/>
                <a:gd name="T91" fmla="*/ 108 h 549"/>
                <a:gd name="T92" fmla="*/ 541 w 543"/>
                <a:gd name="T93" fmla="*/ 68 h 549"/>
                <a:gd name="T94" fmla="*/ 541 w 543"/>
                <a:gd name="T95" fmla="*/ 9 h 549"/>
                <a:gd name="T96" fmla="*/ 516 w 543"/>
                <a:gd name="T97" fmla="*/ 0 h 549"/>
                <a:gd name="T98" fmla="*/ 508 w 543"/>
                <a:gd name="T99" fmla="*/ 28 h 549"/>
                <a:gd name="T100" fmla="*/ 491 w 543"/>
                <a:gd name="T101" fmla="*/ 50 h 549"/>
                <a:gd name="T102" fmla="*/ 469 w 543"/>
                <a:gd name="T103" fmla="*/ 64 h 549"/>
                <a:gd name="T104" fmla="*/ 427 w 543"/>
                <a:gd name="T105" fmla="*/ 47 h 549"/>
                <a:gd name="T106" fmla="*/ 386 w 543"/>
                <a:gd name="T107" fmla="*/ 28 h 549"/>
                <a:gd name="T108" fmla="*/ 342 w 543"/>
                <a:gd name="T109" fmla="*/ 64 h 549"/>
                <a:gd name="T110" fmla="*/ 293 w 543"/>
                <a:gd name="T111" fmla="*/ 80 h 549"/>
                <a:gd name="T112" fmla="*/ 256 w 543"/>
                <a:gd name="T113" fmla="*/ 87 h 549"/>
                <a:gd name="T114" fmla="*/ 232 w 543"/>
                <a:gd name="T115" fmla="*/ 111 h 549"/>
                <a:gd name="T116" fmla="*/ 194 w 543"/>
                <a:gd name="T117" fmla="*/ 117 h 549"/>
                <a:gd name="T118" fmla="*/ 160 w 543"/>
                <a:gd name="T119" fmla="*/ 138 h 549"/>
                <a:gd name="T120" fmla="*/ 124 w 543"/>
                <a:gd name="T121" fmla="*/ 1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3" h="549">
                  <a:moveTo>
                    <a:pt x="110" y="135"/>
                  </a:moveTo>
                  <a:lnTo>
                    <a:pt x="99" y="145"/>
                  </a:lnTo>
                  <a:lnTo>
                    <a:pt x="86" y="192"/>
                  </a:lnTo>
                  <a:lnTo>
                    <a:pt x="70" y="238"/>
                  </a:lnTo>
                  <a:lnTo>
                    <a:pt x="63" y="243"/>
                  </a:lnTo>
                  <a:lnTo>
                    <a:pt x="56" y="259"/>
                  </a:lnTo>
                  <a:lnTo>
                    <a:pt x="47" y="275"/>
                  </a:lnTo>
                  <a:lnTo>
                    <a:pt x="30" y="285"/>
                  </a:lnTo>
                  <a:lnTo>
                    <a:pt x="17" y="290"/>
                  </a:lnTo>
                  <a:lnTo>
                    <a:pt x="0" y="290"/>
                  </a:lnTo>
                  <a:lnTo>
                    <a:pt x="22" y="343"/>
                  </a:lnTo>
                  <a:lnTo>
                    <a:pt x="39" y="370"/>
                  </a:lnTo>
                  <a:lnTo>
                    <a:pt x="56" y="370"/>
                  </a:lnTo>
                  <a:lnTo>
                    <a:pt x="72" y="370"/>
                  </a:lnTo>
                  <a:lnTo>
                    <a:pt x="77" y="383"/>
                  </a:lnTo>
                  <a:lnTo>
                    <a:pt x="61" y="395"/>
                  </a:lnTo>
                  <a:lnTo>
                    <a:pt x="61" y="413"/>
                  </a:lnTo>
                  <a:lnTo>
                    <a:pt x="72" y="438"/>
                  </a:lnTo>
                  <a:lnTo>
                    <a:pt x="86" y="459"/>
                  </a:lnTo>
                  <a:lnTo>
                    <a:pt x="96" y="469"/>
                  </a:lnTo>
                  <a:lnTo>
                    <a:pt x="101" y="454"/>
                  </a:lnTo>
                  <a:lnTo>
                    <a:pt x="115" y="451"/>
                  </a:lnTo>
                  <a:lnTo>
                    <a:pt x="132" y="467"/>
                  </a:lnTo>
                  <a:lnTo>
                    <a:pt x="136" y="454"/>
                  </a:lnTo>
                  <a:lnTo>
                    <a:pt x="162" y="457"/>
                  </a:lnTo>
                  <a:lnTo>
                    <a:pt x="201" y="462"/>
                  </a:lnTo>
                  <a:lnTo>
                    <a:pt x="229" y="472"/>
                  </a:lnTo>
                  <a:lnTo>
                    <a:pt x="241" y="485"/>
                  </a:lnTo>
                  <a:lnTo>
                    <a:pt x="253" y="504"/>
                  </a:lnTo>
                  <a:lnTo>
                    <a:pt x="262" y="515"/>
                  </a:lnTo>
                  <a:lnTo>
                    <a:pt x="274" y="504"/>
                  </a:lnTo>
                  <a:lnTo>
                    <a:pt x="290" y="502"/>
                  </a:lnTo>
                  <a:lnTo>
                    <a:pt x="314" y="521"/>
                  </a:lnTo>
                  <a:lnTo>
                    <a:pt x="342" y="549"/>
                  </a:lnTo>
                  <a:lnTo>
                    <a:pt x="350" y="543"/>
                  </a:lnTo>
                  <a:lnTo>
                    <a:pt x="351" y="522"/>
                  </a:lnTo>
                  <a:lnTo>
                    <a:pt x="351" y="499"/>
                  </a:lnTo>
                  <a:lnTo>
                    <a:pt x="350" y="478"/>
                  </a:lnTo>
                  <a:lnTo>
                    <a:pt x="337" y="454"/>
                  </a:lnTo>
                  <a:lnTo>
                    <a:pt x="328" y="459"/>
                  </a:lnTo>
                  <a:lnTo>
                    <a:pt x="307" y="448"/>
                  </a:lnTo>
                  <a:lnTo>
                    <a:pt x="272" y="420"/>
                  </a:lnTo>
                  <a:lnTo>
                    <a:pt x="262" y="410"/>
                  </a:lnTo>
                  <a:lnTo>
                    <a:pt x="239" y="407"/>
                  </a:lnTo>
                  <a:lnTo>
                    <a:pt x="227" y="398"/>
                  </a:lnTo>
                  <a:lnTo>
                    <a:pt x="227" y="388"/>
                  </a:lnTo>
                  <a:lnTo>
                    <a:pt x="241" y="373"/>
                  </a:lnTo>
                  <a:lnTo>
                    <a:pt x="246" y="367"/>
                  </a:lnTo>
                  <a:lnTo>
                    <a:pt x="237" y="354"/>
                  </a:lnTo>
                  <a:lnTo>
                    <a:pt x="232" y="336"/>
                  </a:lnTo>
                  <a:lnTo>
                    <a:pt x="237" y="327"/>
                  </a:lnTo>
                  <a:lnTo>
                    <a:pt x="256" y="349"/>
                  </a:lnTo>
                  <a:lnTo>
                    <a:pt x="272" y="357"/>
                  </a:lnTo>
                  <a:lnTo>
                    <a:pt x="272" y="339"/>
                  </a:lnTo>
                  <a:lnTo>
                    <a:pt x="262" y="317"/>
                  </a:lnTo>
                  <a:lnTo>
                    <a:pt x="241" y="287"/>
                  </a:lnTo>
                  <a:lnTo>
                    <a:pt x="218" y="248"/>
                  </a:lnTo>
                  <a:lnTo>
                    <a:pt x="215" y="228"/>
                  </a:lnTo>
                  <a:lnTo>
                    <a:pt x="213" y="209"/>
                  </a:lnTo>
                  <a:lnTo>
                    <a:pt x="209" y="191"/>
                  </a:lnTo>
                  <a:lnTo>
                    <a:pt x="206" y="172"/>
                  </a:lnTo>
                  <a:lnTo>
                    <a:pt x="223" y="166"/>
                  </a:lnTo>
                  <a:lnTo>
                    <a:pt x="220" y="179"/>
                  </a:lnTo>
                  <a:lnTo>
                    <a:pt x="234" y="198"/>
                  </a:lnTo>
                  <a:lnTo>
                    <a:pt x="243" y="198"/>
                  </a:lnTo>
                  <a:lnTo>
                    <a:pt x="241" y="209"/>
                  </a:lnTo>
                  <a:lnTo>
                    <a:pt x="286" y="259"/>
                  </a:lnTo>
                  <a:lnTo>
                    <a:pt x="288" y="250"/>
                  </a:lnTo>
                  <a:lnTo>
                    <a:pt x="279" y="228"/>
                  </a:lnTo>
                  <a:lnTo>
                    <a:pt x="293" y="222"/>
                  </a:lnTo>
                  <a:lnTo>
                    <a:pt x="314" y="232"/>
                  </a:lnTo>
                  <a:lnTo>
                    <a:pt x="326" y="250"/>
                  </a:lnTo>
                  <a:lnTo>
                    <a:pt x="328" y="238"/>
                  </a:lnTo>
                  <a:lnTo>
                    <a:pt x="312" y="216"/>
                  </a:lnTo>
                  <a:lnTo>
                    <a:pt x="314" y="206"/>
                  </a:lnTo>
                  <a:lnTo>
                    <a:pt x="326" y="201"/>
                  </a:lnTo>
                  <a:lnTo>
                    <a:pt x="356" y="216"/>
                  </a:lnTo>
                  <a:lnTo>
                    <a:pt x="364" y="211"/>
                  </a:lnTo>
                  <a:lnTo>
                    <a:pt x="361" y="195"/>
                  </a:lnTo>
                  <a:lnTo>
                    <a:pt x="347" y="185"/>
                  </a:lnTo>
                  <a:lnTo>
                    <a:pt x="326" y="174"/>
                  </a:lnTo>
                  <a:lnTo>
                    <a:pt x="312" y="161"/>
                  </a:lnTo>
                  <a:lnTo>
                    <a:pt x="309" y="151"/>
                  </a:lnTo>
                  <a:lnTo>
                    <a:pt x="314" y="139"/>
                  </a:lnTo>
                  <a:lnTo>
                    <a:pt x="345" y="135"/>
                  </a:lnTo>
                  <a:lnTo>
                    <a:pt x="377" y="124"/>
                  </a:lnTo>
                  <a:lnTo>
                    <a:pt x="400" y="127"/>
                  </a:lnTo>
                  <a:lnTo>
                    <a:pt x="442" y="117"/>
                  </a:lnTo>
                  <a:lnTo>
                    <a:pt x="450" y="111"/>
                  </a:lnTo>
                  <a:lnTo>
                    <a:pt x="478" y="124"/>
                  </a:lnTo>
                  <a:lnTo>
                    <a:pt x="502" y="138"/>
                  </a:lnTo>
                  <a:lnTo>
                    <a:pt x="513" y="108"/>
                  </a:lnTo>
                  <a:lnTo>
                    <a:pt x="534" y="77"/>
                  </a:lnTo>
                  <a:lnTo>
                    <a:pt x="541" y="68"/>
                  </a:lnTo>
                  <a:lnTo>
                    <a:pt x="543" y="13"/>
                  </a:lnTo>
                  <a:lnTo>
                    <a:pt x="541" y="9"/>
                  </a:lnTo>
                  <a:lnTo>
                    <a:pt x="529" y="0"/>
                  </a:lnTo>
                  <a:lnTo>
                    <a:pt x="516" y="0"/>
                  </a:lnTo>
                  <a:lnTo>
                    <a:pt x="508" y="9"/>
                  </a:lnTo>
                  <a:lnTo>
                    <a:pt x="508" y="28"/>
                  </a:lnTo>
                  <a:lnTo>
                    <a:pt x="510" y="46"/>
                  </a:lnTo>
                  <a:lnTo>
                    <a:pt x="491" y="50"/>
                  </a:lnTo>
                  <a:lnTo>
                    <a:pt x="478" y="61"/>
                  </a:lnTo>
                  <a:lnTo>
                    <a:pt x="469" y="64"/>
                  </a:lnTo>
                  <a:lnTo>
                    <a:pt x="438" y="56"/>
                  </a:lnTo>
                  <a:lnTo>
                    <a:pt x="427" y="47"/>
                  </a:lnTo>
                  <a:lnTo>
                    <a:pt x="410" y="58"/>
                  </a:lnTo>
                  <a:lnTo>
                    <a:pt x="386" y="28"/>
                  </a:lnTo>
                  <a:lnTo>
                    <a:pt x="361" y="50"/>
                  </a:lnTo>
                  <a:lnTo>
                    <a:pt x="342" y="64"/>
                  </a:lnTo>
                  <a:lnTo>
                    <a:pt x="323" y="74"/>
                  </a:lnTo>
                  <a:lnTo>
                    <a:pt x="293" y="80"/>
                  </a:lnTo>
                  <a:lnTo>
                    <a:pt x="272" y="87"/>
                  </a:lnTo>
                  <a:lnTo>
                    <a:pt x="256" y="87"/>
                  </a:lnTo>
                  <a:lnTo>
                    <a:pt x="248" y="90"/>
                  </a:lnTo>
                  <a:lnTo>
                    <a:pt x="232" y="111"/>
                  </a:lnTo>
                  <a:lnTo>
                    <a:pt x="218" y="111"/>
                  </a:lnTo>
                  <a:lnTo>
                    <a:pt x="194" y="117"/>
                  </a:lnTo>
                  <a:lnTo>
                    <a:pt x="171" y="114"/>
                  </a:lnTo>
                  <a:lnTo>
                    <a:pt x="160" y="138"/>
                  </a:lnTo>
                  <a:lnTo>
                    <a:pt x="141" y="139"/>
                  </a:lnTo>
                  <a:lnTo>
                    <a:pt x="124" y="138"/>
                  </a:lnTo>
                  <a:lnTo>
                    <a:pt x="110" y="135"/>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3" name="Freeform 544"/>
            <p:cNvSpPr>
              <a:spLocks noChangeAspect="1"/>
            </p:cNvSpPr>
            <p:nvPr/>
          </p:nvSpPr>
          <p:spPr bwMode="auto">
            <a:xfrm>
              <a:off x="3816513" y="5517804"/>
              <a:ext cx="170" cy="46"/>
            </a:xfrm>
            <a:custGeom>
              <a:avLst/>
              <a:gdLst>
                <a:gd name="T0" fmla="*/ 52 w 253"/>
                <a:gd name="T1" fmla="*/ 16 h 77"/>
                <a:gd name="T2" fmla="*/ 71 w 253"/>
                <a:gd name="T3" fmla="*/ 6 h 77"/>
                <a:gd name="T4" fmla="*/ 80 w 253"/>
                <a:gd name="T5" fmla="*/ 16 h 77"/>
                <a:gd name="T6" fmla="*/ 88 w 253"/>
                <a:gd name="T7" fmla="*/ 18 h 77"/>
                <a:gd name="T8" fmla="*/ 101 w 253"/>
                <a:gd name="T9" fmla="*/ 10 h 77"/>
                <a:gd name="T10" fmla="*/ 110 w 253"/>
                <a:gd name="T11" fmla="*/ 6 h 77"/>
                <a:gd name="T12" fmla="*/ 151 w 253"/>
                <a:gd name="T13" fmla="*/ 10 h 77"/>
                <a:gd name="T14" fmla="*/ 190 w 253"/>
                <a:gd name="T15" fmla="*/ 8 h 77"/>
                <a:gd name="T16" fmla="*/ 202 w 253"/>
                <a:gd name="T17" fmla="*/ 21 h 77"/>
                <a:gd name="T18" fmla="*/ 202 w 253"/>
                <a:gd name="T19" fmla="*/ 28 h 77"/>
                <a:gd name="T20" fmla="*/ 229 w 253"/>
                <a:gd name="T21" fmla="*/ 24 h 77"/>
                <a:gd name="T22" fmla="*/ 245 w 253"/>
                <a:gd name="T23" fmla="*/ 27 h 77"/>
                <a:gd name="T24" fmla="*/ 253 w 253"/>
                <a:gd name="T25" fmla="*/ 37 h 77"/>
                <a:gd name="T26" fmla="*/ 245 w 253"/>
                <a:gd name="T27" fmla="*/ 50 h 77"/>
                <a:gd name="T28" fmla="*/ 220 w 253"/>
                <a:gd name="T29" fmla="*/ 48 h 77"/>
                <a:gd name="T30" fmla="*/ 204 w 253"/>
                <a:gd name="T31" fmla="*/ 58 h 77"/>
                <a:gd name="T32" fmla="*/ 176 w 253"/>
                <a:gd name="T33" fmla="*/ 58 h 77"/>
                <a:gd name="T34" fmla="*/ 148 w 253"/>
                <a:gd name="T35" fmla="*/ 71 h 77"/>
                <a:gd name="T36" fmla="*/ 124 w 253"/>
                <a:gd name="T37" fmla="*/ 77 h 77"/>
                <a:gd name="T38" fmla="*/ 105 w 253"/>
                <a:gd name="T39" fmla="*/ 64 h 77"/>
                <a:gd name="T40" fmla="*/ 80 w 253"/>
                <a:gd name="T41" fmla="*/ 48 h 77"/>
                <a:gd name="T42" fmla="*/ 55 w 253"/>
                <a:gd name="T43" fmla="*/ 48 h 77"/>
                <a:gd name="T44" fmla="*/ 22 w 253"/>
                <a:gd name="T45" fmla="*/ 40 h 77"/>
                <a:gd name="T46" fmla="*/ 9 w 253"/>
                <a:gd name="T47" fmla="*/ 28 h 77"/>
                <a:gd name="T48" fmla="*/ 0 w 253"/>
                <a:gd name="T49" fmla="*/ 8 h 77"/>
                <a:gd name="T50" fmla="*/ 5 w 253"/>
                <a:gd name="T51" fmla="*/ 0 h 77"/>
                <a:gd name="T52" fmla="*/ 33 w 253"/>
                <a:gd name="T53" fmla="*/ 6 h 77"/>
                <a:gd name="T54" fmla="*/ 52 w 253"/>
                <a:gd name="T5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77">
                  <a:moveTo>
                    <a:pt x="52" y="16"/>
                  </a:moveTo>
                  <a:lnTo>
                    <a:pt x="71" y="6"/>
                  </a:lnTo>
                  <a:lnTo>
                    <a:pt x="80" y="16"/>
                  </a:lnTo>
                  <a:lnTo>
                    <a:pt x="88" y="18"/>
                  </a:lnTo>
                  <a:lnTo>
                    <a:pt x="101" y="10"/>
                  </a:lnTo>
                  <a:lnTo>
                    <a:pt x="110" y="6"/>
                  </a:lnTo>
                  <a:lnTo>
                    <a:pt x="151" y="10"/>
                  </a:lnTo>
                  <a:lnTo>
                    <a:pt x="190" y="8"/>
                  </a:lnTo>
                  <a:lnTo>
                    <a:pt x="202" y="21"/>
                  </a:lnTo>
                  <a:lnTo>
                    <a:pt x="202" y="28"/>
                  </a:lnTo>
                  <a:lnTo>
                    <a:pt x="229" y="24"/>
                  </a:lnTo>
                  <a:lnTo>
                    <a:pt x="245" y="27"/>
                  </a:lnTo>
                  <a:lnTo>
                    <a:pt x="253" y="37"/>
                  </a:lnTo>
                  <a:lnTo>
                    <a:pt x="245" y="50"/>
                  </a:lnTo>
                  <a:lnTo>
                    <a:pt x="220" y="48"/>
                  </a:lnTo>
                  <a:lnTo>
                    <a:pt x="204" y="58"/>
                  </a:lnTo>
                  <a:lnTo>
                    <a:pt x="176" y="58"/>
                  </a:lnTo>
                  <a:lnTo>
                    <a:pt x="148" y="71"/>
                  </a:lnTo>
                  <a:lnTo>
                    <a:pt x="124" y="77"/>
                  </a:lnTo>
                  <a:lnTo>
                    <a:pt x="105" y="64"/>
                  </a:lnTo>
                  <a:lnTo>
                    <a:pt x="80" y="48"/>
                  </a:lnTo>
                  <a:lnTo>
                    <a:pt x="55" y="48"/>
                  </a:lnTo>
                  <a:lnTo>
                    <a:pt x="22" y="40"/>
                  </a:lnTo>
                  <a:lnTo>
                    <a:pt x="9" y="28"/>
                  </a:lnTo>
                  <a:lnTo>
                    <a:pt x="0" y="8"/>
                  </a:lnTo>
                  <a:lnTo>
                    <a:pt x="5" y="0"/>
                  </a:lnTo>
                  <a:lnTo>
                    <a:pt x="33" y="6"/>
                  </a:lnTo>
                  <a:lnTo>
                    <a:pt x="52" y="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5" name="HU"/>
          <p:cNvSpPr>
            <a:spLocks noChangeAspect="1"/>
          </p:cNvSpPr>
          <p:nvPr/>
        </p:nvSpPr>
        <p:spPr bwMode="auto">
          <a:xfrm>
            <a:off x="6411913" y="4203700"/>
            <a:ext cx="782637" cy="431800"/>
          </a:xfrm>
          <a:custGeom>
            <a:avLst/>
            <a:gdLst>
              <a:gd name="T0" fmla="*/ 3 w 532"/>
              <a:gd name="T1" fmla="*/ 229 h 361"/>
              <a:gd name="T2" fmla="*/ 19 w 532"/>
              <a:gd name="T3" fmla="*/ 245 h 361"/>
              <a:gd name="T4" fmla="*/ 17 w 532"/>
              <a:gd name="T5" fmla="*/ 253 h 361"/>
              <a:gd name="T6" fmla="*/ 22 w 532"/>
              <a:gd name="T7" fmla="*/ 269 h 361"/>
              <a:gd name="T8" fmla="*/ 36 w 532"/>
              <a:gd name="T9" fmla="*/ 269 h 361"/>
              <a:gd name="T10" fmla="*/ 89 w 532"/>
              <a:gd name="T11" fmla="*/ 327 h 361"/>
              <a:gd name="T12" fmla="*/ 105 w 532"/>
              <a:gd name="T13" fmla="*/ 330 h 361"/>
              <a:gd name="T14" fmla="*/ 148 w 532"/>
              <a:gd name="T15" fmla="*/ 361 h 361"/>
              <a:gd name="T16" fmla="*/ 169 w 532"/>
              <a:gd name="T17" fmla="*/ 343 h 361"/>
              <a:gd name="T18" fmla="*/ 199 w 532"/>
              <a:gd name="T19" fmla="*/ 346 h 361"/>
              <a:gd name="T20" fmla="*/ 209 w 532"/>
              <a:gd name="T21" fmla="*/ 353 h 361"/>
              <a:gd name="T22" fmla="*/ 232 w 532"/>
              <a:gd name="T23" fmla="*/ 343 h 361"/>
              <a:gd name="T24" fmla="*/ 279 w 532"/>
              <a:gd name="T25" fmla="*/ 321 h 361"/>
              <a:gd name="T26" fmla="*/ 333 w 532"/>
              <a:gd name="T27" fmla="*/ 311 h 361"/>
              <a:gd name="T28" fmla="*/ 356 w 532"/>
              <a:gd name="T29" fmla="*/ 316 h 361"/>
              <a:gd name="T30" fmla="*/ 364 w 532"/>
              <a:gd name="T31" fmla="*/ 330 h 361"/>
              <a:gd name="T32" fmla="*/ 383 w 532"/>
              <a:gd name="T33" fmla="*/ 306 h 361"/>
              <a:gd name="T34" fmla="*/ 408 w 532"/>
              <a:gd name="T35" fmla="*/ 296 h 361"/>
              <a:gd name="T36" fmla="*/ 432 w 532"/>
              <a:gd name="T37" fmla="*/ 292 h 361"/>
              <a:gd name="T38" fmla="*/ 474 w 532"/>
              <a:gd name="T39" fmla="*/ 245 h 361"/>
              <a:gd name="T40" fmla="*/ 485 w 532"/>
              <a:gd name="T41" fmla="*/ 216 h 361"/>
              <a:gd name="T42" fmla="*/ 490 w 532"/>
              <a:gd name="T43" fmla="*/ 161 h 361"/>
              <a:gd name="T44" fmla="*/ 495 w 532"/>
              <a:gd name="T45" fmla="*/ 115 h 361"/>
              <a:gd name="T46" fmla="*/ 512 w 532"/>
              <a:gd name="T47" fmla="*/ 114 h 361"/>
              <a:gd name="T48" fmla="*/ 525 w 532"/>
              <a:gd name="T49" fmla="*/ 97 h 361"/>
              <a:gd name="T50" fmla="*/ 532 w 532"/>
              <a:gd name="T51" fmla="*/ 84 h 361"/>
              <a:gd name="T52" fmla="*/ 516 w 532"/>
              <a:gd name="T53" fmla="*/ 71 h 361"/>
              <a:gd name="T54" fmla="*/ 507 w 532"/>
              <a:gd name="T55" fmla="*/ 77 h 361"/>
              <a:gd name="T56" fmla="*/ 483 w 532"/>
              <a:gd name="T57" fmla="*/ 71 h 361"/>
              <a:gd name="T58" fmla="*/ 469 w 532"/>
              <a:gd name="T59" fmla="*/ 50 h 361"/>
              <a:gd name="T60" fmla="*/ 455 w 532"/>
              <a:gd name="T61" fmla="*/ 21 h 361"/>
              <a:gd name="T62" fmla="*/ 439 w 532"/>
              <a:gd name="T63" fmla="*/ 21 h 361"/>
              <a:gd name="T64" fmla="*/ 413 w 532"/>
              <a:gd name="T65" fmla="*/ 0 h 361"/>
              <a:gd name="T66" fmla="*/ 399 w 532"/>
              <a:gd name="T67" fmla="*/ 3 h 361"/>
              <a:gd name="T68" fmla="*/ 347 w 532"/>
              <a:gd name="T69" fmla="*/ 10 h 361"/>
              <a:gd name="T70" fmla="*/ 337 w 532"/>
              <a:gd name="T71" fmla="*/ 27 h 361"/>
              <a:gd name="T72" fmla="*/ 323 w 532"/>
              <a:gd name="T73" fmla="*/ 47 h 361"/>
              <a:gd name="T74" fmla="*/ 304 w 532"/>
              <a:gd name="T75" fmla="*/ 58 h 361"/>
              <a:gd name="T76" fmla="*/ 287 w 532"/>
              <a:gd name="T77" fmla="*/ 63 h 361"/>
              <a:gd name="T78" fmla="*/ 274 w 532"/>
              <a:gd name="T79" fmla="*/ 58 h 361"/>
              <a:gd name="T80" fmla="*/ 262 w 532"/>
              <a:gd name="T81" fmla="*/ 50 h 361"/>
              <a:gd name="T82" fmla="*/ 254 w 532"/>
              <a:gd name="T83" fmla="*/ 47 h 361"/>
              <a:gd name="T84" fmla="*/ 237 w 532"/>
              <a:gd name="T85" fmla="*/ 55 h 361"/>
              <a:gd name="T86" fmla="*/ 216 w 532"/>
              <a:gd name="T87" fmla="*/ 68 h 361"/>
              <a:gd name="T88" fmla="*/ 171 w 532"/>
              <a:gd name="T89" fmla="*/ 90 h 361"/>
              <a:gd name="T90" fmla="*/ 152 w 532"/>
              <a:gd name="T91" fmla="*/ 92 h 361"/>
              <a:gd name="T92" fmla="*/ 105 w 532"/>
              <a:gd name="T93" fmla="*/ 90 h 361"/>
              <a:gd name="T94" fmla="*/ 99 w 532"/>
              <a:gd name="T95" fmla="*/ 87 h 361"/>
              <a:gd name="T96" fmla="*/ 86 w 532"/>
              <a:gd name="T97" fmla="*/ 65 h 361"/>
              <a:gd name="T98" fmla="*/ 71 w 532"/>
              <a:gd name="T99" fmla="*/ 55 h 361"/>
              <a:gd name="T100" fmla="*/ 66 w 532"/>
              <a:gd name="T101" fmla="*/ 63 h 361"/>
              <a:gd name="T102" fmla="*/ 64 w 532"/>
              <a:gd name="T103" fmla="*/ 84 h 361"/>
              <a:gd name="T104" fmla="*/ 55 w 532"/>
              <a:gd name="T105" fmla="*/ 105 h 361"/>
              <a:gd name="T106" fmla="*/ 38 w 532"/>
              <a:gd name="T107" fmla="*/ 105 h 361"/>
              <a:gd name="T108" fmla="*/ 33 w 532"/>
              <a:gd name="T109" fmla="*/ 111 h 361"/>
              <a:gd name="T110" fmla="*/ 42 w 532"/>
              <a:gd name="T111" fmla="*/ 132 h 361"/>
              <a:gd name="T112" fmla="*/ 40 w 532"/>
              <a:gd name="T113" fmla="*/ 154 h 361"/>
              <a:gd name="T114" fmla="*/ 28 w 532"/>
              <a:gd name="T115" fmla="*/ 173 h 361"/>
              <a:gd name="T116" fmla="*/ 19 w 532"/>
              <a:gd name="T117" fmla="*/ 182 h 361"/>
              <a:gd name="T118" fmla="*/ 5 w 532"/>
              <a:gd name="T119" fmla="*/ 189 h 361"/>
              <a:gd name="T120" fmla="*/ 0 w 532"/>
              <a:gd name="T121" fmla="*/ 206 h 361"/>
              <a:gd name="T122" fmla="*/ 3 w 532"/>
              <a:gd name="T123" fmla="*/ 22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 h="361">
                <a:moveTo>
                  <a:pt x="3" y="229"/>
                </a:moveTo>
                <a:lnTo>
                  <a:pt x="19" y="245"/>
                </a:lnTo>
                <a:lnTo>
                  <a:pt x="17" y="253"/>
                </a:lnTo>
                <a:lnTo>
                  <a:pt x="22" y="269"/>
                </a:lnTo>
                <a:lnTo>
                  <a:pt x="36" y="269"/>
                </a:lnTo>
                <a:lnTo>
                  <a:pt x="89" y="327"/>
                </a:lnTo>
                <a:lnTo>
                  <a:pt x="105" y="330"/>
                </a:lnTo>
                <a:lnTo>
                  <a:pt x="148" y="361"/>
                </a:lnTo>
                <a:lnTo>
                  <a:pt x="169" y="343"/>
                </a:lnTo>
                <a:lnTo>
                  <a:pt x="199" y="346"/>
                </a:lnTo>
                <a:lnTo>
                  <a:pt x="209" y="353"/>
                </a:lnTo>
                <a:lnTo>
                  <a:pt x="232" y="343"/>
                </a:lnTo>
                <a:lnTo>
                  <a:pt x="279" y="321"/>
                </a:lnTo>
                <a:lnTo>
                  <a:pt x="333" y="311"/>
                </a:lnTo>
                <a:lnTo>
                  <a:pt x="356" y="316"/>
                </a:lnTo>
                <a:lnTo>
                  <a:pt x="364" y="330"/>
                </a:lnTo>
                <a:lnTo>
                  <a:pt x="383" y="306"/>
                </a:lnTo>
                <a:lnTo>
                  <a:pt x="408" y="296"/>
                </a:lnTo>
                <a:lnTo>
                  <a:pt x="432" y="292"/>
                </a:lnTo>
                <a:lnTo>
                  <a:pt x="474" y="245"/>
                </a:lnTo>
                <a:lnTo>
                  <a:pt x="485" y="216"/>
                </a:lnTo>
                <a:lnTo>
                  <a:pt x="490" y="161"/>
                </a:lnTo>
                <a:lnTo>
                  <a:pt x="495" y="115"/>
                </a:lnTo>
                <a:lnTo>
                  <a:pt x="512" y="114"/>
                </a:lnTo>
                <a:lnTo>
                  <a:pt x="525" y="97"/>
                </a:lnTo>
                <a:lnTo>
                  <a:pt x="532" y="84"/>
                </a:lnTo>
                <a:lnTo>
                  <a:pt x="516" y="71"/>
                </a:lnTo>
                <a:lnTo>
                  <a:pt x="507" y="77"/>
                </a:lnTo>
                <a:lnTo>
                  <a:pt x="483" y="71"/>
                </a:lnTo>
                <a:lnTo>
                  <a:pt x="469" y="50"/>
                </a:lnTo>
                <a:lnTo>
                  <a:pt x="455" y="21"/>
                </a:lnTo>
                <a:lnTo>
                  <a:pt x="439" y="21"/>
                </a:lnTo>
                <a:lnTo>
                  <a:pt x="413" y="0"/>
                </a:lnTo>
                <a:lnTo>
                  <a:pt x="399" y="3"/>
                </a:lnTo>
                <a:lnTo>
                  <a:pt x="347" y="10"/>
                </a:lnTo>
                <a:lnTo>
                  <a:pt x="337" y="27"/>
                </a:lnTo>
                <a:lnTo>
                  <a:pt x="323" y="47"/>
                </a:lnTo>
                <a:lnTo>
                  <a:pt x="304" y="58"/>
                </a:lnTo>
                <a:lnTo>
                  <a:pt x="287" y="63"/>
                </a:lnTo>
                <a:lnTo>
                  <a:pt x="274" y="58"/>
                </a:lnTo>
                <a:lnTo>
                  <a:pt x="262" y="50"/>
                </a:lnTo>
                <a:lnTo>
                  <a:pt x="254" y="47"/>
                </a:lnTo>
                <a:lnTo>
                  <a:pt x="237" y="55"/>
                </a:lnTo>
                <a:lnTo>
                  <a:pt x="216" y="68"/>
                </a:lnTo>
                <a:lnTo>
                  <a:pt x="171" y="90"/>
                </a:lnTo>
                <a:lnTo>
                  <a:pt x="152" y="92"/>
                </a:lnTo>
                <a:lnTo>
                  <a:pt x="105" y="90"/>
                </a:lnTo>
                <a:lnTo>
                  <a:pt x="99" y="87"/>
                </a:lnTo>
                <a:lnTo>
                  <a:pt x="86" y="65"/>
                </a:lnTo>
                <a:lnTo>
                  <a:pt x="71" y="55"/>
                </a:lnTo>
                <a:lnTo>
                  <a:pt x="66" y="63"/>
                </a:lnTo>
                <a:lnTo>
                  <a:pt x="64" y="84"/>
                </a:lnTo>
                <a:lnTo>
                  <a:pt x="55" y="105"/>
                </a:lnTo>
                <a:lnTo>
                  <a:pt x="38" y="105"/>
                </a:lnTo>
                <a:lnTo>
                  <a:pt x="33" y="111"/>
                </a:lnTo>
                <a:lnTo>
                  <a:pt x="42" y="132"/>
                </a:lnTo>
                <a:lnTo>
                  <a:pt x="40" y="154"/>
                </a:lnTo>
                <a:lnTo>
                  <a:pt x="28" y="173"/>
                </a:lnTo>
                <a:lnTo>
                  <a:pt x="19" y="182"/>
                </a:lnTo>
                <a:lnTo>
                  <a:pt x="5" y="189"/>
                </a:lnTo>
                <a:lnTo>
                  <a:pt x="0" y="206"/>
                </a:lnTo>
                <a:lnTo>
                  <a:pt x="3" y="22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6" name="RO"/>
          <p:cNvSpPr>
            <a:spLocks noChangeAspect="1"/>
          </p:cNvSpPr>
          <p:nvPr/>
        </p:nvSpPr>
        <p:spPr bwMode="auto">
          <a:xfrm>
            <a:off x="6938963" y="4241800"/>
            <a:ext cx="1028700" cy="677863"/>
          </a:xfrm>
          <a:custGeom>
            <a:avLst/>
            <a:gdLst>
              <a:gd name="T0" fmla="*/ 155 w 696"/>
              <a:gd name="T1" fmla="*/ 65 h 572"/>
              <a:gd name="T2" fmla="*/ 129 w 696"/>
              <a:gd name="T3" fmla="*/ 81 h 572"/>
              <a:gd name="T4" fmla="*/ 121 w 696"/>
              <a:gd name="T5" fmla="*/ 185 h 572"/>
              <a:gd name="T6" fmla="*/ 79 w 696"/>
              <a:gd name="T7" fmla="*/ 240 h 572"/>
              <a:gd name="T8" fmla="*/ 24 w 696"/>
              <a:gd name="T9" fmla="*/ 269 h 572"/>
              <a:gd name="T10" fmla="*/ 0 w 696"/>
              <a:gd name="T11" fmla="*/ 306 h 572"/>
              <a:gd name="T12" fmla="*/ 22 w 696"/>
              <a:gd name="T13" fmla="*/ 337 h 572"/>
              <a:gd name="T14" fmla="*/ 22 w 696"/>
              <a:gd name="T15" fmla="*/ 367 h 572"/>
              <a:gd name="T16" fmla="*/ 52 w 696"/>
              <a:gd name="T17" fmla="*/ 374 h 572"/>
              <a:gd name="T18" fmla="*/ 66 w 696"/>
              <a:gd name="T19" fmla="*/ 420 h 572"/>
              <a:gd name="T20" fmla="*/ 75 w 696"/>
              <a:gd name="T21" fmla="*/ 461 h 572"/>
              <a:gd name="T22" fmla="*/ 97 w 696"/>
              <a:gd name="T23" fmla="*/ 461 h 572"/>
              <a:gd name="T24" fmla="*/ 132 w 696"/>
              <a:gd name="T25" fmla="*/ 464 h 572"/>
              <a:gd name="T26" fmla="*/ 132 w 696"/>
              <a:gd name="T27" fmla="*/ 488 h 572"/>
              <a:gd name="T28" fmla="*/ 155 w 696"/>
              <a:gd name="T29" fmla="*/ 509 h 572"/>
              <a:gd name="T30" fmla="*/ 155 w 696"/>
              <a:gd name="T31" fmla="*/ 538 h 572"/>
              <a:gd name="T32" fmla="*/ 203 w 696"/>
              <a:gd name="T33" fmla="*/ 551 h 572"/>
              <a:gd name="T34" fmla="*/ 270 w 696"/>
              <a:gd name="T35" fmla="*/ 572 h 572"/>
              <a:gd name="T36" fmla="*/ 319 w 696"/>
              <a:gd name="T37" fmla="*/ 556 h 572"/>
              <a:gd name="T38" fmla="*/ 376 w 696"/>
              <a:gd name="T39" fmla="*/ 562 h 572"/>
              <a:gd name="T40" fmla="*/ 409 w 696"/>
              <a:gd name="T41" fmla="*/ 541 h 572"/>
              <a:gd name="T42" fmla="*/ 503 w 696"/>
              <a:gd name="T43" fmla="*/ 492 h 572"/>
              <a:gd name="T44" fmla="*/ 558 w 696"/>
              <a:gd name="T45" fmla="*/ 498 h 572"/>
              <a:gd name="T46" fmla="*/ 599 w 696"/>
              <a:gd name="T47" fmla="*/ 506 h 572"/>
              <a:gd name="T48" fmla="*/ 625 w 696"/>
              <a:gd name="T49" fmla="*/ 482 h 572"/>
              <a:gd name="T50" fmla="*/ 627 w 696"/>
              <a:gd name="T51" fmla="*/ 401 h 572"/>
              <a:gd name="T52" fmla="*/ 651 w 696"/>
              <a:gd name="T53" fmla="*/ 374 h 572"/>
              <a:gd name="T54" fmla="*/ 674 w 696"/>
              <a:gd name="T55" fmla="*/ 374 h 572"/>
              <a:gd name="T56" fmla="*/ 679 w 696"/>
              <a:gd name="T57" fmla="*/ 353 h 572"/>
              <a:gd name="T58" fmla="*/ 696 w 696"/>
              <a:gd name="T59" fmla="*/ 334 h 572"/>
              <a:gd name="T60" fmla="*/ 660 w 696"/>
              <a:gd name="T61" fmla="*/ 322 h 572"/>
              <a:gd name="T62" fmla="*/ 618 w 696"/>
              <a:gd name="T63" fmla="*/ 331 h 572"/>
              <a:gd name="T64" fmla="*/ 578 w 696"/>
              <a:gd name="T65" fmla="*/ 322 h 572"/>
              <a:gd name="T66" fmla="*/ 571 w 696"/>
              <a:gd name="T67" fmla="*/ 285 h 572"/>
              <a:gd name="T68" fmla="*/ 558 w 696"/>
              <a:gd name="T69" fmla="*/ 248 h 572"/>
              <a:gd name="T70" fmla="*/ 550 w 696"/>
              <a:gd name="T71" fmla="*/ 211 h 572"/>
              <a:gd name="T72" fmla="*/ 552 w 696"/>
              <a:gd name="T73" fmla="*/ 176 h 572"/>
              <a:gd name="T74" fmla="*/ 522 w 696"/>
              <a:gd name="T75" fmla="*/ 124 h 572"/>
              <a:gd name="T76" fmla="*/ 512 w 696"/>
              <a:gd name="T77" fmla="*/ 87 h 572"/>
              <a:gd name="T78" fmla="*/ 482 w 696"/>
              <a:gd name="T79" fmla="*/ 58 h 572"/>
              <a:gd name="T80" fmla="*/ 461 w 696"/>
              <a:gd name="T81" fmla="*/ 13 h 572"/>
              <a:gd name="T82" fmla="*/ 440 w 696"/>
              <a:gd name="T83" fmla="*/ 0 h 572"/>
              <a:gd name="T84" fmla="*/ 416 w 696"/>
              <a:gd name="T85" fmla="*/ 19 h 572"/>
              <a:gd name="T86" fmla="*/ 388 w 696"/>
              <a:gd name="T87" fmla="*/ 21 h 572"/>
              <a:gd name="T88" fmla="*/ 364 w 696"/>
              <a:gd name="T89" fmla="*/ 37 h 572"/>
              <a:gd name="T90" fmla="*/ 327 w 696"/>
              <a:gd name="T91" fmla="*/ 43 h 572"/>
              <a:gd name="T92" fmla="*/ 297 w 696"/>
              <a:gd name="T93" fmla="*/ 19 h 572"/>
              <a:gd name="T94" fmla="*/ 259 w 696"/>
              <a:gd name="T95" fmla="*/ 34 h 572"/>
              <a:gd name="T96" fmla="*/ 228 w 696"/>
              <a:gd name="T97" fmla="*/ 31 h 572"/>
              <a:gd name="T98" fmla="*/ 190 w 696"/>
              <a:gd name="T99" fmla="*/ 29 h 572"/>
              <a:gd name="T100" fmla="*/ 171 w 696"/>
              <a:gd name="T101" fmla="*/ 40 h 572"/>
              <a:gd name="T102" fmla="*/ 162 w 696"/>
              <a:gd name="T103" fmla="*/ 4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6" h="572">
                <a:moveTo>
                  <a:pt x="167" y="50"/>
                </a:moveTo>
                <a:lnTo>
                  <a:pt x="155" y="65"/>
                </a:lnTo>
                <a:lnTo>
                  <a:pt x="146" y="77"/>
                </a:lnTo>
                <a:lnTo>
                  <a:pt x="129" y="81"/>
                </a:lnTo>
                <a:lnTo>
                  <a:pt x="122" y="169"/>
                </a:lnTo>
                <a:lnTo>
                  <a:pt x="121" y="185"/>
                </a:lnTo>
                <a:lnTo>
                  <a:pt x="102" y="219"/>
                </a:lnTo>
                <a:lnTo>
                  <a:pt x="79" y="240"/>
                </a:lnTo>
                <a:lnTo>
                  <a:pt x="64" y="259"/>
                </a:lnTo>
                <a:lnTo>
                  <a:pt x="24" y="269"/>
                </a:lnTo>
                <a:lnTo>
                  <a:pt x="4" y="289"/>
                </a:lnTo>
                <a:lnTo>
                  <a:pt x="0" y="306"/>
                </a:lnTo>
                <a:lnTo>
                  <a:pt x="14" y="319"/>
                </a:lnTo>
                <a:lnTo>
                  <a:pt x="22" y="337"/>
                </a:lnTo>
                <a:lnTo>
                  <a:pt x="19" y="350"/>
                </a:lnTo>
                <a:lnTo>
                  <a:pt x="22" y="367"/>
                </a:lnTo>
                <a:lnTo>
                  <a:pt x="33" y="374"/>
                </a:lnTo>
                <a:lnTo>
                  <a:pt x="52" y="374"/>
                </a:lnTo>
                <a:lnTo>
                  <a:pt x="59" y="390"/>
                </a:lnTo>
                <a:lnTo>
                  <a:pt x="66" y="420"/>
                </a:lnTo>
                <a:lnTo>
                  <a:pt x="69" y="442"/>
                </a:lnTo>
                <a:lnTo>
                  <a:pt x="75" y="461"/>
                </a:lnTo>
                <a:lnTo>
                  <a:pt x="88" y="467"/>
                </a:lnTo>
                <a:lnTo>
                  <a:pt x="97" y="461"/>
                </a:lnTo>
                <a:lnTo>
                  <a:pt x="113" y="448"/>
                </a:lnTo>
                <a:lnTo>
                  <a:pt x="132" y="464"/>
                </a:lnTo>
                <a:lnTo>
                  <a:pt x="129" y="479"/>
                </a:lnTo>
                <a:lnTo>
                  <a:pt x="132" y="488"/>
                </a:lnTo>
                <a:lnTo>
                  <a:pt x="141" y="492"/>
                </a:lnTo>
                <a:lnTo>
                  <a:pt x="155" y="509"/>
                </a:lnTo>
                <a:lnTo>
                  <a:pt x="151" y="528"/>
                </a:lnTo>
                <a:lnTo>
                  <a:pt x="155" y="538"/>
                </a:lnTo>
                <a:lnTo>
                  <a:pt x="176" y="538"/>
                </a:lnTo>
                <a:lnTo>
                  <a:pt x="203" y="551"/>
                </a:lnTo>
                <a:lnTo>
                  <a:pt x="251" y="572"/>
                </a:lnTo>
                <a:lnTo>
                  <a:pt x="270" y="572"/>
                </a:lnTo>
                <a:lnTo>
                  <a:pt x="297" y="566"/>
                </a:lnTo>
                <a:lnTo>
                  <a:pt x="319" y="556"/>
                </a:lnTo>
                <a:lnTo>
                  <a:pt x="357" y="563"/>
                </a:lnTo>
                <a:lnTo>
                  <a:pt x="376" y="562"/>
                </a:lnTo>
                <a:lnTo>
                  <a:pt x="385" y="559"/>
                </a:lnTo>
                <a:lnTo>
                  <a:pt x="409" y="541"/>
                </a:lnTo>
                <a:lnTo>
                  <a:pt x="463" y="506"/>
                </a:lnTo>
                <a:lnTo>
                  <a:pt x="503" y="492"/>
                </a:lnTo>
                <a:lnTo>
                  <a:pt x="525" y="491"/>
                </a:lnTo>
                <a:lnTo>
                  <a:pt x="558" y="498"/>
                </a:lnTo>
                <a:lnTo>
                  <a:pt x="585" y="501"/>
                </a:lnTo>
                <a:lnTo>
                  <a:pt x="599" y="506"/>
                </a:lnTo>
                <a:lnTo>
                  <a:pt x="621" y="504"/>
                </a:lnTo>
                <a:lnTo>
                  <a:pt x="625" y="482"/>
                </a:lnTo>
                <a:lnTo>
                  <a:pt x="625" y="442"/>
                </a:lnTo>
                <a:lnTo>
                  <a:pt x="627" y="401"/>
                </a:lnTo>
                <a:lnTo>
                  <a:pt x="639" y="380"/>
                </a:lnTo>
                <a:lnTo>
                  <a:pt x="651" y="374"/>
                </a:lnTo>
                <a:lnTo>
                  <a:pt x="663" y="383"/>
                </a:lnTo>
                <a:lnTo>
                  <a:pt x="674" y="374"/>
                </a:lnTo>
                <a:lnTo>
                  <a:pt x="682" y="364"/>
                </a:lnTo>
                <a:lnTo>
                  <a:pt x="679" y="353"/>
                </a:lnTo>
                <a:lnTo>
                  <a:pt x="693" y="349"/>
                </a:lnTo>
                <a:lnTo>
                  <a:pt x="696" y="334"/>
                </a:lnTo>
                <a:lnTo>
                  <a:pt x="682" y="327"/>
                </a:lnTo>
                <a:lnTo>
                  <a:pt x="660" y="322"/>
                </a:lnTo>
                <a:lnTo>
                  <a:pt x="644" y="327"/>
                </a:lnTo>
                <a:lnTo>
                  <a:pt x="618" y="331"/>
                </a:lnTo>
                <a:lnTo>
                  <a:pt x="594" y="331"/>
                </a:lnTo>
                <a:lnTo>
                  <a:pt x="578" y="322"/>
                </a:lnTo>
                <a:lnTo>
                  <a:pt x="571" y="306"/>
                </a:lnTo>
                <a:lnTo>
                  <a:pt x="571" y="285"/>
                </a:lnTo>
                <a:lnTo>
                  <a:pt x="569" y="263"/>
                </a:lnTo>
                <a:lnTo>
                  <a:pt x="558" y="248"/>
                </a:lnTo>
                <a:lnTo>
                  <a:pt x="550" y="232"/>
                </a:lnTo>
                <a:lnTo>
                  <a:pt x="550" y="211"/>
                </a:lnTo>
                <a:lnTo>
                  <a:pt x="552" y="189"/>
                </a:lnTo>
                <a:lnTo>
                  <a:pt x="552" y="176"/>
                </a:lnTo>
                <a:lnTo>
                  <a:pt x="541" y="145"/>
                </a:lnTo>
                <a:lnTo>
                  <a:pt x="522" y="124"/>
                </a:lnTo>
                <a:lnTo>
                  <a:pt x="514" y="102"/>
                </a:lnTo>
                <a:lnTo>
                  <a:pt x="512" y="87"/>
                </a:lnTo>
                <a:lnTo>
                  <a:pt x="508" y="80"/>
                </a:lnTo>
                <a:lnTo>
                  <a:pt x="482" y="58"/>
                </a:lnTo>
                <a:lnTo>
                  <a:pt x="473" y="40"/>
                </a:lnTo>
                <a:lnTo>
                  <a:pt x="461" y="13"/>
                </a:lnTo>
                <a:lnTo>
                  <a:pt x="451" y="3"/>
                </a:lnTo>
                <a:lnTo>
                  <a:pt x="440" y="0"/>
                </a:lnTo>
                <a:lnTo>
                  <a:pt x="428" y="6"/>
                </a:lnTo>
                <a:lnTo>
                  <a:pt x="416" y="19"/>
                </a:lnTo>
                <a:lnTo>
                  <a:pt x="409" y="21"/>
                </a:lnTo>
                <a:lnTo>
                  <a:pt x="388" y="21"/>
                </a:lnTo>
                <a:lnTo>
                  <a:pt x="374" y="24"/>
                </a:lnTo>
                <a:lnTo>
                  <a:pt x="364" y="37"/>
                </a:lnTo>
                <a:lnTo>
                  <a:pt x="346" y="44"/>
                </a:lnTo>
                <a:lnTo>
                  <a:pt x="327" y="43"/>
                </a:lnTo>
                <a:lnTo>
                  <a:pt x="317" y="31"/>
                </a:lnTo>
                <a:lnTo>
                  <a:pt x="297" y="19"/>
                </a:lnTo>
                <a:lnTo>
                  <a:pt x="280" y="24"/>
                </a:lnTo>
                <a:lnTo>
                  <a:pt x="259" y="34"/>
                </a:lnTo>
                <a:lnTo>
                  <a:pt x="242" y="37"/>
                </a:lnTo>
                <a:lnTo>
                  <a:pt x="228" y="31"/>
                </a:lnTo>
                <a:lnTo>
                  <a:pt x="212" y="21"/>
                </a:lnTo>
                <a:lnTo>
                  <a:pt x="190" y="29"/>
                </a:lnTo>
                <a:lnTo>
                  <a:pt x="176" y="37"/>
                </a:lnTo>
                <a:lnTo>
                  <a:pt x="171" y="40"/>
                </a:lnTo>
                <a:lnTo>
                  <a:pt x="167" y="43"/>
                </a:lnTo>
                <a:lnTo>
                  <a:pt x="162" y="44"/>
                </a:lnTo>
                <a:lnTo>
                  <a:pt x="167" y="5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7" name="LT"/>
          <p:cNvSpPr>
            <a:spLocks noChangeAspect="1"/>
          </p:cNvSpPr>
          <p:nvPr/>
        </p:nvSpPr>
        <p:spPr bwMode="auto">
          <a:xfrm>
            <a:off x="6938963" y="3040063"/>
            <a:ext cx="538162" cy="381000"/>
          </a:xfrm>
          <a:custGeom>
            <a:avLst/>
            <a:gdLst>
              <a:gd name="T0" fmla="*/ 3 w 364"/>
              <a:gd name="T1" fmla="*/ 34 h 318"/>
              <a:gd name="T2" fmla="*/ 0 w 364"/>
              <a:gd name="T3" fmla="*/ 44 h 318"/>
              <a:gd name="T4" fmla="*/ 6 w 364"/>
              <a:gd name="T5" fmla="*/ 81 h 318"/>
              <a:gd name="T6" fmla="*/ 22 w 364"/>
              <a:gd name="T7" fmla="*/ 136 h 318"/>
              <a:gd name="T8" fmla="*/ 36 w 364"/>
              <a:gd name="T9" fmla="*/ 152 h 318"/>
              <a:gd name="T10" fmla="*/ 69 w 364"/>
              <a:gd name="T11" fmla="*/ 166 h 318"/>
              <a:gd name="T12" fmla="*/ 83 w 364"/>
              <a:gd name="T13" fmla="*/ 170 h 318"/>
              <a:gd name="T14" fmla="*/ 85 w 364"/>
              <a:gd name="T15" fmla="*/ 189 h 318"/>
              <a:gd name="T16" fmla="*/ 85 w 364"/>
              <a:gd name="T17" fmla="*/ 220 h 318"/>
              <a:gd name="T18" fmla="*/ 118 w 364"/>
              <a:gd name="T19" fmla="*/ 257 h 318"/>
              <a:gd name="T20" fmla="*/ 138 w 364"/>
              <a:gd name="T21" fmla="*/ 268 h 318"/>
              <a:gd name="T22" fmla="*/ 149 w 364"/>
              <a:gd name="T23" fmla="*/ 274 h 318"/>
              <a:gd name="T24" fmla="*/ 176 w 364"/>
              <a:gd name="T25" fmla="*/ 312 h 318"/>
              <a:gd name="T26" fmla="*/ 185 w 364"/>
              <a:gd name="T27" fmla="*/ 305 h 318"/>
              <a:gd name="T28" fmla="*/ 204 w 364"/>
              <a:gd name="T29" fmla="*/ 303 h 318"/>
              <a:gd name="T30" fmla="*/ 226 w 364"/>
              <a:gd name="T31" fmla="*/ 318 h 318"/>
              <a:gd name="T32" fmla="*/ 242 w 364"/>
              <a:gd name="T33" fmla="*/ 308 h 318"/>
              <a:gd name="T34" fmla="*/ 265 w 364"/>
              <a:gd name="T35" fmla="*/ 278 h 318"/>
              <a:gd name="T36" fmla="*/ 282 w 364"/>
              <a:gd name="T37" fmla="*/ 268 h 318"/>
              <a:gd name="T38" fmla="*/ 298 w 364"/>
              <a:gd name="T39" fmla="*/ 276 h 318"/>
              <a:gd name="T40" fmla="*/ 308 w 364"/>
              <a:gd name="T41" fmla="*/ 271 h 318"/>
              <a:gd name="T42" fmla="*/ 309 w 364"/>
              <a:gd name="T43" fmla="*/ 260 h 318"/>
              <a:gd name="T44" fmla="*/ 312 w 364"/>
              <a:gd name="T45" fmla="*/ 200 h 318"/>
              <a:gd name="T46" fmla="*/ 322 w 364"/>
              <a:gd name="T47" fmla="*/ 182 h 318"/>
              <a:gd name="T48" fmla="*/ 322 w 364"/>
              <a:gd name="T49" fmla="*/ 155 h 318"/>
              <a:gd name="T50" fmla="*/ 326 w 364"/>
              <a:gd name="T51" fmla="*/ 145 h 318"/>
              <a:gd name="T52" fmla="*/ 345 w 364"/>
              <a:gd name="T53" fmla="*/ 129 h 318"/>
              <a:gd name="T54" fmla="*/ 364 w 364"/>
              <a:gd name="T55" fmla="*/ 126 h 318"/>
              <a:gd name="T56" fmla="*/ 364 w 364"/>
              <a:gd name="T57" fmla="*/ 96 h 318"/>
              <a:gd name="T58" fmla="*/ 359 w 364"/>
              <a:gd name="T59" fmla="*/ 74 h 318"/>
              <a:gd name="T60" fmla="*/ 345 w 364"/>
              <a:gd name="T61" fmla="*/ 65 h 318"/>
              <a:gd name="T62" fmla="*/ 339 w 364"/>
              <a:gd name="T63" fmla="*/ 68 h 318"/>
              <a:gd name="T64" fmla="*/ 315 w 364"/>
              <a:gd name="T65" fmla="*/ 44 h 318"/>
              <a:gd name="T66" fmla="*/ 301 w 364"/>
              <a:gd name="T67" fmla="*/ 27 h 318"/>
              <a:gd name="T68" fmla="*/ 284 w 364"/>
              <a:gd name="T69" fmla="*/ 27 h 318"/>
              <a:gd name="T70" fmla="*/ 251 w 364"/>
              <a:gd name="T71" fmla="*/ 27 h 318"/>
              <a:gd name="T72" fmla="*/ 245 w 364"/>
              <a:gd name="T73" fmla="*/ 21 h 318"/>
              <a:gd name="T74" fmla="*/ 237 w 364"/>
              <a:gd name="T75" fmla="*/ 2 h 318"/>
              <a:gd name="T76" fmla="*/ 228 w 364"/>
              <a:gd name="T77" fmla="*/ 0 h 318"/>
              <a:gd name="T78" fmla="*/ 199 w 364"/>
              <a:gd name="T79" fmla="*/ 0 h 318"/>
              <a:gd name="T80" fmla="*/ 188 w 364"/>
              <a:gd name="T81" fmla="*/ 15 h 318"/>
              <a:gd name="T82" fmla="*/ 176 w 364"/>
              <a:gd name="T83" fmla="*/ 12 h 318"/>
              <a:gd name="T84" fmla="*/ 157 w 364"/>
              <a:gd name="T85" fmla="*/ 8 h 318"/>
              <a:gd name="T86" fmla="*/ 149 w 364"/>
              <a:gd name="T87" fmla="*/ 5 h 318"/>
              <a:gd name="T88" fmla="*/ 135 w 364"/>
              <a:gd name="T89" fmla="*/ 10 h 318"/>
              <a:gd name="T90" fmla="*/ 125 w 364"/>
              <a:gd name="T91" fmla="*/ 18 h 318"/>
              <a:gd name="T92" fmla="*/ 106 w 364"/>
              <a:gd name="T93" fmla="*/ 10 h 318"/>
              <a:gd name="T94" fmla="*/ 66 w 364"/>
              <a:gd name="T95" fmla="*/ 2 h 318"/>
              <a:gd name="T96" fmla="*/ 56 w 364"/>
              <a:gd name="T97" fmla="*/ 0 h 318"/>
              <a:gd name="T98" fmla="*/ 45 w 364"/>
              <a:gd name="T99" fmla="*/ 10 h 318"/>
              <a:gd name="T100" fmla="*/ 26 w 364"/>
              <a:gd name="T101" fmla="*/ 24 h 318"/>
              <a:gd name="T102" fmla="*/ 3 w 364"/>
              <a:gd name="T103" fmla="*/ 3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18">
                <a:moveTo>
                  <a:pt x="3" y="34"/>
                </a:moveTo>
                <a:lnTo>
                  <a:pt x="0" y="44"/>
                </a:lnTo>
                <a:lnTo>
                  <a:pt x="6" y="81"/>
                </a:lnTo>
                <a:lnTo>
                  <a:pt x="22" y="136"/>
                </a:lnTo>
                <a:lnTo>
                  <a:pt x="36" y="152"/>
                </a:lnTo>
                <a:lnTo>
                  <a:pt x="69" y="166"/>
                </a:lnTo>
                <a:lnTo>
                  <a:pt x="83" y="170"/>
                </a:lnTo>
                <a:lnTo>
                  <a:pt x="85" y="189"/>
                </a:lnTo>
                <a:lnTo>
                  <a:pt x="85" y="220"/>
                </a:lnTo>
                <a:lnTo>
                  <a:pt x="118" y="257"/>
                </a:lnTo>
                <a:lnTo>
                  <a:pt x="138" y="268"/>
                </a:lnTo>
                <a:lnTo>
                  <a:pt x="149" y="274"/>
                </a:lnTo>
                <a:lnTo>
                  <a:pt x="176" y="312"/>
                </a:lnTo>
                <a:lnTo>
                  <a:pt x="185" y="305"/>
                </a:lnTo>
                <a:lnTo>
                  <a:pt x="204" y="303"/>
                </a:lnTo>
                <a:lnTo>
                  <a:pt x="226" y="318"/>
                </a:lnTo>
                <a:lnTo>
                  <a:pt x="242" y="308"/>
                </a:lnTo>
                <a:lnTo>
                  <a:pt x="265" y="278"/>
                </a:lnTo>
                <a:lnTo>
                  <a:pt x="282" y="268"/>
                </a:lnTo>
                <a:lnTo>
                  <a:pt x="298" y="276"/>
                </a:lnTo>
                <a:lnTo>
                  <a:pt x="308" y="271"/>
                </a:lnTo>
                <a:lnTo>
                  <a:pt x="309" y="260"/>
                </a:lnTo>
                <a:lnTo>
                  <a:pt x="312" y="200"/>
                </a:lnTo>
                <a:lnTo>
                  <a:pt x="322" y="182"/>
                </a:lnTo>
                <a:lnTo>
                  <a:pt x="322" y="155"/>
                </a:lnTo>
                <a:lnTo>
                  <a:pt x="326" y="145"/>
                </a:lnTo>
                <a:lnTo>
                  <a:pt x="345" y="129"/>
                </a:lnTo>
                <a:lnTo>
                  <a:pt x="364" y="126"/>
                </a:lnTo>
                <a:lnTo>
                  <a:pt x="364" y="96"/>
                </a:lnTo>
                <a:lnTo>
                  <a:pt x="359" y="74"/>
                </a:lnTo>
                <a:lnTo>
                  <a:pt x="345" y="65"/>
                </a:lnTo>
                <a:lnTo>
                  <a:pt x="339" y="68"/>
                </a:lnTo>
                <a:lnTo>
                  <a:pt x="315" y="44"/>
                </a:lnTo>
                <a:lnTo>
                  <a:pt x="301" y="27"/>
                </a:lnTo>
                <a:lnTo>
                  <a:pt x="284" y="27"/>
                </a:lnTo>
                <a:lnTo>
                  <a:pt x="251" y="27"/>
                </a:lnTo>
                <a:lnTo>
                  <a:pt x="245" y="21"/>
                </a:lnTo>
                <a:lnTo>
                  <a:pt x="237" y="2"/>
                </a:lnTo>
                <a:lnTo>
                  <a:pt x="228" y="0"/>
                </a:lnTo>
                <a:lnTo>
                  <a:pt x="199" y="0"/>
                </a:lnTo>
                <a:lnTo>
                  <a:pt x="188" y="15"/>
                </a:lnTo>
                <a:lnTo>
                  <a:pt x="176" y="12"/>
                </a:lnTo>
                <a:lnTo>
                  <a:pt x="157" y="8"/>
                </a:lnTo>
                <a:lnTo>
                  <a:pt x="149" y="5"/>
                </a:lnTo>
                <a:lnTo>
                  <a:pt x="135" y="10"/>
                </a:lnTo>
                <a:lnTo>
                  <a:pt x="125" y="18"/>
                </a:lnTo>
                <a:lnTo>
                  <a:pt x="106" y="10"/>
                </a:lnTo>
                <a:lnTo>
                  <a:pt x="66" y="2"/>
                </a:lnTo>
                <a:lnTo>
                  <a:pt x="56" y="0"/>
                </a:lnTo>
                <a:lnTo>
                  <a:pt x="45" y="10"/>
                </a:lnTo>
                <a:lnTo>
                  <a:pt x="26" y="24"/>
                </a:lnTo>
                <a:lnTo>
                  <a:pt x="3" y="34"/>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8" name="EE"/>
          <p:cNvGrpSpPr>
            <a:grpSpLocks/>
          </p:cNvGrpSpPr>
          <p:nvPr/>
        </p:nvGrpSpPr>
        <p:grpSpPr bwMode="auto">
          <a:xfrm>
            <a:off x="6978582" y="2528348"/>
            <a:ext cx="541339" cy="327025"/>
            <a:chOff x="3930663" y="2840721"/>
            <a:chExt cx="247" cy="169"/>
          </a:xfrm>
          <a:solidFill>
            <a:srgbClr val="FAFAFA"/>
          </a:solidFill>
          <a:effectLst/>
        </p:grpSpPr>
        <p:sp>
          <p:nvSpPr>
            <p:cNvPr id="62" name="Freeform 533" descr="80%"/>
            <p:cNvSpPr>
              <a:spLocks noChangeAspect="1"/>
            </p:cNvSpPr>
            <p:nvPr/>
          </p:nvSpPr>
          <p:spPr bwMode="auto">
            <a:xfrm>
              <a:off x="3930673" y="2840778"/>
              <a:ext cx="38" cy="31"/>
            </a:xfrm>
            <a:custGeom>
              <a:avLst/>
              <a:gdLst>
                <a:gd name="T0" fmla="*/ 33 w 56"/>
                <a:gd name="T1" fmla="*/ 0 h 52"/>
                <a:gd name="T2" fmla="*/ 7 w 56"/>
                <a:gd name="T3" fmla="*/ 18 h 52"/>
                <a:gd name="T4" fmla="*/ 0 w 56"/>
                <a:gd name="T5" fmla="*/ 28 h 52"/>
                <a:gd name="T6" fmla="*/ 16 w 56"/>
                <a:gd name="T7" fmla="*/ 34 h 52"/>
                <a:gd name="T8" fmla="*/ 30 w 56"/>
                <a:gd name="T9" fmla="*/ 52 h 52"/>
                <a:gd name="T10" fmla="*/ 42 w 56"/>
                <a:gd name="T11" fmla="*/ 40 h 52"/>
                <a:gd name="T12" fmla="*/ 56 w 56"/>
                <a:gd name="T13" fmla="*/ 28 h 52"/>
                <a:gd name="T14" fmla="*/ 44 w 56"/>
                <a:gd name="T15" fmla="*/ 15 h 52"/>
                <a:gd name="T16" fmla="*/ 33 w 56"/>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33" y="0"/>
                  </a:moveTo>
                  <a:lnTo>
                    <a:pt x="7" y="18"/>
                  </a:lnTo>
                  <a:lnTo>
                    <a:pt x="0" y="28"/>
                  </a:lnTo>
                  <a:lnTo>
                    <a:pt x="16" y="34"/>
                  </a:lnTo>
                  <a:lnTo>
                    <a:pt x="30" y="52"/>
                  </a:lnTo>
                  <a:lnTo>
                    <a:pt x="42" y="40"/>
                  </a:lnTo>
                  <a:lnTo>
                    <a:pt x="56" y="28"/>
                  </a:lnTo>
                  <a:lnTo>
                    <a:pt x="44" y="15"/>
                  </a:lnTo>
                  <a:lnTo>
                    <a:pt x="3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3" name="Freeform 534" descr="80%"/>
            <p:cNvSpPr>
              <a:spLocks noChangeAspect="1"/>
            </p:cNvSpPr>
            <p:nvPr/>
          </p:nvSpPr>
          <p:spPr bwMode="auto">
            <a:xfrm>
              <a:off x="3930663" y="2840819"/>
              <a:ext cx="55" cy="59"/>
            </a:xfrm>
            <a:custGeom>
              <a:avLst/>
              <a:gdLst>
                <a:gd name="T0" fmla="*/ 69 w 83"/>
                <a:gd name="T1" fmla="*/ 0 h 95"/>
                <a:gd name="T2" fmla="*/ 41 w 83"/>
                <a:gd name="T3" fmla="*/ 6 h 95"/>
                <a:gd name="T4" fmla="*/ 31 w 83"/>
                <a:gd name="T5" fmla="*/ 0 h 95"/>
                <a:gd name="T6" fmla="*/ 14 w 83"/>
                <a:gd name="T7" fmla="*/ 24 h 95"/>
                <a:gd name="T8" fmla="*/ 8 w 83"/>
                <a:gd name="T9" fmla="*/ 18 h 95"/>
                <a:gd name="T10" fmla="*/ 0 w 83"/>
                <a:gd name="T11" fmla="*/ 34 h 95"/>
                <a:gd name="T12" fmla="*/ 9 w 83"/>
                <a:gd name="T13" fmla="*/ 43 h 95"/>
                <a:gd name="T14" fmla="*/ 9 w 83"/>
                <a:gd name="T15" fmla="*/ 82 h 95"/>
                <a:gd name="T16" fmla="*/ 17 w 83"/>
                <a:gd name="T17" fmla="*/ 95 h 95"/>
                <a:gd name="T18" fmla="*/ 59 w 83"/>
                <a:gd name="T19" fmla="*/ 43 h 95"/>
                <a:gd name="T20" fmla="*/ 75 w 83"/>
                <a:gd name="T21" fmla="*/ 43 h 95"/>
                <a:gd name="T22" fmla="*/ 83 w 83"/>
                <a:gd name="T23" fmla="*/ 28 h 95"/>
                <a:gd name="T24" fmla="*/ 80 w 83"/>
                <a:gd name="T25" fmla="*/ 21 h 95"/>
                <a:gd name="T26" fmla="*/ 69 w 83"/>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95">
                  <a:moveTo>
                    <a:pt x="69" y="0"/>
                  </a:moveTo>
                  <a:lnTo>
                    <a:pt x="41" y="6"/>
                  </a:lnTo>
                  <a:lnTo>
                    <a:pt x="31" y="0"/>
                  </a:lnTo>
                  <a:lnTo>
                    <a:pt x="14" y="24"/>
                  </a:lnTo>
                  <a:lnTo>
                    <a:pt x="8" y="18"/>
                  </a:lnTo>
                  <a:lnTo>
                    <a:pt x="0" y="34"/>
                  </a:lnTo>
                  <a:lnTo>
                    <a:pt x="9" y="43"/>
                  </a:lnTo>
                  <a:lnTo>
                    <a:pt x="9" y="82"/>
                  </a:lnTo>
                  <a:lnTo>
                    <a:pt x="17" y="95"/>
                  </a:lnTo>
                  <a:lnTo>
                    <a:pt x="59" y="43"/>
                  </a:lnTo>
                  <a:lnTo>
                    <a:pt x="75" y="43"/>
                  </a:lnTo>
                  <a:lnTo>
                    <a:pt x="83" y="28"/>
                  </a:lnTo>
                  <a:lnTo>
                    <a:pt x="80" y="21"/>
                  </a:lnTo>
                  <a:lnTo>
                    <a:pt x="6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4" name="Freeform 535" descr="80%"/>
            <p:cNvSpPr>
              <a:spLocks noChangeAspect="1"/>
            </p:cNvSpPr>
            <p:nvPr/>
          </p:nvSpPr>
          <p:spPr bwMode="auto">
            <a:xfrm>
              <a:off x="3930728" y="2840721"/>
              <a:ext cx="182" cy="169"/>
            </a:xfrm>
            <a:custGeom>
              <a:avLst/>
              <a:gdLst>
                <a:gd name="T0" fmla="*/ 262 w 271"/>
                <a:gd name="T1" fmla="*/ 256 h 272"/>
                <a:gd name="T2" fmla="*/ 260 w 271"/>
                <a:gd name="T3" fmla="*/ 241 h 272"/>
                <a:gd name="T4" fmla="*/ 269 w 271"/>
                <a:gd name="T5" fmla="*/ 226 h 272"/>
                <a:gd name="T6" fmla="*/ 269 w 271"/>
                <a:gd name="T7" fmla="*/ 206 h 272"/>
                <a:gd name="T8" fmla="*/ 250 w 271"/>
                <a:gd name="T9" fmla="*/ 191 h 272"/>
                <a:gd name="T10" fmla="*/ 243 w 271"/>
                <a:gd name="T11" fmla="*/ 182 h 272"/>
                <a:gd name="T12" fmla="*/ 238 w 271"/>
                <a:gd name="T13" fmla="*/ 155 h 272"/>
                <a:gd name="T14" fmla="*/ 227 w 271"/>
                <a:gd name="T15" fmla="*/ 132 h 272"/>
                <a:gd name="T16" fmla="*/ 214 w 271"/>
                <a:gd name="T17" fmla="*/ 114 h 272"/>
                <a:gd name="T18" fmla="*/ 214 w 271"/>
                <a:gd name="T19" fmla="*/ 98 h 272"/>
                <a:gd name="T20" fmla="*/ 222 w 271"/>
                <a:gd name="T21" fmla="*/ 87 h 272"/>
                <a:gd name="T22" fmla="*/ 252 w 271"/>
                <a:gd name="T23" fmla="*/ 90 h 272"/>
                <a:gd name="T24" fmla="*/ 264 w 271"/>
                <a:gd name="T25" fmla="*/ 74 h 272"/>
                <a:gd name="T26" fmla="*/ 271 w 271"/>
                <a:gd name="T27" fmla="*/ 34 h 272"/>
                <a:gd name="T28" fmla="*/ 269 w 271"/>
                <a:gd name="T29" fmla="*/ 21 h 272"/>
                <a:gd name="T30" fmla="*/ 255 w 271"/>
                <a:gd name="T31" fmla="*/ 19 h 272"/>
                <a:gd name="T32" fmla="*/ 230 w 271"/>
                <a:gd name="T33" fmla="*/ 21 h 272"/>
                <a:gd name="T34" fmla="*/ 194 w 271"/>
                <a:gd name="T35" fmla="*/ 21 h 272"/>
                <a:gd name="T36" fmla="*/ 167 w 271"/>
                <a:gd name="T37" fmla="*/ 9 h 272"/>
                <a:gd name="T38" fmla="*/ 148 w 271"/>
                <a:gd name="T39" fmla="*/ 3 h 272"/>
                <a:gd name="T40" fmla="*/ 132 w 271"/>
                <a:gd name="T41" fmla="*/ 0 h 272"/>
                <a:gd name="T42" fmla="*/ 116 w 271"/>
                <a:gd name="T43" fmla="*/ 24 h 272"/>
                <a:gd name="T44" fmla="*/ 97 w 271"/>
                <a:gd name="T45" fmla="*/ 40 h 272"/>
                <a:gd name="T46" fmla="*/ 69 w 271"/>
                <a:gd name="T47" fmla="*/ 37 h 272"/>
                <a:gd name="T48" fmla="*/ 52 w 271"/>
                <a:gd name="T49" fmla="*/ 50 h 272"/>
                <a:gd name="T50" fmla="*/ 26 w 271"/>
                <a:gd name="T51" fmla="*/ 80 h 272"/>
                <a:gd name="T52" fmla="*/ 5 w 271"/>
                <a:gd name="T53" fmla="*/ 98 h 272"/>
                <a:gd name="T54" fmla="*/ 0 w 271"/>
                <a:gd name="T55" fmla="*/ 111 h 272"/>
                <a:gd name="T56" fmla="*/ 12 w 271"/>
                <a:gd name="T57" fmla="*/ 135 h 272"/>
                <a:gd name="T58" fmla="*/ 24 w 271"/>
                <a:gd name="T59" fmla="*/ 167 h 272"/>
                <a:gd name="T60" fmla="*/ 38 w 271"/>
                <a:gd name="T61" fmla="*/ 185 h 272"/>
                <a:gd name="T62" fmla="*/ 52 w 271"/>
                <a:gd name="T63" fmla="*/ 179 h 272"/>
                <a:gd name="T64" fmla="*/ 76 w 271"/>
                <a:gd name="T65" fmla="*/ 169 h 272"/>
                <a:gd name="T66" fmla="*/ 74 w 271"/>
                <a:gd name="T67" fmla="*/ 195 h 272"/>
                <a:gd name="T68" fmla="*/ 66 w 271"/>
                <a:gd name="T69" fmla="*/ 226 h 272"/>
                <a:gd name="T70" fmla="*/ 69 w 271"/>
                <a:gd name="T71" fmla="*/ 232 h 272"/>
                <a:gd name="T72" fmla="*/ 80 w 271"/>
                <a:gd name="T73" fmla="*/ 232 h 272"/>
                <a:gd name="T74" fmla="*/ 97 w 271"/>
                <a:gd name="T75" fmla="*/ 226 h 272"/>
                <a:gd name="T76" fmla="*/ 132 w 271"/>
                <a:gd name="T77" fmla="*/ 231 h 272"/>
                <a:gd name="T78" fmla="*/ 142 w 271"/>
                <a:gd name="T79" fmla="*/ 245 h 272"/>
                <a:gd name="T80" fmla="*/ 162 w 271"/>
                <a:gd name="T81" fmla="*/ 253 h 272"/>
                <a:gd name="T82" fmla="*/ 179 w 271"/>
                <a:gd name="T83" fmla="*/ 272 h 272"/>
                <a:gd name="T84" fmla="*/ 190 w 271"/>
                <a:gd name="T85" fmla="*/ 269 h 272"/>
                <a:gd name="T86" fmla="*/ 212 w 271"/>
                <a:gd name="T87" fmla="*/ 256 h 272"/>
                <a:gd name="T88" fmla="*/ 233 w 271"/>
                <a:gd name="T89" fmla="*/ 253 h 272"/>
                <a:gd name="T90" fmla="*/ 262 w 271"/>
                <a:gd name="T91" fmla="*/ 25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 h="272">
                  <a:moveTo>
                    <a:pt x="262" y="256"/>
                  </a:moveTo>
                  <a:lnTo>
                    <a:pt x="260" y="241"/>
                  </a:lnTo>
                  <a:lnTo>
                    <a:pt x="269" y="226"/>
                  </a:lnTo>
                  <a:lnTo>
                    <a:pt x="269" y="206"/>
                  </a:lnTo>
                  <a:lnTo>
                    <a:pt x="250" y="191"/>
                  </a:lnTo>
                  <a:lnTo>
                    <a:pt x="243" y="182"/>
                  </a:lnTo>
                  <a:lnTo>
                    <a:pt x="238" y="155"/>
                  </a:lnTo>
                  <a:lnTo>
                    <a:pt x="227" y="132"/>
                  </a:lnTo>
                  <a:lnTo>
                    <a:pt x="214" y="114"/>
                  </a:lnTo>
                  <a:lnTo>
                    <a:pt x="214" y="98"/>
                  </a:lnTo>
                  <a:lnTo>
                    <a:pt x="222" y="87"/>
                  </a:lnTo>
                  <a:lnTo>
                    <a:pt x="252" y="90"/>
                  </a:lnTo>
                  <a:lnTo>
                    <a:pt x="264" y="74"/>
                  </a:lnTo>
                  <a:lnTo>
                    <a:pt x="271" y="34"/>
                  </a:lnTo>
                  <a:lnTo>
                    <a:pt x="269" y="21"/>
                  </a:lnTo>
                  <a:lnTo>
                    <a:pt x="255" y="19"/>
                  </a:lnTo>
                  <a:lnTo>
                    <a:pt x="230" y="21"/>
                  </a:lnTo>
                  <a:lnTo>
                    <a:pt x="194" y="21"/>
                  </a:lnTo>
                  <a:lnTo>
                    <a:pt x="167" y="9"/>
                  </a:lnTo>
                  <a:lnTo>
                    <a:pt x="148" y="3"/>
                  </a:lnTo>
                  <a:lnTo>
                    <a:pt x="132" y="0"/>
                  </a:lnTo>
                  <a:lnTo>
                    <a:pt x="116" y="24"/>
                  </a:lnTo>
                  <a:lnTo>
                    <a:pt x="97" y="40"/>
                  </a:lnTo>
                  <a:lnTo>
                    <a:pt x="69" y="37"/>
                  </a:lnTo>
                  <a:lnTo>
                    <a:pt x="52" y="50"/>
                  </a:lnTo>
                  <a:lnTo>
                    <a:pt x="26" y="80"/>
                  </a:lnTo>
                  <a:lnTo>
                    <a:pt x="5" y="98"/>
                  </a:lnTo>
                  <a:lnTo>
                    <a:pt x="0" y="111"/>
                  </a:lnTo>
                  <a:lnTo>
                    <a:pt x="12" y="135"/>
                  </a:lnTo>
                  <a:lnTo>
                    <a:pt x="24" y="167"/>
                  </a:lnTo>
                  <a:lnTo>
                    <a:pt x="38" y="185"/>
                  </a:lnTo>
                  <a:lnTo>
                    <a:pt x="52" y="179"/>
                  </a:lnTo>
                  <a:lnTo>
                    <a:pt x="76" y="169"/>
                  </a:lnTo>
                  <a:lnTo>
                    <a:pt x="74" y="195"/>
                  </a:lnTo>
                  <a:lnTo>
                    <a:pt x="66" y="226"/>
                  </a:lnTo>
                  <a:lnTo>
                    <a:pt x="69" y="232"/>
                  </a:lnTo>
                  <a:lnTo>
                    <a:pt x="80" y="232"/>
                  </a:lnTo>
                  <a:lnTo>
                    <a:pt x="97" y="226"/>
                  </a:lnTo>
                  <a:lnTo>
                    <a:pt x="132" y="231"/>
                  </a:lnTo>
                  <a:lnTo>
                    <a:pt x="142" y="245"/>
                  </a:lnTo>
                  <a:lnTo>
                    <a:pt x="162" y="253"/>
                  </a:lnTo>
                  <a:lnTo>
                    <a:pt x="179" y="272"/>
                  </a:lnTo>
                  <a:lnTo>
                    <a:pt x="190" y="269"/>
                  </a:lnTo>
                  <a:lnTo>
                    <a:pt x="212" y="256"/>
                  </a:lnTo>
                  <a:lnTo>
                    <a:pt x="233" y="253"/>
                  </a:lnTo>
                  <a:lnTo>
                    <a:pt x="262" y="25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9" name="LV"/>
          <p:cNvSpPr>
            <a:spLocks noChangeAspect="1"/>
          </p:cNvSpPr>
          <p:nvPr/>
        </p:nvSpPr>
        <p:spPr bwMode="auto">
          <a:xfrm>
            <a:off x="6916738" y="2794000"/>
            <a:ext cx="695325" cy="327025"/>
          </a:xfrm>
          <a:custGeom>
            <a:avLst/>
            <a:gdLst>
              <a:gd name="T0" fmla="*/ 115 w 468"/>
              <a:gd name="T1" fmla="*/ 93 h 275"/>
              <a:gd name="T2" fmla="*/ 105 w 468"/>
              <a:gd name="T3" fmla="*/ 56 h 275"/>
              <a:gd name="T4" fmla="*/ 74 w 468"/>
              <a:gd name="T5" fmla="*/ 37 h 275"/>
              <a:gd name="T6" fmla="*/ 41 w 468"/>
              <a:gd name="T7" fmla="*/ 66 h 275"/>
              <a:gd name="T8" fmla="*/ 21 w 468"/>
              <a:gd name="T9" fmla="*/ 127 h 275"/>
              <a:gd name="T10" fmla="*/ 16 w 468"/>
              <a:gd name="T11" fmla="*/ 148 h 275"/>
              <a:gd name="T12" fmla="*/ 0 w 468"/>
              <a:gd name="T13" fmla="*/ 170 h 275"/>
              <a:gd name="T14" fmla="*/ 5 w 468"/>
              <a:gd name="T15" fmla="*/ 212 h 275"/>
              <a:gd name="T16" fmla="*/ 19 w 468"/>
              <a:gd name="T17" fmla="*/ 241 h 275"/>
              <a:gd name="T18" fmla="*/ 60 w 468"/>
              <a:gd name="T19" fmla="*/ 217 h 275"/>
              <a:gd name="T20" fmla="*/ 88 w 468"/>
              <a:gd name="T21" fmla="*/ 212 h 275"/>
              <a:gd name="T22" fmla="*/ 124 w 468"/>
              <a:gd name="T23" fmla="*/ 222 h 275"/>
              <a:gd name="T24" fmla="*/ 159 w 468"/>
              <a:gd name="T25" fmla="*/ 212 h 275"/>
              <a:gd name="T26" fmla="*/ 182 w 468"/>
              <a:gd name="T27" fmla="*/ 219 h 275"/>
              <a:gd name="T28" fmla="*/ 212 w 468"/>
              <a:gd name="T29" fmla="*/ 212 h 275"/>
              <a:gd name="T30" fmla="*/ 248 w 468"/>
              <a:gd name="T31" fmla="*/ 209 h 275"/>
              <a:gd name="T32" fmla="*/ 283 w 468"/>
              <a:gd name="T33" fmla="*/ 235 h 275"/>
              <a:gd name="T34" fmla="*/ 330 w 468"/>
              <a:gd name="T35" fmla="*/ 258 h 275"/>
              <a:gd name="T36" fmla="*/ 358 w 468"/>
              <a:gd name="T37" fmla="*/ 275 h 275"/>
              <a:gd name="T38" fmla="*/ 400 w 468"/>
              <a:gd name="T39" fmla="*/ 262 h 275"/>
              <a:gd name="T40" fmla="*/ 421 w 468"/>
              <a:gd name="T41" fmla="*/ 238 h 275"/>
              <a:gd name="T42" fmla="*/ 461 w 468"/>
              <a:gd name="T43" fmla="*/ 191 h 275"/>
              <a:gd name="T44" fmla="*/ 463 w 468"/>
              <a:gd name="T45" fmla="*/ 130 h 275"/>
              <a:gd name="T46" fmla="*/ 430 w 468"/>
              <a:gd name="T47" fmla="*/ 98 h 275"/>
              <a:gd name="T48" fmla="*/ 412 w 468"/>
              <a:gd name="T49" fmla="*/ 47 h 275"/>
              <a:gd name="T50" fmla="*/ 382 w 468"/>
              <a:gd name="T51" fmla="*/ 27 h 275"/>
              <a:gd name="T52" fmla="*/ 328 w 468"/>
              <a:gd name="T53" fmla="*/ 43 h 275"/>
              <a:gd name="T54" fmla="*/ 297 w 468"/>
              <a:gd name="T55" fmla="*/ 27 h 275"/>
              <a:gd name="T56" fmla="*/ 269 w 468"/>
              <a:gd name="T57" fmla="*/ 6 h 275"/>
              <a:gd name="T58" fmla="*/ 241 w 468"/>
              <a:gd name="T59" fmla="*/ 0 h 275"/>
              <a:gd name="T60" fmla="*/ 211 w 468"/>
              <a:gd name="T61" fmla="*/ 6 h 275"/>
              <a:gd name="T62" fmla="*/ 196 w 468"/>
              <a:gd name="T63" fmla="*/ 27 h 275"/>
              <a:gd name="T64" fmla="*/ 201 w 468"/>
              <a:gd name="T65" fmla="*/ 87 h 275"/>
              <a:gd name="T66" fmla="*/ 182 w 468"/>
              <a:gd name="T67" fmla="*/ 121 h 275"/>
              <a:gd name="T68" fmla="*/ 162 w 468"/>
              <a:gd name="T69" fmla="*/ 1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275">
                <a:moveTo>
                  <a:pt x="138" y="108"/>
                </a:moveTo>
                <a:lnTo>
                  <a:pt x="115" y="93"/>
                </a:lnTo>
                <a:lnTo>
                  <a:pt x="110" y="74"/>
                </a:lnTo>
                <a:lnTo>
                  <a:pt x="105" y="56"/>
                </a:lnTo>
                <a:lnTo>
                  <a:pt x="93" y="37"/>
                </a:lnTo>
                <a:lnTo>
                  <a:pt x="74" y="37"/>
                </a:lnTo>
                <a:lnTo>
                  <a:pt x="60" y="46"/>
                </a:lnTo>
                <a:lnTo>
                  <a:pt x="41" y="66"/>
                </a:lnTo>
                <a:lnTo>
                  <a:pt x="19" y="114"/>
                </a:lnTo>
                <a:lnTo>
                  <a:pt x="21" y="127"/>
                </a:lnTo>
                <a:lnTo>
                  <a:pt x="21" y="140"/>
                </a:lnTo>
                <a:lnTo>
                  <a:pt x="16" y="148"/>
                </a:lnTo>
                <a:lnTo>
                  <a:pt x="7" y="158"/>
                </a:lnTo>
                <a:lnTo>
                  <a:pt x="0" y="170"/>
                </a:lnTo>
                <a:lnTo>
                  <a:pt x="5" y="182"/>
                </a:lnTo>
                <a:lnTo>
                  <a:pt x="5" y="212"/>
                </a:lnTo>
                <a:lnTo>
                  <a:pt x="8" y="235"/>
                </a:lnTo>
                <a:lnTo>
                  <a:pt x="19" y="241"/>
                </a:lnTo>
                <a:lnTo>
                  <a:pt x="38" y="232"/>
                </a:lnTo>
                <a:lnTo>
                  <a:pt x="60" y="217"/>
                </a:lnTo>
                <a:lnTo>
                  <a:pt x="70" y="207"/>
                </a:lnTo>
                <a:lnTo>
                  <a:pt x="88" y="212"/>
                </a:lnTo>
                <a:lnTo>
                  <a:pt x="107" y="217"/>
                </a:lnTo>
                <a:lnTo>
                  <a:pt x="124" y="222"/>
                </a:lnTo>
                <a:lnTo>
                  <a:pt x="135" y="228"/>
                </a:lnTo>
                <a:lnTo>
                  <a:pt x="159" y="212"/>
                </a:lnTo>
                <a:lnTo>
                  <a:pt x="170" y="212"/>
                </a:lnTo>
                <a:lnTo>
                  <a:pt x="182" y="219"/>
                </a:lnTo>
                <a:lnTo>
                  <a:pt x="198" y="225"/>
                </a:lnTo>
                <a:lnTo>
                  <a:pt x="212" y="212"/>
                </a:lnTo>
                <a:lnTo>
                  <a:pt x="234" y="207"/>
                </a:lnTo>
                <a:lnTo>
                  <a:pt x="248" y="209"/>
                </a:lnTo>
                <a:lnTo>
                  <a:pt x="259" y="232"/>
                </a:lnTo>
                <a:lnTo>
                  <a:pt x="283" y="235"/>
                </a:lnTo>
                <a:lnTo>
                  <a:pt x="311" y="232"/>
                </a:lnTo>
                <a:lnTo>
                  <a:pt x="330" y="258"/>
                </a:lnTo>
                <a:lnTo>
                  <a:pt x="344" y="272"/>
                </a:lnTo>
                <a:lnTo>
                  <a:pt x="358" y="275"/>
                </a:lnTo>
                <a:lnTo>
                  <a:pt x="379" y="265"/>
                </a:lnTo>
                <a:lnTo>
                  <a:pt x="400" y="262"/>
                </a:lnTo>
                <a:lnTo>
                  <a:pt x="414" y="251"/>
                </a:lnTo>
                <a:lnTo>
                  <a:pt x="421" y="238"/>
                </a:lnTo>
                <a:lnTo>
                  <a:pt x="447" y="207"/>
                </a:lnTo>
                <a:lnTo>
                  <a:pt x="461" y="191"/>
                </a:lnTo>
                <a:lnTo>
                  <a:pt x="468" y="167"/>
                </a:lnTo>
                <a:lnTo>
                  <a:pt x="463" y="130"/>
                </a:lnTo>
                <a:lnTo>
                  <a:pt x="452" y="121"/>
                </a:lnTo>
                <a:lnTo>
                  <a:pt x="430" y="98"/>
                </a:lnTo>
                <a:lnTo>
                  <a:pt x="421" y="74"/>
                </a:lnTo>
                <a:lnTo>
                  <a:pt x="412" y="47"/>
                </a:lnTo>
                <a:lnTo>
                  <a:pt x="393" y="29"/>
                </a:lnTo>
                <a:lnTo>
                  <a:pt x="382" y="27"/>
                </a:lnTo>
                <a:lnTo>
                  <a:pt x="344" y="29"/>
                </a:lnTo>
                <a:lnTo>
                  <a:pt x="328" y="43"/>
                </a:lnTo>
                <a:lnTo>
                  <a:pt x="316" y="47"/>
                </a:lnTo>
                <a:lnTo>
                  <a:pt x="297" y="27"/>
                </a:lnTo>
                <a:lnTo>
                  <a:pt x="281" y="19"/>
                </a:lnTo>
                <a:lnTo>
                  <a:pt x="269" y="6"/>
                </a:lnTo>
                <a:lnTo>
                  <a:pt x="262" y="3"/>
                </a:lnTo>
                <a:lnTo>
                  <a:pt x="241" y="0"/>
                </a:lnTo>
                <a:lnTo>
                  <a:pt x="225" y="6"/>
                </a:lnTo>
                <a:lnTo>
                  <a:pt x="211" y="6"/>
                </a:lnTo>
                <a:lnTo>
                  <a:pt x="203" y="13"/>
                </a:lnTo>
                <a:lnTo>
                  <a:pt x="196" y="27"/>
                </a:lnTo>
                <a:lnTo>
                  <a:pt x="196" y="56"/>
                </a:lnTo>
                <a:lnTo>
                  <a:pt x="201" y="87"/>
                </a:lnTo>
                <a:lnTo>
                  <a:pt x="201" y="101"/>
                </a:lnTo>
                <a:lnTo>
                  <a:pt x="182" y="121"/>
                </a:lnTo>
                <a:lnTo>
                  <a:pt x="170" y="133"/>
                </a:lnTo>
                <a:lnTo>
                  <a:pt x="162" y="120"/>
                </a:lnTo>
                <a:lnTo>
                  <a:pt x="138" y="108"/>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0" name="SK"/>
          <p:cNvSpPr>
            <a:spLocks noChangeAspect="1"/>
          </p:cNvSpPr>
          <p:nvPr/>
        </p:nvSpPr>
        <p:spPr bwMode="auto">
          <a:xfrm>
            <a:off x="6489700" y="4046538"/>
            <a:ext cx="658813" cy="266700"/>
          </a:xfrm>
          <a:custGeom>
            <a:avLst/>
            <a:gdLst>
              <a:gd name="T0" fmla="*/ 151 w 445"/>
              <a:gd name="T1" fmla="*/ 11 h 222"/>
              <a:gd name="T2" fmla="*/ 167 w 445"/>
              <a:gd name="T3" fmla="*/ 0 h 222"/>
              <a:gd name="T4" fmla="*/ 184 w 445"/>
              <a:gd name="T5" fmla="*/ 0 h 222"/>
              <a:gd name="T6" fmla="*/ 192 w 445"/>
              <a:gd name="T7" fmla="*/ 16 h 222"/>
              <a:gd name="T8" fmla="*/ 208 w 445"/>
              <a:gd name="T9" fmla="*/ 3 h 222"/>
              <a:gd name="T10" fmla="*/ 225 w 445"/>
              <a:gd name="T11" fmla="*/ 9 h 222"/>
              <a:gd name="T12" fmla="*/ 250 w 445"/>
              <a:gd name="T13" fmla="*/ 37 h 222"/>
              <a:gd name="T14" fmla="*/ 278 w 445"/>
              <a:gd name="T15" fmla="*/ 50 h 222"/>
              <a:gd name="T16" fmla="*/ 288 w 445"/>
              <a:gd name="T17" fmla="*/ 53 h 222"/>
              <a:gd name="T18" fmla="*/ 302 w 445"/>
              <a:gd name="T19" fmla="*/ 40 h 222"/>
              <a:gd name="T20" fmla="*/ 316 w 445"/>
              <a:gd name="T21" fmla="*/ 34 h 222"/>
              <a:gd name="T22" fmla="*/ 354 w 445"/>
              <a:gd name="T23" fmla="*/ 46 h 222"/>
              <a:gd name="T24" fmla="*/ 405 w 445"/>
              <a:gd name="T25" fmla="*/ 58 h 222"/>
              <a:gd name="T26" fmla="*/ 445 w 445"/>
              <a:gd name="T27" fmla="*/ 71 h 222"/>
              <a:gd name="T28" fmla="*/ 431 w 445"/>
              <a:gd name="T29" fmla="*/ 90 h 222"/>
              <a:gd name="T30" fmla="*/ 405 w 445"/>
              <a:gd name="T31" fmla="*/ 120 h 222"/>
              <a:gd name="T32" fmla="*/ 398 w 445"/>
              <a:gd name="T33" fmla="*/ 129 h 222"/>
              <a:gd name="T34" fmla="*/ 401 w 445"/>
              <a:gd name="T35" fmla="*/ 151 h 222"/>
              <a:gd name="T36" fmla="*/ 382 w 445"/>
              <a:gd name="T37" fmla="*/ 151 h 222"/>
              <a:gd name="T38" fmla="*/ 363 w 445"/>
              <a:gd name="T39" fmla="*/ 135 h 222"/>
              <a:gd name="T40" fmla="*/ 344 w 445"/>
              <a:gd name="T41" fmla="*/ 129 h 222"/>
              <a:gd name="T42" fmla="*/ 295 w 445"/>
              <a:gd name="T43" fmla="*/ 142 h 222"/>
              <a:gd name="T44" fmla="*/ 282 w 445"/>
              <a:gd name="T45" fmla="*/ 155 h 222"/>
              <a:gd name="T46" fmla="*/ 268 w 445"/>
              <a:gd name="T47" fmla="*/ 175 h 222"/>
              <a:gd name="T48" fmla="*/ 241 w 445"/>
              <a:gd name="T49" fmla="*/ 194 h 222"/>
              <a:gd name="T50" fmla="*/ 226 w 445"/>
              <a:gd name="T51" fmla="*/ 194 h 222"/>
              <a:gd name="T52" fmla="*/ 210 w 445"/>
              <a:gd name="T53" fmla="*/ 178 h 222"/>
              <a:gd name="T54" fmla="*/ 196 w 445"/>
              <a:gd name="T55" fmla="*/ 178 h 222"/>
              <a:gd name="T56" fmla="*/ 145 w 445"/>
              <a:gd name="T57" fmla="*/ 205 h 222"/>
              <a:gd name="T58" fmla="*/ 121 w 445"/>
              <a:gd name="T59" fmla="*/ 219 h 222"/>
              <a:gd name="T60" fmla="*/ 103 w 445"/>
              <a:gd name="T61" fmla="*/ 222 h 222"/>
              <a:gd name="T62" fmla="*/ 63 w 445"/>
              <a:gd name="T63" fmla="*/ 219 h 222"/>
              <a:gd name="T64" fmla="*/ 46 w 445"/>
              <a:gd name="T65" fmla="*/ 219 h 222"/>
              <a:gd name="T66" fmla="*/ 34 w 445"/>
              <a:gd name="T67" fmla="*/ 198 h 222"/>
              <a:gd name="T68" fmla="*/ 27 w 445"/>
              <a:gd name="T69" fmla="*/ 191 h 222"/>
              <a:gd name="T70" fmla="*/ 13 w 445"/>
              <a:gd name="T71" fmla="*/ 182 h 222"/>
              <a:gd name="T72" fmla="*/ 6 w 445"/>
              <a:gd name="T73" fmla="*/ 172 h 222"/>
              <a:gd name="T74" fmla="*/ 0 w 445"/>
              <a:gd name="T75" fmla="*/ 151 h 222"/>
              <a:gd name="T76" fmla="*/ 0 w 445"/>
              <a:gd name="T77" fmla="*/ 127 h 222"/>
              <a:gd name="T78" fmla="*/ 43 w 445"/>
              <a:gd name="T79" fmla="*/ 107 h 222"/>
              <a:gd name="T80" fmla="*/ 91 w 445"/>
              <a:gd name="T81" fmla="*/ 107 h 222"/>
              <a:gd name="T82" fmla="*/ 120 w 445"/>
              <a:gd name="T83" fmla="*/ 77 h 222"/>
              <a:gd name="T84" fmla="*/ 124 w 445"/>
              <a:gd name="T85" fmla="*/ 26 h 222"/>
              <a:gd name="T86" fmla="*/ 151 w 445"/>
              <a:gd name="T87" fmla="*/ 1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222">
                <a:moveTo>
                  <a:pt x="151" y="11"/>
                </a:moveTo>
                <a:lnTo>
                  <a:pt x="167" y="0"/>
                </a:lnTo>
                <a:lnTo>
                  <a:pt x="184" y="0"/>
                </a:lnTo>
                <a:lnTo>
                  <a:pt x="192" y="16"/>
                </a:lnTo>
                <a:lnTo>
                  <a:pt x="208" y="3"/>
                </a:lnTo>
                <a:lnTo>
                  <a:pt x="225" y="9"/>
                </a:lnTo>
                <a:lnTo>
                  <a:pt x="250" y="37"/>
                </a:lnTo>
                <a:lnTo>
                  <a:pt x="278" y="50"/>
                </a:lnTo>
                <a:lnTo>
                  <a:pt x="288" y="53"/>
                </a:lnTo>
                <a:lnTo>
                  <a:pt x="302" y="40"/>
                </a:lnTo>
                <a:lnTo>
                  <a:pt x="316" y="34"/>
                </a:lnTo>
                <a:lnTo>
                  <a:pt x="354" y="46"/>
                </a:lnTo>
                <a:lnTo>
                  <a:pt x="405" y="58"/>
                </a:lnTo>
                <a:lnTo>
                  <a:pt x="445" y="71"/>
                </a:lnTo>
                <a:lnTo>
                  <a:pt x="431" y="90"/>
                </a:lnTo>
                <a:lnTo>
                  <a:pt x="405" y="120"/>
                </a:lnTo>
                <a:lnTo>
                  <a:pt x="398" y="129"/>
                </a:lnTo>
                <a:lnTo>
                  <a:pt x="401" y="151"/>
                </a:lnTo>
                <a:lnTo>
                  <a:pt x="382" y="151"/>
                </a:lnTo>
                <a:lnTo>
                  <a:pt x="363" y="135"/>
                </a:lnTo>
                <a:lnTo>
                  <a:pt x="344" y="129"/>
                </a:lnTo>
                <a:lnTo>
                  <a:pt x="295" y="142"/>
                </a:lnTo>
                <a:lnTo>
                  <a:pt x="282" y="155"/>
                </a:lnTo>
                <a:lnTo>
                  <a:pt x="268" y="175"/>
                </a:lnTo>
                <a:lnTo>
                  <a:pt x="241" y="194"/>
                </a:lnTo>
                <a:lnTo>
                  <a:pt x="226" y="194"/>
                </a:lnTo>
                <a:lnTo>
                  <a:pt x="210" y="178"/>
                </a:lnTo>
                <a:lnTo>
                  <a:pt x="196" y="178"/>
                </a:lnTo>
                <a:lnTo>
                  <a:pt x="145" y="205"/>
                </a:lnTo>
                <a:lnTo>
                  <a:pt x="121" y="219"/>
                </a:lnTo>
                <a:lnTo>
                  <a:pt x="103" y="222"/>
                </a:lnTo>
                <a:lnTo>
                  <a:pt x="63" y="219"/>
                </a:lnTo>
                <a:lnTo>
                  <a:pt x="46" y="219"/>
                </a:lnTo>
                <a:lnTo>
                  <a:pt x="34" y="198"/>
                </a:lnTo>
                <a:lnTo>
                  <a:pt x="27" y="191"/>
                </a:lnTo>
                <a:lnTo>
                  <a:pt x="13" y="182"/>
                </a:lnTo>
                <a:lnTo>
                  <a:pt x="6" y="172"/>
                </a:lnTo>
                <a:lnTo>
                  <a:pt x="0" y="151"/>
                </a:lnTo>
                <a:lnTo>
                  <a:pt x="0" y="127"/>
                </a:lnTo>
                <a:lnTo>
                  <a:pt x="43" y="107"/>
                </a:lnTo>
                <a:lnTo>
                  <a:pt x="91" y="107"/>
                </a:lnTo>
                <a:lnTo>
                  <a:pt x="120" y="77"/>
                </a:lnTo>
                <a:lnTo>
                  <a:pt x="124" y="26"/>
                </a:lnTo>
                <a:lnTo>
                  <a:pt x="151" y="1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1" name="xb"/>
          <p:cNvSpPr>
            <a:spLocks noChangeAspect="1"/>
          </p:cNvSpPr>
          <p:nvPr/>
        </p:nvSpPr>
        <p:spPr bwMode="auto">
          <a:xfrm>
            <a:off x="7581900" y="4206875"/>
            <a:ext cx="442913" cy="439738"/>
          </a:xfrm>
          <a:custGeom>
            <a:avLst/>
            <a:gdLst>
              <a:gd name="T0" fmla="*/ 153 w 285"/>
              <a:gd name="T1" fmla="*/ 355 h 355"/>
              <a:gd name="T2" fmla="*/ 136 w 285"/>
              <a:gd name="T3" fmla="*/ 335 h 355"/>
              <a:gd name="T4" fmla="*/ 133 w 285"/>
              <a:gd name="T5" fmla="*/ 288 h 355"/>
              <a:gd name="T6" fmla="*/ 115 w 285"/>
              <a:gd name="T7" fmla="*/ 254 h 355"/>
              <a:gd name="T8" fmla="*/ 114 w 285"/>
              <a:gd name="T9" fmla="*/ 224 h 355"/>
              <a:gd name="T10" fmla="*/ 119 w 285"/>
              <a:gd name="T11" fmla="*/ 202 h 355"/>
              <a:gd name="T12" fmla="*/ 104 w 285"/>
              <a:gd name="T13" fmla="*/ 171 h 355"/>
              <a:gd name="T14" fmla="*/ 85 w 285"/>
              <a:gd name="T15" fmla="*/ 147 h 355"/>
              <a:gd name="T16" fmla="*/ 77 w 285"/>
              <a:gd name="T17" fmla="*/ 121 h 355"/>
              <a:gd name="T18" fmla="*/ 73 w 285"/>
              <a:gd name="T19" fmla="*/ 104 h 355"/>
              <a:gd name="T20" fmla="*/ 50 w 285"/>
              <a:gd name="T21" fmla="*/ 87 h 355"/>
              <a:gd name="T22" fmla="*/ 38 w 285"/>
              <a:gd name="T23" fmla="*/ 64 h 355"/>
              <a:gd name="T24" fmla="*/ 24 w 285"/>
              <a:gd name="T25" fmla="*/ 39 h 355"/>
              <a:gd name="T26" fmla="*/ 0 w 285"/>
              <a:gd name="T27" fmla="*/ 22 h 355"/>
              <a:gd name="T28" fmla="*/ 38 w 285"/>
              <a:gd name="T29" fmla="*/ 0 h 355"/>
              <a:gd name="T30" fmla="*/ 68 w 285"/>
              <a:gd name="T31" fmla="*/ 5 h 355"/>
              <a:gd name="T32" fmla="*/ 87 w 285"/>
              <a:gd name="T33" fmla="*/ 9 h 355"/>
              <a:gd name="T34" fmla="*/ 136 w 285"/>
              <a:gd name="T35" fmla="*/ 49 h 355"/>
              <a:gd name="T36" fmla="*/ 148 w 285"/>
              <a:gd name="T37" fmla="*/ 56 h 355"/>
              <a:gd name="T38" fmla="*/ 183 w 285"/>
              <a:gd name="T39" fmla="*/ 64 h 355"/>
              <a:gd name="T40" fmla="*/ 205 w 285"/>
              <a:gd name="T41" fmla="*/ 99 h 355"/>
              <a:gd name="T42" fmla="*/ 195 w 285"/>
              <a:gd name="T43" fmla="*/ 124 h 355"/>
              <a:gd name="T44" fmla="*/ 209 w 285"/>
              <a:gd name="T45" fmla="*/ 158 h 355"/>
              <a:gd name="T46" fmla="*/ 243 w 285"/>
              <a:gd name="T47" fmla="*/ 184 h 355"/>
              <a:gd name="T48" fmla="*/ 256 w 285"/>
              <a:gd name="T49" fmla="*/ 205 h 355"/>
              <a:gd name="T50" fmla="*/ 277 w 285"/>
              <a:gd name="T51" fmla="*/ 214 h 355"/>
              <a:gd name="T52" fmla="*/ 285 w 285"/>
              <a:gd name="T53" fmla="*/ 215 h 355"/>
              <a:gd name="T54" fmla="*/ 271 w 285"/>
              <a:gd name="T55" fmla="*/ 227 h 355"/>
              <a:gd name="T56" fmla="*/ 235 w 285"/>
              <a:gd name="T57" fmla="*/ 227 h 355"/>
              <a:gd name="T58" fmla="*/ 205 w 285"/>
              <a:gd name="T59" fmla="*/ 224 h 355"/>
              <a:gd name="T60" fmla="*/ 191 w 285"/>
              <a:gd name="T61" fmla="*/ 231 h 355"/>
              <a:gd name="T62" fmla="*/ 195 w 285"/>
              <a:gd name="T63" fmla="*/ 269 h 355"/>
              <a:gd name="T64" fmla="*/ 190 w 285"/>
              <a:gd name="T65" fmla="*/ 299 h 355"/>
              <a:gd name="T66" fmla="*/ 159 w 285"/>
              <a:gd name="T67" fmla="*/ 335 h 355"/>
              <a:gd name="T68" fmla="*/ 153 w 285"/>
              <a:gd name="T6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55">
                <a:moveTo>
                  <a:pt x="153" y="355"/>
                </a:moveTo>
                <a:lnTo>
                  <a:pt x="136" y="335"/>
                </a:lnTo>
                <a:lnTo>
                  <a:pt x="133" y="288"/>
                </a:lnTo>
                <a:lnTo>
                  <a:pt x="115" y="254"/>
                </a:lnTo>
                <a:lnTo>
                  <a:pt x="114" y="224"/>
                </a:lnTo>
                <a:lnTo>
                  <a:pt x="119" y="202"/>
                </a:lnTo>
                <a:lnTo>
                  <a:pt x="104" y="171"/>
                </a:lnTo>
                <a:lnTo>
                  <a:pt x="85" y="147"/>
                </a:lnTo>
                <a:lnTo>
                  <a:pt x="77" y="121"/>
                </a:lnTo>
                <a:lnTo>
                  <a:pt x="73" y="104"/>
                </a:lnTo>
                <a:lnTo>
                  <a:pt x="50" y="87"/>
                </a:lnTo>
                <a:lnTo>
                  <a:pt x="38" y="64"/>
                </a:lnTo>
                <a:lnTo>
                  <a:pt x="24" y="39"/>
                </a:lnTo>
                <a:lnTo>
                  <a:pt x="0" y="22"/>
                </a:lnTo>
                <a:lnTo>
                  <a:pt x="38" y="0"/>
                </a:lnTo>
                <a:lnTo>
                  <a:pt x="68" y="5"/>
                </a:lnTo>
                <a:lnTo>
                  <a:pt x="87" y="9"/>
                </a:lnTo>
                <a:lnTo>
                  <a:pt x="136" y="49"/>
                </a:lnTo>
                <a:lnTo>
                  <a:pt x="148" y="56"/>
                </a:lnTo>
                <a:lnTo>
                  <a:pt x="183" y="64"/>
                </a:lnTo>
                <a:lnTo>
                  <a:pt x="205" y="99"/>
                </a:lnTo>
                <a:lnTo>
                  <a:pt x="195" y="124"/>
                </a:lnTo>
                <a:lnTo>
                  <a:pt x="209" y="158"/>
                </a:lnTo>
                <a:lnTo>
                  <a:pt x="243" y="184"/>
                </a:lnTo>
                <a:lnTo>
                  <a:pt x="256" y="205"/>
                </a:lnTo>
                <a:lnTo>
                  <a:pt x="277" y="214"/>
                </a:lnTo>
                <a:lnTo>
                  <a:pt x="285" y="215"/>
                </a:lnTo>
                <a:lnTo>
                  <a:pt x="271" y="227"/>
                </a:lnTo>
                <a:lnTo>
                  <a:pt x="235" y="227"/>
                </a:lnTo>
                <a:lnTo>
                  <a:pt x="205" y="224"/>
                </a:lnTo>
                <a:lnTo>
                  <a:pt x="191" y="231"/>
                </a:lnTo>
                <a:lnTo>
                  <a:pt x="195" y="269"/>
                </a:lnTo>
                <a:lnTo>
                  <a:pt x="190" y="299"/>
                </a:lnTo>
                <a:lnTo>
                  <a:pt x="159" y="335"/>
                </a:lnTo>
                <a:lnTo>
                  <a:pt x="153" y="355"/>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42" name="xx"/>
          <p:cNvGrpSpPr/>
          <p:nvPr/>
        </p:nvGrpSpPr>
        <p:grpSpPr>
          <a:xfrm>
            <a:off x="5729208" y="2794006"/>
            <a:ext cx="272411" cy="405364"/>
            <a:chOff x="2681289" y="3112181"/>
            <a:chExt cx="272411" cy="405364"/>
          </a:xfrm>
          <a:solidFill>
            <a:srgbClr val="FAFAFA"/>
          </a:solidFill>
          <a:effectLst/>
        </p:grpSpPr>
        <p:sp>
          <p:nvSpPr>
            <p:cNvPr id="60" name="Freeform 531"/>
            <p:cNvSpPr>
              <a:spLocks noChangeAspect="1"/>
            </p:cNvSpPr>
            <p:nvPr/>
          </p:nvSpPr>
          <p:spPr bwMode="auto">
            <a:xfrm>
              <a:off x="2681289" y="3211098"/>
              <a:ext cx="272411" cy="306447"/>
            </a:xfrm>
            <a:custGeom>
              <a:avLst/>
              <a:gdLst>
                <a:gd name="T0" fmla="*/ 14 w 183"/>
                <a:gd name="T1" fmla="*/ 216 h 253"/>
                <a:gd name="T2" fmla="*/ 24 w 183"/>
                <a:gd name="T3" fmla="*/ 234 h 253"/>
                <a:gd name="T4" fmla="*/ 44 w 183"/>
                <a:gd name="T5" fmla="*/ 234 h 253"/>
                <a:gd name="T6" fmla="*/ 63 w 183"/>
                <a:gd name="T7" fmla="*/ 240 h 253"/>
                <a:gd name="T8" fmla="*/ 77 w 183"/>
                <a:gd name="T9" fmla="*/ 253 h 253"/>
                <a:gd name="T10" fmla="*/ 92 w 183"/>
                <a:gd name="T11" fmla="*/ 253 h 253"/>
                <a:gd name="T12" fmla="*/ 82 w 183"/>
                <a:gd name="T13" fmla="*/ 237 h 253"/>
                <a:gd name="T14" fmla="*/ 90 w 183"/>
                <a:gd name="T15" fmla="*/ 216 h 253"/>
                <a:gd name="T16" fmla="*/ 98 w 183"/>
                <a:gd name="T17" fmla="*/ 192 h 253"/>
                <a:gd name="T18" fmla="*/ 103 w 183"/>
                <a:gd name="T19" fmla="*/ 166 h 253"/>
                <a:gd name="T20" fmla="*/ 125 w 183"/>
                <a:gd name="T21" fmla="*/ 150 h 253"/>
                <a:gd name="T22" fmla="*/ 143 w 183"/>
                <a:gd name="T23" fmla="*/ 139 h 253"/>
                <a:gd name="T24" fmla="*/ 141 w 183"/>
                <a:gd name="T25" fmla="*/ 123 h 253"/>
                <a:gd name="T26" fmla="*/ 141 w 183"/>
                <a:gd name="T27" fmla="*/ 98 h 253"/>
                <a:gd name="T28" fmla="*/ 145 w 183"/>
                <a:gd name="T29" fmla="*/ 86 h 253"/>
                <a:gd name="T30" fmla="*/ 162 w 183"/>
                <a:gd name="T31" fmla="*/ 83 h 253"/>
                <a:gd name="T32" fmla="*/ 169 w 183"/>
                <a:gd name="T33" fmla="*/ 89 h 253"/>
                <a:gd name="T34" fmla="*/ 183 w 183"/>
                <a:gd name="T35" fmla="*/ 71 h 253"/>
                <a:gd name="T36" fmla="*/ 178 w 183"/>
                <a:gd name="T37" fmla="*/ 55 h 253"/>
                <a:gd name="T38" fmla="*/ 169 w 183"/>
                <a:gd name="T39" fmla="*/ 52 h 253"/>
                <a:gd name="T40" fmla="*/ 153 w 183"/>
                <a:gd name="T41" fmla="*/ 52 h 253"/>
                <a:gd name="T42" fmla="*/ 145 w 183"/>
                <a:gd name="T43" fmla="*/ 52 h 253"/>
                <a:gd name="T44" fmla="*/ 141 w 183"/>
                <a:gd name="T45" fmla="*/ 28 h 253"/>
                <a:gd name="T46" fmla="*/ 143 w 183"/>
                <a:gd name="T47" fmla="*/ 5 h 253"/>
                <a:gd name="T48" fmla="*/ 131 w 183"/>
                <a:gd name="T49" fmla="*/ 0 h 253"/>
                <a:gd name="T50" fmla="*/ 126 w 183"/>
                <a:gd name="T51" fmla="*/ 8 h 253"/>
                <a:gd name="T52" fmla="*/ 98 w 183"/>
                <a:gd name="T53" fmla="*/ 2 h 253"/>
                <a:gd name="T54" fmla="*/ 92 w 183"/>
                <a:gd name="T55" fmla="*/ 9 h 253"/>
                <a:gd name="T56" fmla="*/ 98 w 183"/>
                <a:gd name="T57" fmla="*/ 31 h 253"/>
                <a:gd name="T58" fmla="*/ 96 w 183"/>
                <a:gd name="T59" fmla="*/ 52 h 253"/>
                <a:gd name="T60" fmla="*/ 84 w 183"/>
                <a:gd name="T61" fmla="*/ 37 h 253"/>
                <a:gd name="T62" fmla="*/ 79 w 183"/>
                <a:gd name="T63" fmla="*/ 24 h 253"/>
                <a:gd name="T64" fmla="*/ 63 w 183"/>
                <a:gd name="T65" fmla="*/ 27 h 253"/>
                <a:gd name="T66" fmla="*/ 57 w 183"/>
                <a:gd name="T67" fmla="*/ 39 h 253"/>
                <a:gd name="T68" fmla="*/ 52 w 183"/>
                <a:gd name="T69" fmla="*/ 45 h 253"/>
                <a:gd name="T70" fmla="*/ 52 w 183"/>
                <a:gd name="T71" fmla="*/ 64 h 253"/>
                <a:gd name="T72" fmla="*/ 49 w 183"/>
                <a:gd name="T73" fmla="*/ 61 h 253"/>
                <a:gd name="T74" fmla="*/ 35 w 183"/>
                <a:gd name="T75" fmla="*/ 37 h 253"/>
                <a:gd name="T76" fmla="*/ 27 w 183"/>
                <a:gd name="T77" fmla="*/ 28 h 253"/>
                <a:gd name="T78" fmla="*/ 19 w 183"/>
                <a:gd name="T79" fmla="*/ 34 h 253"/>
                <a:gd name="T80" fmla="*/ 21 w 183"/>
                <a:gd name="T81" fmla="*/ 46 h 253"/>
                <a:gd name="T82" fmla="*/ 21 w 183"/>
                <a:gd name="T83" fmla="*/ 55 h 253"/>
                <a:gd name="T84" fmla="*/ 8 w 183"/>
                <a:gd name="T85" fmla="*/ 61 h 253"/>
                <a:gd name="T86" fmla="*/ 8 w 183"/>
                <a:gd name="T87" fmla="*/ 79 h 253"/>
                <a:gd name="T88" fmla="*/ 19 w 183"/>
                <a:gd name="T89" fmla="*/ 98 h 253"/>
                <a:gd name="T90" fmla="*/ 19 w 183"/>
                <a:gd name="T91" fmla="*/ 110 h 253"/>
                <a:gd name="T92" fmla="*/ 14 w 183"/>
                <a:gd name="T93" fmla="*/ 123 h 253"/>
                <a:gd name="T94" fmla="*/ 0 w 183"/>
                <a:gd name="T95" fmla="*/ 136 h 253"/>
                <a:gd name="T96" fmla="*/ 2 w 183"/>
                <a:gd name="T97" fmla="*/ 150 h 253"/>
                <a:gd name="T98" fmla="*/ 16 w 183"/>
                <a:gd name="T99" fmla="*/ 163 h 253"/>
                <a:gd name="T100" fmla="*/ 21 w 183"/>
                <a:gd name="T101" fmla="*/ 176 h 253"/>
                <a:gd name="T102" fmla="*/ 19 w 183"/>
                <a:gd name="T103" fmla="*/ 200 h 253"/>
                <a:gd name="T104" fmla="*/ 14 w 183"/>
                <a:gd name="T105"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253">
                  <a:moveTo>
                    <a:pt x="14" y="216"/>
                  </a:moveTo>
                  <a:lnTo>
                    <a:pt x="24" y="234"/>
                  </a:lnTo>
                  <a:lnTo>
                    <a:pt x="44" y="234"/>
                  </a:lnTo>
                  <a:lnTo>
                    <a:pt x="63" y="240"/>
                  </a:lnTo>
                  <a:lnTo>
                    <a:pt x="77" y="253"/>
                  </a:lnTo>
                  <a:lnTo>
                    <a:pt x="92" y="253"/>
                  </a:lnTo>
                  <a:lnTo>
                    <a:pt x="82" y="237"/>
                  </a:lnTo>
                  <a:lnTo>
                    <a:pt x="90" y="216"/>
                  </a:lnTo>
                  <a:lnTo>
                    <a:pt x="98" y="192"/>
                  </a:lnTo>
                  <a:lnTo>
                    <a:pt x="103" y="166"/>
                  </a:lnTo>
                  <a:lnTo>
                    <a:pt x="125" y="150"/>
                  </a:lnTo>
                  <a:lnTo>
                    <a:pt x="143" y="139"/>
                  </a:lnTo>
                  <a:lnTo>
                    <a:pt x="141" y="123"/>
                  </a:lnTo>
                  <a:lnTo>
                    <a:pt x="141" y="98"/>
                  </a:lnTo>
                  <a:lnTo>
                    <a:pt x="145" y="86"/>
                  </a:lnTo>
                  <a:lnTo>
                    <a:pt x="162" y="83"/>
                  </a:lnTo>
                  <a:lnTo>
                    <a:pt x="169" y="89"/>
                  </a:lnTo>
                  <a:lnTo>
                    <a:pt x="183" y="71"/>
                  </a:lnTo>
                  <a:lnTo>
                    <a:pt x="178" y="55"/>
                  </a:lnTo>
                  <a:lnTo>
                    <a:pt x="169" y="52"/>
                  </a:lnTo>
                  <a:lnTo>
                    <a:pt x="153" y="52"/>
                  </a:lnTo>
                  <a:lnTo>
                    <a:pt x="145" y="52"/>
                  </a:lnTo>
                  <a:lnTo>
                    <a:pt x="141" y="28"/>
                  </a:lnTo>
                  <a:lnTo>
                    <a:pt x="143" y="5"/>
                  </a:lnTo>
                  <a:lnTo>
                    <a:pt x="131" y="0"/>
                  </a:lnTo>
                  <a:lnTo>
                    <a:pt x="126" y="8"/>
                  </a:lnTo>
                  <a:lnTo>
                    <a:pt x="98" y="2"/>
                  </a:lnTo>
                  <a:lnTo>
                    <a:pt x="92" y="9"/>
                  </a:lnTo>
                  <a:lnTo>
                    <a:pt x="98" y="31"/>
                  </a:lnTo>
                  <a:lnTo>
                    <a:pt x="96" y="52"/>
                  </a:lnTo>
                  <a:lnTo>
                    <a:pt x="84" y="37"/>
                  </a:lnTo>
                  <a:lnTo>
                    <a:pt x="79" y="24"/>
                  </a:lnTo>
                  <a:lnTo>
                    <a:pt x="63" y="27"/>
                  </a:lnTo>
                  <a:lnTo>
                    <a:pt x="57" y="39"/>
                  </a:lnTo>
                  <a:lnTo>
                    <a:pt x="52" y="45"/>
                  </a:lnTo>
                  <a:lnTo>
                    <a:pt x="52" y="64"/>
                  </a:lnTo>
                  <a:lnTo>
                    <a:pt x="49" y="61"/>
                  </a:lnTo>
                  <a:lnTo>
                    <a:pt x="35" y="37"/>
                  </a:lnTo>
                  <a:lnTo>
                    <a:pt x="27" y="28"/>
                  </a:lnTo>
                  <a:lnTo>
                    <a:pt x="19" y="34"/>
                  </a:lnTo>
                  <a:lnTo>
                    <a:pt x="21" y="46"/>
                  </a:lnTo>
                  <a:lnTo>
                    <a:pt x="21" y="55"/>
                  </a:lnTo>
                  <a:lnTo>
                    <a:pt x="8" y="61"/>
                  </a:lnTo>
                  <a:lnTo>
                    <a:pt x="8" y="79"/>
                  </a:lnTo>
                  <a:lnTo>
                    <a:pt x="19" y="98"/>
                  </a:lnTo>
                  <a:lnTo>
                    <a:pt x="19" y="110"/>
                  </a:lnTo>
                  <a:lnTo>
                    <a:pt x="14" y="123"/>
                  </a:lnTo>
                  <a:lnTo>
                    <a:pt x="0" y="136"/>
                  </a:lnTo>
                  <a:lnTo>
                    <a:pt x="2" y="150"/>
                  </a:lnTo>
                  <a:lnTo>
                    <a:pt x="16" y="163"/>
                  </a:lnTo>
                  <a:lnTo>
                    <a:pt x="21" y="176"/>
                  </a:lnTo>
                  <a:lnTo>
                    <a:pt x="19" y="200"/>
                  </a:lnTo>
                  <a:lnTo>
                    <a:pt x="14" y="2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1" name="Freeform 532"/>
            <p:cNvSpPr>
              <a:spLocks noChangeAspect="1"/>
            </p:cNvSpPr>
            <p:nvPr/>
          </p:nvSpPr>
          <p:spPr bwMode="auto">
            <a:xfrm>
              <a:off x="2705261" y="3112181"/>
              <a:ext cx="202674" cy="118312"/>
            </a:xfrm>
            <a:custGeom>
              <a:avLst/>
              <a:gdLst>
                <a:gd name="T0" fmla="*/ 0 w 138"/>
                <a:gd name="T1" fmla="*/ 94 h 97"/>
                <a:gd name="T2" fmla="*/ 11 w 138"/>
                <a:gd name="T3" fmla="*/ 97 h 97"/>
                <a:gd name="T4" fmla="*/ 25 w 138"/>
                <a:gd name="T5" fmla="*/ 86 h 97"/>
                <a:gd name="T6" fmla="*/ 39 w 138"/>
                <a:gd name="T7" fmla="*/ 67 h 97"/>
                <a:gd name="T8" fmla="*/ 77 w 138"/>
                <a:gd name="T9" fmla="*/ 67 h 97"/>
                <a:gd name="T10" fmla="*/ 110 w 138"/>
                <a:gd name="T11" fmla="*/ 60 h 97"/>
                <a:gd name="T12" fmla="*/ 129 w 138"/>
                <a:gd name="T13" fmla="*/ 43 h 97"/>
                <a:gd name="T14" fmla="*/ 135 w 138"/>
                <a:gd name="T15" fmla="*/ 22 h 97"/>
                <a:gd name="T16" fmla="*/ 138 w 138"/>
                <a:gd name="T17" fmla="*/ 0 h 97"/>
                <a:gd name="T18" fmla="*/ 112 w 138"/>
                <a:gd name="T19" fmla="*/ 13 h 97"/>
                <a:gd name="T20" fmla="*/ 65 w 138"/>
                <a:gd name="T21" fmla="*/ 37 h 97"/>
                <a:gd name="T22" fmla="*/ 53 w 138"/>
                <a:gd name="T23" fmla="*/ 40 h 97"/>
                <a:gd name="T24" fmla="*/ 39 w 138"/>
                <a:gd name="T25" fmla="*/ 52 h 97"/>
                <a:gd name="T26" fmla="*/ 11 w 138"/>
                <a:gd name="T27" fmla="*/ 57 h 97"/>
                <a:gd name="T28" fmla="*/ 0 w 138"/>
                <a:gd name="T29" fmla="*/ 64 h 97"/>
                <a:gd name="T30" fmla="*/ 0 w 138"/>
                <a:gd name="T3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97">
                  <a:moveTo>
                    <a:pt x="0" y="94"/>
                  </a:moveTo>
                  <a:lnTo>
                    <a:pt x="11" y="97"/>
                  </a:lnTo>
                  <a:lnTo>
                    <a:pt x="25" y="86"/>
                  </a:lnTo>
                  <a:lnTo>
                    <a:pt x="39" y="67"/>
                  </a:lnTo>
                  <a:lnTo>
                    <a:pt x="77" y="67"/>
                  </a:lnTo>
                  <a:lnTo>
                    <a:pt x="110" y="60"/>
                  </a:lnTo>
                  <a:lnTo>
                    <a:pt x="129" y="43"/>
                  </a:lnTo>
                  <a:lnTo>
                    <a:pt x="135" y="22"/>
                  </a:lnTo>
                  <a:lnTo>
                    <a:pt x="138" y="0"/>
                  </a:lnTo>
                  <a:lnTo>
                    <a:pt x="112" y="13"/>
                  </a:lnTo>
                  <a:lnTo>
                    <a:pt x="65" y="37"/>
                  </a:lnTo>
                  <a:lnTo>
                    <a:pt x="53" y="40"/>
                  </a:lnTo>
                  <a:lnTo>
                    <a:pt x="39" y="52"/>
                  </a:lnTo>
                  <a:lnTo>
                    <a:pt x="11" y="57"/>
                  </a:lnTo>
                  <a:lnTo>
                    <a:pt x="0" y="64"/>
                  </a:lnTo>
                  <a:lnTo>
                    <a:pt x="0" y="9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43" name="DD"/>
          <p:cNvGrpSpPr/>
          <p:nvPr/>
        </p:nvGrpSpPr>
        <p:grpSpPr>
          <a:xfrm>
            <a:off x="5882872" y="3020383"/>
            <a:ext cx="224686" cy="228283"/>
            <a:chOff x="2834953" y="3338558"/>
            <a:chExt cx="224686" cy="228283"/>
          </a:xfrm>
          <a:solidFill>
            <a:srgbClr val="FAFAFA"/>
          </a:solidFill>
          <a:effectLst/>
        </p:grpSpPr>
        <p:sp>
          <p:nvSpPr>
            <p:cNvPr id="57" name="Freeform 528"/>
            <p:cNvSpPr>
              <a:spLocks noChangeAspect="1"/>
            </p:cNvSpPr>
            <p:nvPr/>
          </p:nvSpPr>
          <p:spPr bwMode="auto">
            <a:xfrm>
              <a:off x="2834953" y="3388403"/>
              <a:ext cx="89351" cy="96977"/>
            </a:xfrm>
            <a:custGeom>
              <a:avLst/>
              <a:gdLst>
                <a:gd name="T0" fmla="*/ 19 w 59"/>
                <a:gd name="T1" fmla="*/ 0 h 80"/>
                <a:gd name="T2" fmla="*/ 57 w 59"/>
                <a:gd name="T3" fmla="*/ 27 h 80"/>
                <a:gd name="T4" fmla="*/ 59 w 59"/>
                <a:gd name="T5" fmla="*/ 40 h 80"/>
                <a:gd name="T6" fmla="*/ 45 w 59"/>
                <a:gd name="T7" fmla="*/ 55 h 80"/>
                <a:gd name="T8" fmla="*/ 32 w 59"/>
                <a:gd name="T9" fmla="*/ 67 h 80"/>
                <a:gd name="T10" fmla="*/ 35 w 59"/>
                <a:gd name="T11" fmla="*/ 80 h 80"/>
                <a:gd name="T12" fmla="*/ 19 w 59"/>
                <a:gd name="T13" fmla="*/ 77 h 80"/>
                <a:gd name="T14" fmla="*/ 2 w 59"/>
                <a:gd name="T15" fmla="*/ 55 h 80"/>
                <a:gd name="T16" fmla="*/ 0 w 59"/>
                <a:gd name="T17" fmla="*/ 40 h 80"/>
                <a:gd name="T18" fmla="*/ 7 w 59"/>
                <a:gd name="T19" fmla="*/ 23 h 80"/>
                <a:gd name="T20" fmla="*/ 19 w 59"/>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19" y="0"/>
                  </a:moveTo>
                  <a:lnTo>
                    <a:pt x="57" y="27"/>
                  </a:lnTo>
                  <a:lnTo>
                    <a:pt x="59" y="40"/>
                  </a:lnTo>
                  <a:lnTo>
                    <a:pt x="45" y="55"/>
                  </a:lnTo>
                  <a:lnTo>
                    <a:pt x="32" y="67"/>
                  </a:lnTo>
                  <a:lnTo>
                    <a:pt x="35" y="80"/>
                  </a:lnTo>
                  <a:lnTo>
                    <a:pt x="19" y="77"/>
                  </a:lnTo>
                  <a:lnTo>
                    <a:pt x="2" y="55"/>
                  </a:lnTo>
                  <a:lnTo>
                    <a:pt x="0" y="40"/>
                  </a:lnTo>
                  <a:lnTo>
                    <a:pt x="7" y="23"/>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8" name="Freeform 529"/>
            <p:cNvSpPr>
              <a:spLocks noChangeAspect="1"/>
            </p:cNvSpPr>
            <p:nvPr/>
          </p:nvSpPr>
          <p:spPr bwMode="auto">
            <a:xfrm>
              <a:off x="2885728" y="3338558"/>
              <a:ext cx="173911" cy="198220"/>
            </a:xfrm>
            <a:custGeom>
              <a:avLst/>
              <a:gdLst>
                <a:gd name="T0" fmla="*/ 83 w 88"/>
                <a:gd name="T1" fmla="*/ 0 h 117"/>
                <a:gd name="T2" fmla="*/ 88 w 88"/>
                <a:gd name="T3" fmla="*/ 6 h 117"/>
                <a:gd name="T4" fmla="*/ 83 w 88"/>
                <a:gd name="T5" fmla="*/ 13 h 117"/>
                <a:gd name="T6" fmla="*/ 88 w 88"/>
                <a:gd name="T7" fmla="*/ 26 h 117"/>
                <a:gd name="T8" fmla="*/ 81 w 88"/>
                <a:gd name="T9" fmla="*/ 41 h 117"/>
                <a:gd name="T10" fmla="*/ 69 w 88"/>
                <a:gd name="T11" fmla="*/ 51 h 117"/>
                <a:gd name="T12" fmla="*/ 74 w 88"/>
                <a:gd name="T13" fmla="*/ 64 h 117"/>
                <a:gd name="T14" fmla="*/ 69 w 88"/>
                <a:gd name="T15" fmla="*/ 75 h 117"/>
                <a:gd name="T16" fmla="*/ 74 w 88"/>
                <a:gd name="T17" fmla="*/ 88 h 117"/>
                <a:gd name="T18" fmla="*/ 57 w 88"/>
                <a:gd name="T19" fmla="*/ 117 h 117"/>
                <a:gd name="T20" fmla="*/ 20 w 88"/>
                <a:gd name="T21" fmla="*/ 88 h 117"/>
                <a:gd name="T22" fmla="*/ 0 w 88"/>
                <a:gd name="T23" fmla="*/ 73 h 117"/>
                <a:gd name="T24" fmla="*/ 12 w 88"/>
                <a:gd name="T25" fmla="*/ 64 h 117"/>
                <a:gd name="T26" fmla="*/ 12 w 88"/>
                <a:gd name="T27" fmla="*/ 46 h 117"/>
                <a:gd name="T28" fmla="*/ 34 w 88"/>
                <a:gd name="T29" fmla="*/ 31 h 117"/>
                <a:gd name="T30" fmla="*/ 46 w 88"/>
                <a:gd name="T31" fmla="*/ 37 h 117"/>
                <a:gd name="T32" fmla="*/ 57 w 88"/>
                <a:gd name="T33" fmla="*/ 31 h 117"/>
                <a:gd name="T34" fmla="*/ 76 w 88"/>
                <a:gd name="T35" fmla="*/ 16 h 117"/>
                <a:gd name="T36" fmla="*/ 83 w 88"/>
                <a:gd name="T3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17">
                  <a:moveTo>
                    <a:pt x="83" y="0"/>
                  </a:moveTo>
                  <a:lnTo>
                    <a:pt x="88" y="6"/>
                  </a:lnTo>
                  <a:lnTo>
                    <a:pt x="83" y="13"/>
                  </a:lnTo>
                  <a:lnTo>
                    <a:pt x="88" y="26"/>
                  </a:lnTo>
                  <a:lnTo>
                    <a:pt x="81" y="41"/>
                  </a:lnTo>
                  <a:lnTo>
                    <a:pt x="69" y="51"/>
                  </a:lnTo>
                  <a:lnTo>
                    <a:pt x="74" y="64"/>
                  </a:lnTo>
                  <a:lnTo>
                    <a:pt x="69" y="75"/>
                  </a:lnTo>
                  <a:lnTo>
                    <a:pt x="74" y="88"/>
                  </a:lnTo>
                  <a:lnTo>
                    <a:pt x="57" y="117"/>
                  </a:lnTo>
                  <a:lnTo>
                    <a:pt x="20" y="88"/>
                  </a:lnTo>
                  <a:lnTo>
                    <a:pt x="0" y="73"/>
                  </a:lnTo>
                  <a:lnTo>
                    <a:pt x="12" y="64"/>
                  </a:lnTo>
                  <a:lnTo>
                    <a:pt x="12" y="46"/>
                  </a:lnTo>
                  <a:lnTo>
                    <a:pt x="34" y="31"/>
                  </a:lnTo>
                  <a:lnTo>
                    <a:pt x="46" y="37"/>
                  </a:lnTo>
                  <a:lnTo>
                    <a:pt x="57" y="31"/>
                  </a:lnTo>
                  <a:lnTo>
                    <a:pt x="76" y="16"/>
                  </a:lnTo>
                  <a:lnTo>
                    <a:pt x="8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9" name="Freeform 530"/>
            <p:cNvSpPr>
              <a:spLocks noChangeAspect="1"/>
            </p:cNvSpPr>
            <p:nvPr/>
          </p:nvSpPr>
          <p:spPr bwMode="auto">
            <a:xfrm>
              <a:off x="2924304" y="3506715"/>
              <a:ext cx="52303" cy="60126"/>
            </a:xfrm>
            <a:custGeom>
              <a:avLst/>
              <a:gdLst>
                <a:gd name="T0" fmla="*/ 0 w 35"/>
                <a:gd name="T1" fmla="*/ 0 h 50"/>
                <a:gd name="T2" fmla="*/ 24 w 35"/>
                <a:gd name="T3" fmla="*/ 9 h 50"/>
                <a:gd name="T4" fmla="*/ 33 w 35"/>
                <a:gd name="T5" fmla="*/ 21 h 50"/>
                <a:gd name="T6" fmla="*/ 35 w 35"/>
                <a:gd name="T7" fmla="*/ 40 h 50"/>
                <a:gd name="T8" fmla="*/ 24 w 35"/>
                <a:gd name="T9" fmla="*/ 50 h 50"/>
                <a:gd name="T10" fmla="*/ 6 w 35"/>
                <a:gd name="T11" fmla="*/ 41 h 50"/>
                <a:gd name="T12" fmla="*/ 2 w 35"/>
                <a:gd name="T13" fmla="*/ 28 h 50"/>
                <a:gd name="T14" fmla="*/ 0 w 35"/>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0">
                  <a:moveTo>
                    <a:pt x="0" y="0"/>
                  </a:moveTo>
                  <a:lnTo>
                    <a:pt x="24" y="9"/>
                  </a:lnTo>
                  <a:lnTo>
                    <a:pt x="33" y="21"/>
                  </a:lnTo>
                  <a:lnTo>
                    <a:pt x="35" y="40"/>
                  </a:lnTo>
                  <a:lnTo>
                    <a:pt x="24" y="50"/>
                  </a:lnTo>
                  <a:lnTo>
                    <a:pt x="6" y="41"/>
                  </a:lnTo>
                  <a:lnTo>
                    <a:pt x="2" y="28"/>
                  </a:lnTo>
                  <a:lnTo>
                    <a:pt x="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44" name="IS"/>
          <p:cNvSpPr>
            <a:spLocks/>
          </p:cNvSpPr>
          <p:nvPr/>
        </p:nvSpPr>
        <p:spPr bwMode="auto">
          <a:xfrm>
            <a:off x="3940175" y="1368425"/>
            <a:ext cx="536575" cy="450850"/>
          </a:xfrm>
          <a:custGeom>
            <a:avLst/>
            <a:gdLst>
              <a:gd name="T0" fmla="*/ 101 w 590"/>
              <a:gd name="T1" fmla="*/ 320 h 424"/>
              <a:gd name="T2" fmla="*/ 135 w 590"/>
              <a:gd name="T3" fmla="*/ 384 h 424"/>
              <a:gd name="T4" fmla="*/ 202 w 590"/>
              <a:gd name="T5" fmla="*/ 424 h 424"/>
              <a:gd name="T6" fmla="*/ 253 w 590"/>
              <a:gd name="T7" fmla="*/ 424 h 424"/>
              <a:gd name="T8" fmla="*/ 287 w 590"/>
              <a:gd name="T9" fmla="*/ 416 h 424"/>
              <a:gd name="T10" fmla="*/ 346 w 590"/>
              <a:gd name="T11" fmla="*/ 424 h 424"/>
              <a:gd name="T12" fmla="*/ 430 w 590"/>
              <a:gd name="T13" fmla="*/ 392 h 424"/>
              <a:gd name="T14" fmla="*/ 463 w 590"/>
              <a:gd name="T15" fmla="*/ 400 h 424"/>
              <a:gd name="T16" fmla="*/ 506 w 590"/>
              <a:gd name="T17" fmla="*/ 376 h 424"/>
              <a:gd name="T18" fmla="*/ 556 w 590"/>
              <a:gd name="T19" fmla="*/ 352 h 424"/>
              <a:gd name="T20" fmla="*/ 590 w 590"/>
              <a:gd name="T21" fmla="*/ 272 h 424"/>
              <a:gd name="T22" fmla="*/ 565 w 590"/>
              <a:gd name="T23" fmla="*/ 256 h 424"/>
              <a:gd name="T24" fmla="*/ 556 w 590"/>
              <a:gd name="T25" fmla="*/ 224 h 424"/>
              <a:gd name="T26" fmla="*/ 565 w 590"/>
              <a:gd name="T27" fmla="*/ 192 h 424"/>
              <a:gd name="T28" fmla="*/ 573 w 590"/>
              <a:gd name="T29" fmla="*/ 160 h 424"/>
              <a:gd name="T30" fmla="*/ 531 w 590"/>
              <a:gd name="T31" fmla="*/ 160 h 424"/>
              <a:gd name="T32" fmla="*/ 506 w 590"/>
              <a:gd name="T33" fmla="*/ 120 h 424"/>
              <a:gd name="T34" fmla="*/ 480 w 590"/>
              <a:gd name="T35" fmla="*/ 144 h 424"/>
              <a:gd name="T36" fmla="*/ 472 w 590"/>
              <a:gd name="T37" fmla="*/ 160 h 424"/>
              <a:gd name="T38" fmla="*/ 447 w 590"/>
              <a:gd name="T39" fmla="*/ 152 h 424"/>
              <a:gd name="T40" fmla="*/ 413 w 590"/>
              <a:gd name="T41" fmla="*/ 160 h 424"/>
              <a:gd name="T42" fmla="*/ 405 w 590"/>
              <a:gd name="T43" fmla="*/ 128 h 424"/>
              <a:gd name="T44" fmla="*/ 379 w 590"/>
              <a:gd name="T45" fmla="*/ 128 h 424"/>
              <a:gd name="T46" fmla="*/ 371 w 590"/>
              <a:gd name="T47" fmla="*/ 152 h 424"/>
              <a:gd name="T48" fmla="*/ 354 w 590"/>
              <a:gd name="T49" fmla="*/ 112 h 424"/>
              <a:gd name="T50" fmla="*/ 312 w 590"/>
              <a:gd name="T51" fmla="*/ 120 h 424"/>
              <a:gd name="T52" fmla="*/ 295 w 590"/>
              <a:gd name="T53" fmla="*/ 144 h 424"/>
              <a:gd name="T54" fmla="*/ 278 w 590"/>
              <a:gd name="T55" fmla="*/ 144 h 424"/>
              <a:gd name="T56" fmla="*/ 270 w 590"/>
              <a:gd name="T57" fmla="*/ 88 h 424"/>
              <a:gd name="T58" fmla="*/ 253 w 590"/>
              <a:gd name="T59" fmla="*/ 96 h 424"/>
              <a:gd name="T60" fmla="*/ 244 w 590"/>
              <a:gd name="T61" fmla="*/ 152 h 424"/>
              <a:gd name="T62" fmla="*/ 228 w 590"/>
              <a:gd name="T63" fmla="*/ 152 h 424"/>
              <a:gd name="T64" fmla="*/ 219 w 590"/>
              <a:gd name="T65" fmla="*/ 128 h 424"/>
              <a:gd name="T66" fmla="*/ 177 w 590"/>
              <a:gd name="T67" fmla="*/ 160 h 424"/>
              <a:gd name="T68" fmla="*/ 185 w 590"/>
              <a:gd name="T69" fmla="*/ 112 h 424"/>
              <a:gd name="T70" fmla="*/ 211 w 590"/>
              <a:gd name="T71" fmla="*/ 88 h 424"/>
              <a:gd name="T72" fmla="*/ 185 w 590"/>
              <a:gd name="T73" fmla="*/ 16 h 424"/>
              <a:gd name="T74" fmla="*/ 143 w 590"/>
              <a:gd name="T75" fmla="*/ 0 h 424"/>
              <a:gd name="T76" fmla="*/ 152 w 590"/>
              <a:gd name="T77" fmla="*/ 64 h 424"/>
              <a:gd name="T78" fmla="*/ 118 w 590"/>
              <a:gd name="T79" fmla="*/ 16 h 424"/>
              <a:gd name="T80" fmla="*/ 93 w 590"/>
              <a:gd name="T81" fmla="*/ 32 h 424"/>
              <a:gd name="T82" fmla="*/ 76 w 590"/>
              <a:gd name="T83" fmla="*/ 48 h 424"/>
              <a:gd name="T84" fmla="*/ 93 w 590"/>
              <a:gd name="T85" fmla="*/ 64 h 424"/>
              <a:gd name="T86" fmla="*/ 59 w 590"/>
              <a:gd name="T87" fmla="*/ 48 h 424"/>
              <a:gd name="T88" fmla="*/ 51 w 590"/>
              <a:gd name="T89" fmla="*/ 64 h 424"/>
              <a:gd name="T90" fmla="*/ 25 w 590"/>
              <a:gd name="T91" fmla="*/ 64 h 424"/>
              <a:gd name="T92" fmla="*/ 42 w 590"/>
              <a:gd name="T93" fmla="*/ 88 h 424"/>
              <a:gd name="T94" fmla="*/ 101 w 590"/>
              <a:gd name="T95" fmla="*/ 96 h 424"/>
              <a:gd name="T96" fmla="*/ 143 w 590"/>
              <a:gd name="T97" fmla="*/ 128 h 424"/>
              <a:gd name="T98" fmla="*/ 110 w 590"/>
              <a:gd name="T99" fmla="*/ 144 h 424"/>
              <a:gd name="T100" fmla="*/ 126 w 590"/>
              <a:gd name="T101" fmla="*/ 160 h 424"/>
              <a:gd name="T102" fmla="*/ 143 w 590"/>
              <a:gd name="T103" fmla="*/ 176 h 424"/>
              <a:gd name="T104" fmla="*/ 126 w 590"/>
              <a:gd name="T105" fmla="*/ 184 h 424"/>
              <a:gd name="T106" fmla="*/ 8 w 590"/>
              <a:gd name="T107" fmla="*/ 144 h 424"/>
              <a:gd name="T108" fmla="*/ 0 w 590"/>
              <a:gd name="T109" fmla="*/ 168 h 424"/>
              <a:gd name="T110" fmla="*/ 93 w 590"/>
              <a:gd name="T111" fmla="*/ 192 h 424"/>
              <a:gd name="T112" fmla="*/ 84 w 590"/>
              <a:gd name="T113" fmla="*/ 216 h 424"/>
              <a:gd name="T114" fmla="*/ 84 w 590"/>
              <a:gd name="T115" fmla="*/ 256 h 424"/>
              <a:gd name="T116" fmla="*/ 67 w 590"/>
              <a:gd name="T117" fmla="*/ 280 h 424"/>
              <a:gd name="T118" fmla="*/ 34 w 590"/>
              <a:gd name="T119" fmla="*/ 280 h 424"/>
              <a:gd name="T120" fmla="*/ 17 w 590"/>
              <a:gd name="T121" fmla="*/ 296 h 424"/>
              <a:gd name="T122" fmla="*/ 101 w 590"/>
              <a:gd name="T123" fmla="*/ 3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5" name="ME"/>
          <p:cNvSpPr/>
          <p:nvPr/>
        </p:nvSpPr>
        <p:spPr>
          <a:xfrm>
            <a:off x="6616700" y="4986338"/>
            <a:ext cx="225425" cy="228600"/>
          </a:xfrm>
          <a:custGeom>
            <a:avLst/>
            <a:gdLst>
              <a:gd name="connsiteX0" fmla="*/ 7144 w 116681"/>
              <a:gd name="connsiteY0" fmla="*/ 138113 h 185738"/>
              <a:gd name="connsiteX1" fmla="*/ 92869 w 116681"/>
              <a:gd name="connsiteY1" fmla="*/ 185738 h 185738"/>
              <a:gd name="connsiteX2" fmla="*/ 116681 w 116681"/>
              <a:gd name="connsiteY2" fmla="*/ 111919 h 185738"/>
              <a:gd name="connsiteX3" fmla="*/ 97631 w 116681"/>
              <a:gd name="connsiteY3" fmla="*/ 0 h 185738"/>
              <a:gd name="connsiteX4" fmla="*/ 47625 w 116681"/>
              <a:gd name="connsiteY4" fmla="*/ 16669 h 185738"/>
              <a:gd name="connsiteX5" fmla="*/ 57150 w 116681"/>
              <a:gd name="connsiteY5" fmla="*/ 45244 h 185738"/>
              <a:gd name="connsiteX6" fmla="*/ 30956 w 116681"/>
              <a:gd name="connsiteY6" fmla="*/ 42863 h 185738"/>
              <a:gd name="connsiteX7" fmla="*/ 23813 w 116681"/>
              <a:gd name="connsiteY7" fmla="*/ 73819 h 185738"/>
              <a:gd name="connsiteX8" fmla="*/ 0 w 116681"/>
              <a:gd name="connsiteY8" fmla="*/ 85725 h 185738"/>
              <a:gd name="connsiteX9" fmla="*/ 7144 w 116681"/>
              <a:gd name="connsiteY9" fmla="*/ 138113 h 185738"/>
              <a:gd name="connsiteX0" fmla="*/ 7144 w 161952"/>
              <a:gd name="connsiteY0" fmla="*/ 121444 h 169069"/>
              <a:gd name="connsiteX1" fmla="*/ 92869 w 161952"/>
              <a:gd name="connsiteY1" fmla="*/ 169069 h 169069"/>
              <a:gd name="connsiteX2" fmla="*/ 116681 w 161952"/>
              <a:gd name="connsiteY2" fmla="*/ 95250 h 169069"/>
              <a:gd name="connsiteX3" fmla="*/ 161952 w 161952"/>
              <a:gd name="connsiteY3" fmla="*/ 54183 h 169069"/>
              <a:gd name="connsiteX4" fmla="*/ 47625 w 161952"/>
              <a:gd name="connsiteY4" fmla="*/ 0 h 169069"/>
              <a:gd name="connsiteX5" fmla="*/ 57150 w 161952"/>
              <a:gd name="connsiteY5" fmla="*/ 28575 h 169069"/>
              <a:gd name="connsiteX6" fmla="*/ 30956 w 161952"/>
              <a:gd name="connsiteY6" fmla="*/ 26194 h 169069"/>
              <a:gd name="connsiteX7" fmla="*/ 23813 w 161952"/>
              <a:gd name="connsiteY7" fmla="*/ 57150 h 169069"/>
              <a:gd name="connsiteX8" fmla="*/ 0 w 161952"/>
              <a:gd name="connsiteY8" fmla="*/ 69056 h 169069"/>
              <a:gd name="connsiteX9" fmla="*/ 7144 w 161952"/>
              <a:gd name="connsiteY9" fmla="*/ 121444 h 169069"/>
              <a:gd name="connsiteX0" fmla="*/ 7144 w 161952"/>
              <a:gd name="connsiteY0" fmla="*/ 134728 h 182353"/>
              <a:gd name="connsiteX1" fmla="*/ 92869 w 161952"/>
              <a:gd name="connsiteY1" fmla="*/ 182353 h 182353"/>
              <a:gd name="connsiteX2" fmla="*/ 116681 w 161952"/>
              <a:gd name="connsiteY2" fmla="*/ 108534 h 182353"/>
              <a:gd name="connsiteX3" fmla="*/ 161952 w 161952"/>
              <a:gd name="connsiteY3" fmla="*/ 67467 h 182353"/>
              <a:gd name="connsiteX4" fmla="*/ 104800 w 161952"/>
              <a:gd name="connsiteY4" fmla="*/ 0 h 182353"/>
              <a:gd name="connsiteX5" fmla="*/ 57150 w 161952"/>
              <a:gd name="connsiteY5" fmla="*/ 41859 h 182353"/>
              <a:gd name="connsiteX6" fmla="*/ 30956 w 161952"/>
              <a:gd name="connsiteY6" fmla="*/ 39478 h 182353"/>
              <a:gd name="connsiteX7" fmla="*/ 23813 w 161952"/>
              <a:gd name="connsiteY7" fmla="*/ 70434 h 182353"/>
              <a:gd name="connsiteX8" fmla="*/ 0 w 161952"/>
              <a:gd name="connsiteY8" fmla="*/ 82340 h 182353"/>
              <a:gd name="connsiteX9" fmla="*/ 7144 w 161952"/>
              <a:gd name="connsiteY9" fmla="*/ 134728 h 182353"/>
              <a:gd name="connsiteX0" fmla="*/ 7144 w 161952"/>
              <a:gd name="connsiteY0" fmla="*/ 146009 h 193634"/>
              <a:gd name="connsiteX1" fmla="*/ 92869 w 161952"/>
              <a:gd name="connsiteY1" fmla="*/ 193634 h 193634"/>
              <a:gd name="connsiteX2" fmla="*/ 116681 w 161952"/>
              <a:gd name="connsiteY2" fmla="*/ 119815 h 193634"/>
              <a:gd name="connsiteX3" fmla="*/ 161952 w 161952"/>
              <a:gd name="connsiteY3" fmla="*/ 78748 h 193634"/>
              <a:gd name="connsiteX4" fmla="*/ 104800 w 161952"/>
              <a:gd name="connsiteY4" fmla="*/ 11281 h 193634"/>
              <a:gd name="connsiteX5" fmla="*/ 78591 w 161952"/>
              <a:gd name="connsiteY5" fmla="*/ 0 h 193634"/>
              <a:gd name="connsiteX6" fmla="*/ 30956 w 161952"/>
              <a:gd name="connsiteY6" fmla="*/ 50759 h 193634"/>
              <a:gd name="connsiteX7" fmla="*/ 23813 w 161952"/>
              <a:gd name="connsiteY7" fmla="*/ 81715 h 193634"/>
              <a:gd name="connsiteX8" fmla="*/ 0 w 161952"/>
              <a:gd name="connsiteY8" fmla="*/ 93621 h 193634"/>
              <a:gd name="connsiteX9" fmla="*/ 7144 w 161952"/>
              <a:gd name="connsiteY9" fmla="*/ 146009 h 193634"/>
              <a:gd name="connsiteX0" fmla="*/ 7144 w 161952"/>
              <a:gd name="connsiteY0" fmla="*/ 152818 h 200443"/>
              <a:gd name="connsiteX1" fmla="*/ 92869 w 161952"/>
              <a:gd name="connsiteY1" fmla="*/ 200443 h 200443"/>
              <a:gd name="connsiteX2" fmla="*/ 116681 w 161952"/>
              <a:gd name="connsiteY2" fmla="*/ 126624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200443"/>
              <a:gd name="connsiteX1" fmla="*/ 92869 w 161952"/>
              <a:gd name="connsiteY1" fmla="*/ 200443 h 200443"/>
              <a:gd name="connsiteX2" fmla="*/ 134548 w 161952"/>
              <a:gd name="connsiteY2" fmla="*/ 139910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23813 w 161952"/>
              <a:gd name="connsiteY7" fmla="*/ 88524 h 173873"/>
              <a:gd name="connsiteX8" fmla="*/ 0 w 161952"/>
              <a:gd name="connsiteY8" fmla="*/ 100430 h 173873"/>
              <a:gd name="connsiteX9" fmla="*/ 7144 w 161952"/>
              <a:gd name="connsiteY9" fmla="*/ 152818 h 17387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7144 w 161952"/>
              <a:gd name="connsiteY9" fmla="*/ 152818 h 173873"/>
              <a:gd name="connsiteX0" fmla="*/ 42878 w 161952"/>
              <a:gd name="connsiteY0" fmla="*/ 112963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42878 w 161952"/>
              <a:gd name="connsiteY9" fmla="*/ 112963 h 173873"/>
              <a:gd name="connsiteX0" fmla="*/ 29785 w 148859"/>
              <a:gd name="connsiteY0" fmla="*/ 11296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29785 w 148859"/>
              <a:gd name="connsiteY9" fmla="*/ 112963 h 173873"/>
              <a:gd name="connsiteX0" fmla="*/ 44079 w 148859"/>
              <a:gd name="connsiteY0" fmla="*/ 13953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44079 w 148859"/>
              <a:gd name="connsiteY9" fmla="*/ 139533 h 173873"/>
              <a:gd name="connsiteX0" fmla="*/ 65519 w 148859"/>
              <a:gd name="connsiteY0" fmla="*/ 135104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65519 w 148859"/>
              <a:gd name="connsiteY9" fmla="*/ 135104 h 173873"/>
              <a:gd name="connsiteX0" fmla="*/ 60744 w 144084"/>
              <a:gd name="connsiteY0" fmla="*/ 135104 h 173873"/>
              <a:gd name="connsiteX1" fmla="*/ 85721 w 144084"/>
              <a:gd name="connsiteY1" fmla="*/ 173873 h 173873"/>
              <a:gd name="connsiteX2" fmla="*/ 116680 w 144084"/>
              <a:gd name="connsiteY2" fmla="*/ 139910 h 173873"/>
              <a:gd name="connsiteX3" fmla="*/ 144084 w 144084"/>
              <a:gd name="connsiteY3" fmla="*/ 85557 h 173873"/>
              <a:gd name="connsiteX4" fmla="*/ 86932 w 144084"/>
              <a:gd name="connsiteY4" fmla="*/ 18090 h 173873"/>
              <a:gd name="connsiteX5" fmla="*/ 60723 w 144084"/>
              <a:gd name="connsiteY5" fmla="*/ 6809 h 173873"/>
              <a:gd name="connsiteX6" fmla="*/ 34528 w 144084"/>
              <a:gd name="connsiteY6" fmla="*/ 0 h 173873"/>
              <a:gd name="connsiteX7" fmla="*/ 9519 w 144084"/>
              <a:gd name="connsiteY7" fmla="*/ 35385 h 173873"/>
              <a:gd name="connsiteX8" fmla="*/ 0 w 144084"/>
              <a:gd name="connsiteY8" fmla="*/ 91573 h 173873"/>
              <a:gd name="connsiteX9" fmla="*/ 60744 w 144084"/>
              <a:gd name="connsiteY9" fmla="*/ 135104 h 173873"/>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86932 w 144084"/>
              <a:gd name="connsiteY4" fmla="*/ 11281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97653 w 144084"/>
              <a:gd name="connsiteY4" fmla="*/ 33423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41674 w 144084"/>
              <a:gd name="connsiteY6" fmla="*/ 23304 h 179463"/>
              <a:gd name="connsiteX7" fmla="*/ 9519 w 144084"/>
              <a:gd name="connsiteY7" fmla="*/ 40975 h 179463"/>
              <a:gd name="connsiteX8" fmla="*/ 0 w 144084"/>
              <a:gd name="connsiteY8" fmla="*/ 97163 h 179463"/>
              <a:gd name="connsiteX9" fmla="*/ 60744 w 144084"/>
              <a:gd name="connsiteY9" fmla="*/ 140694 h 179463"/>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34170 w 144084"/>
              <a:gd name="connsiteY6" fmla="*/ 7805 h 179463"/>
              <a:gd name="connsiteX7" fmla="*/ 9519 w 144084"/>
              <a:gd name="connsiteY7" fmla="*/ 40975 h 179463"/>
              <a:gd name="connsiteX8" fmla="*/ 0 w 144084"/>
              <a:gd name="connsiteY8" fmla="*/ 97163 h 179463"/>
              <a:gd name="connsiteX9" fmla="*/ 60744 w 144084"/>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07659 w 154090"/>
              <a:gd name="connsiteY4" fmla="*/ 45822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85663"/>
              <a:gd name="connsiteX1" fmla="*/ 108234 w 154090"/>
              <a:gd name="connsiteY1" fmla="*/ 185663 h 185663"/>
              <a:gd name="connsiteX2" fmla="*/ 126686 w 154090"/>
              <a:gd name="connsiteY2" fmla="*/ 145500 h 185663"/>
              <a:gd name="connsiteX3" fmla="*/ 154090 w 154090"/>
              <a:gd name="connsiteY3" fmla="*/ 91147 h 185663"/>
              <a:gd name="connsiteX4" fmla="*/ 125169 w 154090"/>
              <a:gd name="connsiteY4" fmla="*/ 52021 h 185663"/>
              <a:gd name="connsiteX5" fmla="*/ 73231 w 154090"/>
              <a:gd name="connsiteY5" fmla="*/ 0 h 185663"/>
              <a:gd name="connsiteX6" fmla="*/ 44176 w 154090"/>
              <a:gd name="connsiteY6" fmla="*/ 7805 h 185663"/>
              <a:gd name="connsiteX7" fmla="*/ 19525 w 154090"/>
              <a:gd name="connsiteY7" fmla="*/ 40975 h 185663"/>
              <a:gd name="connsiteX8" fmla="*/ 0 w 154090"/>
              <a:gd name="connsiteY8" fmla="*/ 69265 h 185663"/>
              <a:gd name="connsiteX9" fmla="*/ 70750 w 154090"/>
              <a:gd name="connsiteY9" fmla="*/ 140694 h 185663"/>
              <a:gd name="connsiteX0" fmla="*/ 60744 w 144084"/>
              <a:gd name="connsiteY0" fmla="*/ 140694 h 185663"/>
              <a:gd name="connsiteX1" fmla="*/ 98228 w 144084"/>
              <a:gd name="connsiteY1" fmla="*/ 185663 h 185663"/>
              <a:gd name="connsiteX2" fmla="*/ 116680 w 144084"/>
              <a:gd name="connsiteY2" fmla="*/ 145500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112846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59092"/>
              <a:gd name="connsiteY0" fmla="*/ 140694 h 185663"/>
              <a:gd name="connsiteX1" fmla="*/ 98228 w 159092"/>
              <a:gd name="connsiteY1" fmla="*/ 185663 h 185663"/>
              <a:gd name="connsiteX2" fmla="*/ 109176 w 159092"/>
              <a:gd name="connsiteY2" fmla="*/ 126901 h 185663"/>
              <a:gd name="connsiteX3" fmla="*/ 159092 w 159092"/>
              <a:gd name="connsiteY3" fmla="*/ 100447 h 185663"/>
              <a:gd name="connsiteX4" fmla="*/ 115163 w 159092"/>
              <a:gd name="connsiteY4" fmla="*/ 52021 h 185663"/>
              <a:gd name="connsiteX5" fmla="*/ 63225 w 159092"/>
              <a:gd name="connsiteY5" fmla="*/ 0 h 185663"/>
              <a:gd name="connsiteX6" fmla="*/ 34170 w 159092"/>
              <a:gd name="connsiteY6" fmla="*/ 7805 h 185663"/>
              <a:gd name="connsiteX7" fmla="*/ 9519 w 159092"/>
              <a:gd name="connsiteY7" fmla="*/ 40975 h 185663"/>
              <a:gd name="connsiteX8" fmla="*/ 0 w 159092"/>
              <a:gd name="connsiteY8" fmla="*/ 90963 h 185663"/>
              <a:gd name="connsiteX9" fmla="*/ 60744 w 159092"/>
              <a:gd name="connsiteY9" fmla="*/ 140694 h 185663"/>
              <a:gd name="connsiteX0" fmla="*/ 60744 w 141582"/>
              <a:gd name="connsiteY0" fmla="*/ 140694 h 185663"/>
              <a:gd name="connsiteX1" fmla="*/ 98228 w 141582"/>
              <a:gd name="connsiteY1" fmla="*/ 185663 h 185663"/>
              <a:gd name="connsiteX2" fmla="*/ 109176 w 141582"/>
              <a:gd name="connsiteY2" fmla="*/ 126901 h 185663"/>
              <a:gd name="connsiteX3" fmla="*/ 141582 w 141582"/>
              <a:gd name="connsiteY3" fmla="*/ 109746 h 185663"/>
              <a:gd name="connsiteX4" fmla="*/ 115163 w 141582"/>
              <a:gd name="connsiteY4" fmla="*/ 52021 h 185663"/>
              <a:gd name="connsiteX5" fmla="*/ 63225 w 141582"/>
              <a:gd name="connsiteY5" fmla="*/ 0 h 185663"/>
              <a:gd name="connsiteX6" fmla="*/ 34170 w 141582"/>
              <a:gd name="connsiteY6" fmla="*/ 7805 h 185663"/>
              <a:gd name="connsiteX7" fmla="*/ 9519 w 141582"/>
              <a:gd name="connsiteY7" fmla="*/ 40975 h 185663"/>
              <a:gd name="connsiteX8" fmla="*/ 0 w 141582"/>
              <a:gd name="connsiteY8" fmla="*/ 90963 h 185663"/>
              <a:gd name="connsiteX9" fmla="*/ 60744 w 141582"/>
              <a:gd name="connsiteY9" fmla="*/ 140694 h 185663"/>
              <a:gd name="connsiteX0" fmla="*/ 66233 w 147071"/>
              <a:gd name="connsiteY0" fmla="*/ 140694 h 185663"/>
              <a:gd name="connsiteX1" fmla="*/ 103717 w 147071"/>
              <a:gd name="connsiteY1" fmla="*/ 185663 h 185663"/>
              <a:gd name="connsiteX2" fmla="*/ 114665 w 147071"/>
              <a:gd name="connsiteY2" fmla="*/ 126901 h 185663"/>
              <a:gd name="connsiteX3" fmla="*/ 147071 w 147071"/>
              <a:gd name="connsiteY3" fmla="*/ 109746 h 185663"/>
              <a:gd name="connsiteX4" fmla="*/ 120652 w 147071"/>
              <a:gd name="connsiteY4" fmla="*/ 52021 h 185663"/>
              <a:gd name="connsiteX5" fmla="*/ 68714 w 147071"/>
              <a:gd name="connsiteY5" fmla="*/ 0 h 185663"/>
              <a:gd name="connsiteX6" fmla="*/ 39659 w 147071"/>
              <a:gd name="connsiteY6" fmla="*/ 7805 h 185663"/>
              <a:gd name="connsiteX7" fmla="*/ 0 w 147071"/>
              <a:gd name="connsiteY7" fmla="*/ 59574 h 185663"/>
              <a:gd name="connsiteX8" fmla="*/ 5489 w 147071"/>
              <a:gd name="connsiteY8" fmla="*/ 90963 h 185663"/>
              <a:gd name="connsiteX9" fmla="*/ 66233 w 147071"/>
              <a:gd name="connsiteY9" fmla="*/ 140694 h 18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1" h="185663">
                <a:moveTo>
                  <a:pt x="66233" y="140694"/>
                </a:moveTo>
                <a:lnTo>
                  <a:pt x="103717" y="185663"/>
                </a:lnTo>
                <a:lnTo>
                  <a:pt x="114665" y="126901"/>
                </a:lnTo>
                <a:lnTo>
                  <a:pt x="147071" y="109746"/>
                </a:lnTo>
                <a:cubicBezTo>
                  <a:pt x="137431" y="96704"/>
                  <a:pt x="130292" y="71263"/>
                  <a:pt x="120652" y="52021"/>
                </a:cubicBezTo>
                <a:cubicBezTo>
                  <a:pt x="95835" y="34681"/>
                  <a:pt x="86027" y="17340"/>
                  <a:pt x="68714" y="0"/>
                </a:cubicBezTo>
                <a:lnTo>
                  <a:pt x="39659" y="7805"/>
                </a:lnTo>
                <a:lnTo>
                  <a:pt x="0" y="59574"/>
                </a:lnTo>
                <a:lnTo>
                  <a:pt x="5489" y="90963"/>
                </a:lnTo>
                <a:lnTo>
                  <a:pt x="66233" y="140694"/>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sp>
        <p:nvSpPr>
          <p:cNvPr id="46" name="SP"/>
          <p:cNvSpPr>
            <a:spLocks/>
          </p:cNvSpPr>
          <p:nvPr/>
        </p:nvSpPr>
        <p:spPr bwMode="auto">
          <a:xfrm rot="515399">
            <a:off x="4479925" y="2357438"/>
            <a:ext cx="427038" cy="566737"/>
          </a:xfrm>
          <a:custGeom>
            <a:avLst/>
            <a:gdLst>
              <a:gd name="T0" fmla="*/ 2147483647 w 104"/>
              <a:gd name="T1" fmla="*/ 2147483647 h 159"/>
              <a:gd name="T2" fmla="*/ 2147483647 w 104"/>
              <a:gd name="T3" fmla="*/ 2147483647 h 159"/>
              <a:gd name="T4" fmla="*/ 2147483647 w 104"/>
              <a:gd name="T5" fmla="*/ 2147483647 h 159"/>
              <a:gd name="T6" fmla="*/ 2147483647 w 104"/>
              <a:gd name="T7" fmla="*/ 2147483647 h 159"/>
              <a:gd name="T8" fmla="*/ 2147483647 w 104"/>
              <a:gd name="T9" fmla="*/ 2147483647 h 159"/>
              <a:gd name="T10" fmla="*/ 2147483647 w 104"/>
              <a:gd name="T11" fmla="*/ 2147483647 h 159"/>
              <a:gd name="T12" fmla="*/ 2147483647 w 104"/>
              <a:gd name="T13" fmla="*/ 2147483647 h 159"/>
              <a:gd name="T14" fmla="*/ 2147483647 w 104"/>
              <a:gd name="T15" fmla="*/ 2147483647 h 159"/>
              <a:gd name="T16" fmla="*/ 2147483647 w 104"/>
              <a:gd name="T17" fmla="*/ 2147483647 h 159"/>
              <a:gd name="T18" fmla="*/ 2147483647 w 104"/>
              <a:gd name="T19" fmla="*/ 2147483647 h 159"/>
              <a:gd name="T20" fmla="*/ 2147483647 w 104"/>
              <a:gd name="T21" fmla="*/ 2147483647 h 159"/>
              <a:gd name="T22" fmla="*/ 2147483647 w 104"/>
              <a:gd name="T23" fmla="*/ 2147483647 h 159"/>
              <a:gd name="T24" fmla="*/ 2147483647 w 104"/>
              <a:gd name="T25" fmla="*/ 2147483647 h 159"/>
              <a:gd name="T26" fmla="*/ 2147483647 w 104"/>
              <a:gd name="T27" fmla="*/ 2147483647 h 159"/>
              <a:gd name="T28" fmla="*/ 2147483647 w 104"/>
              <a:gd name="T29" fmla="*/ 2147483647 h 159"/>
              <a:gd name="T30" fmla="*/ 2147483647 w 104"/>
              <a:gd name="T31" fmla="*/ 2147483647 h 159"/>
              <a:gd name="T32" fmla="*/ 2147483647 w 104"/>
              <a:gd name="T33" fmla="*/ 2147483647 h 159"/>
              <a:gd name="T34" fmla="*/ 0 w 104"/>
              <a:gd name="T35" fmla="*/ 2147483647 h 159"/>
              <a:gd name="T36" fmla="*/ 2147483647 w 104"/>
              <a:gd name="T37" fmla="*/ 2147483647 h 159"/>
              <a:gd name="T38" fmla="*/ 2147483647 w 104"/>
              <a:gd name="T39" fmla="*/ 2147483647 h 159"/>
              <a:gd name="T40" fmla="*/ 0 w 104"/>
              <a:gd name="T41" fmla="*/ 2147483647 h 159"/>
              <a:gd name="T42" fmla="*/ 2147483647 w 104"/>
              <a:gd name="T43" fmla="*/ 2147483647 h 159"/>
              <a:gd name="T44" fmla="*/ 2147483647 w 104"/>
              <a:gd name="T45" fmla="*/ 2147483647 h 159"/>
              <a:gd name="T46" fmla="*/ 2147483647 w 104"/>
              <a:gd name="T47" fmla="*/ 2147483647 h 159"/>
              <a:gd name="T48" fmla="*/ 2147483647 w 104"/>
              <a:gd name="T49" fmla="*/ 2147483647 h 159"/>
              <a:gd name="T50" fmla="*/ 2147483647 w 104"/>
              <a:gd name="T51" fmla="*/ 2147483647 h 159"/>
              <a:gd name="T52" fmla="*/ 2147483647 w 104"/>
              <a:gd name="T53" fmla="*/ 2147483647 h 159"/>
              <a:gd name="T54" fmla="*/ 2147483647 w 104"/>
              <a:gd name="T55" fmla="*/ 2147483647 h 159"/>
              <a:gd name="T56" fmla="*/ 2147483647 w 104"/>
              <a:gd name="T57" fmla="*/ 2147483647 h 159"/>
              <a:gd name="T58" fmla="*/ 2147483647 w 104"/>
              <a:gd name="T59" fmla="*/ 0 h 159"/>
              <a:gd name="T60" fmla="*/ 2147483647 w 104"/>
              <a:gd name="T61" fmla="*/ 0 h 159"/>
              <a:gd name="T62" fmla="*/ 2147483647 w 104"/>
              <a:gd name="T63" fmla="*/ 2147483647 h 159"/>
              <a:gd name="T64" fmla="*/ 2147483647 w 104"/>
              <a:gd name="T65" fmla="*/ 2147483647 h 159"/>
              <a:gd name="T66" fmla="*/ 2147483647 w 104"/>
              <a:gd name="T67" fmla="*/ 2147483647 h 159"/>
              <a:gd name="T68" fmla="*/ 2147483647 w 104"/>
              <a:gd name="T69" fmla="*/ 2147483647 h 159"/>
              <a:gd name="T70" fmla="*/ 2147483647 w 104"/>
              <a:gd name="T71" fmla="*/ 2147483647 h 159"/>
              <a:gd name="T72" fmla="*/ 2147483647 w 104"/>
              <a:gd name="T73" fmla="*/ 2147483647 h 159"/>
              <a:gd name="T74" fmla="*/ 2147483647 w 104"/>
              <a:gd name="T75" fmla="*/ 2147483647 h 159"/>
              <a:gd name="T76" fmla="*/ 2147483647 w 104"/>
              <a:gd name="T77" fmla="*/ 2147483647 h 159"/>
              <a:gd name="T78" fmla="*/ 2147483647 w 104"/>
              <a:gd name="T79" fmla="*/ 2147483647 h 159"/>
              <a:gd name="T80" fmla="*/ 2147483647 w 104"/>
              <a:gd name="T81" fmla="*/ 2147483647 h 159"/>
              <a:gd name="T82" fmla="*/ 2147483647 w 104"/>
              <a:gd name="T83" fmla="*/ 2147483647 h 159"/>
              <a:gd name="T84" fmla="*/ 2147483647 w 104"/>
              <a:gd name="T85" fmla="*/ 2147483647 h 159"/>
              <a:gd name="T86" fmla="*/ 2147483647 w 104"/>
              <a:gd name="T87" fmla="*/ 2147483647 h 159"/>
              <a:gd name="T88" fmla="*/ 2147483647 w 104"/>
              <a:gd name="T89" fmla="*/ 2147483647 h 159"/>
              <a:gd name="T90" fmla="*/ 2147483647 w 104"/>
              <a:gd name="T91" fmla="*/ 2147483647 h 159"/>
              <a:gd name="T92" fmla="*/ 2147483647 w 104"/>
              <a:gd name="T93" fmla="*/ 2147483647 h 15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59"/>
              <a:gd name="T143" fmla="*/ 104 w 104"/>
              <a:gd name="T144" fmla="*/ 159 h 159"/>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2212 w 10000"/>
              <a:gd name="connsiteY19" fmla="*/ 4277 h 10000"/>
              <a:gd name="connsiteX20" fmla="*/ 0 w 10000"/>
              <a:gd name="connsiteY20" fmla="*/ 4969 h 10000"/>
              <a:gd name="connsiteX21" fmla="*/ 865 w 10000"/>
              <a:gd name="connsiteY21" fmla="*/ 4214 h 10000"/>
              <a:gd name="connsiteX22" fmla="*/ 865 w 10000"/>
              <a:gd name="connsiteY22" fmla="*/ 3648 h 10000"/>
              <a:gd name="connsiteX23" fmla="*/ 1731 w 10000"/>
              <a:gd name="connsiteY23" fmla="*/ 3711 h 10000"/>
              <a:gd name="connsiteX24" fmla="*/ 1635 w 10000"/>
              <a:gd name="connsiteY24" fmla="*/ 2767 h 10000"/>
              <a:gd name="connsiteX25" fmla="*/ 962 w 10000"/>
              <a:gd name="connsiteY25" fmla="*/ 2579 h 10000"/>
              <a:gd name="connsiteX26" fmla="*/ 2019 w 10000"/>
              <a:gd name="connsiteY26" fmla="*/ 1761 h 10000"/>
              <a:gd name="connsiteX27" fmla="*/ 3269 w 10000"/>
              <a:gd name="connsiteY27" fmla="*/ 1824 h 10000"/>
              <a:gd name="connsiteX28" fmla="*/ 3269 w 10000"/>
              <a:gd name="connsiteY28" fmla="*/ 881 h 10000"/>
              <a:gd name="connsiteX29" fmla="*/ 3750 w 10000"/>
              <a:gd name="connsiteY29" fmla="*/ 0 h 10000"/>
              <a:gd name="connsiteX30" fmla="*/ 4327 w 10000"/>
              <a:gd name="connsiteY30" fmla="*/ 0 h 10000"/>
              <a:gd name="connsiteX31" fmla="*/ 4327 w 10000"/>
              <a:gd name="connsiteY31" fmla="*/ 440 h 10000"/>
              <a:gd name="connsiteX32" fmla="*/ 7692 w 10000"/>
              <a:gd name="connsiteY32" fmla="*/ 440 h 10000"/>
              <a:gd name="connsiteX33" fmla="*/ 4519 w 10000"/>
              <a:gd name="connsiteY33" fmla="*/ 2579 h 10000"/>
              <a:gd name="connsiteX34" fmla="*/ 5096 w 10000"/>
              <a:gd name="connsiteY34" fmla="*/ 2830 h 10000"/>
              <a:gd name="connsiteX35" fmla="*/ 10000 w 10000"/>
              <a:gd name="connsiteY35" fmla="*/ 2830 h 10000"/>
              <a:gd name="connsiteX36" fmla="*/ 7788 w 10000"/>
              <a:gd name="connsiteY36" fmla="*/ 5786 h 10000"/>
              <a:gd name="connsiteX37" fmla="*/ 5385 w 10000"/>
              <a:gd name="connsiteY37" fmla="*/ 5723 h 10000"/>
              <a:gd name="connsiteX38" fmla="*/ 5385 w 10000"/>
              <a:gd name="connsiteY38" fmla="*/ 6164 h 10000"/>
              <a:gd name="connsiteX39" fmla="*/ 6731 w 10000"/>
              <a:gd name="connsiteY39" fmla="*/ 6164 h 10000"/>
              <a:gd name="connsiteX40" fmla="*/ 7212 w 10000"/>
              <a:gd name="connsiteY40" fmla="*/ 6478 h 10000"/>
              <a:gd name="connsiteX41" fmla="*/ 4712 w 10000"/>
              <a:gd name="connsiteY41" fmla="*/ 6604 h 10000"/>
              <a:gd name="connsiteX42" fmla="*/ 4135 w 10000"/>
              <a:gd name="connsiteY42" fmla="*/ 6289 h 10000"/>
              <a:gd name="connsiteX43" fmla="*/ 4135 w 10000"/>
              <a:gd name="connsiteY43" fmla="*/ 6855 h 10000"/>
              <a:gd name="connsiteX44" fmla="*/ 4712 w 10000"/>
              <a:gd name="connsiteY44" fmla="*/ 7233 h 10000"/>
              <a:gd name="connsiteX45" fmla="*/ 7212 w 10000"/>
              <a:gd name="connsiteY45" fmla="*/ 7233 h 10000"/>
              <a:gd name="connsiteX46" fmla="*/ 7885 w 10000"/>
              <a:gd name="connsiteY46"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2212 w 10000"/>
              <a:gd name="connsiteY20" fmla="*/ 427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789 w 10000"/>
              <a:gd name="connsiteY20" fmla="*/ 505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9771"/>
              <a:gd name="connsiteY0" fmla="*/ 7610 h 10000"/>
              <a:gd name="connsiteX1" fmla="*/ 4712 w 9771"/>
              <a:gd name="connsiteY1" fmla="*/ 9686 h 10000"/>
              <a:gd name="connsiteX2" fmla="*/ 2500 w 9771"/>
              <a:gd name="connsiteY2" fmla="*/ 9686 h 10000"/>
              <a:gd name="connsiteX3" fmla="*/ 1923 w 9771"/>
              <a:gd name="connsiteY3" fmla="*/ 9434 h 10000"/>
              <a:gd name="connsiteX4" fmla="*/ 1635 w 9771"/>
              <a:gd name="connsiteY4" fmla="*/ 10000 h 10000"/>
              <a:gd name="connsiteX5" fmla="*/ 769 w 9771"/>
              <a:gd name="connsiteY5" fmla="*/ 9497 h 10000"/>
              <a:gd name="connsiteX6" fmla="*/ 769 w 9771"/>
              <a:gd name="connsiteY6" fmla="*/ 8931 h 10000"/>
              <a:gd name="connsiteX7" fmla="*/ 2212 w 9771"/>
              <a:gd name="connsiteY7" fmla="*/ 8050 h 10000"/>
              <a:gd name="connsiteX8" fmla="*/ 1635 w 9771"/>
              <a:gd name="connsiteY8" fmla="*/ 7547 h 10000"/>
              <a:gd name="connsiteX9" fmla="*/ 2212 w 9771"/>
              <a:gd name="connsiteY9" fmla="*/ 7107 h 10000"/>
              <a:gd name="connsiteX10" fmla="*/ 3173 w 9771"/>
              <a:gd name="connsiteY10" fmla="*/ 7170 h 10000"/>
              <a:gd name="connsiteX11" fmla="*/ 2981 w 9771"/>
              <a:gd name="connsiteY11" fmla="*/ 6667 h 10000"/>
              <a:gd name="connsiteX12" fmla="*/ 2212 w 9771"/>
              <a:gd name="connsiteY12" fmla="*/ 6667 h 10000"/>
              <a:gd name="connsiteX13" fmla="*/ 2212 w 9771"/>
              <a:gd name="connsiteY13" fmla="*/ 6289 h 10000"/>
              <a:gd name="connsiteX14" fmla="*/ 1538 w 9771"/>
              <a:gd name="connsiteY14" fmla="*/ 6226 h 10000"/>
              <a:gd name="connsiteX15" fmla="*/ 1154 w 9771"/>
              <a:gd name="connsiteY15" fmla="*/ 6604 h 10000"/>
              <a:gd name="connsiteX16" fmla="*/ 577 w 9771"/>
              <a:gd name="connsiteY16" fmla="*/ 6352 h 10000"/>
              <a:gd name="connsiteX17" fmla="*/ 0 w 9771"/>
              <a:gd name="connsiteY17" fmla="*/ 6352 h 10000"/>
              <a:gd name="connsiteX18" fmla="*/ 1462 w 9771"/>
              <a:gd name="connsiteY18" fmla="*/ 5188 h 10000"/>
              <a:gd name="connsiteX19" fmla="*/ 1090 w 9771"/>
              <a:gd name="connsiteY19" fmla="*/ 5121 h 10000"/>
              <a:gd name="connsiteX20" fmla="*/ 789 w 9771"/>
              <a:gd name="connsiteY20" fmla="*/ 5057 h 10000"/>
              <a:gd name="connsiteX21" fmla="*/ 0 w 9771"/>
              <a:gd name="connsiteY21" fmla="*/ 4969 h 10000"/>
              <a:gd name="connsiteX22" fmla="*/ 865 w 9771"/>
              <a:gd name="connsiteY22" fmla="*/ 4214 h 10000"/>
              <a:gd name="connsiteX23" fmla="*/ 865 w 9771"/>
              <a:gd name="connsiteY23" fmla="*/ 3648 h 10000"/>
              <a:gd name="connsiteX24" fmla="*/ 1731 w 9771"/>
              <a:gd name="connsiteY24" fmla="*/ 3711 h 10000"/>
              <a:gd name="connsiteX25" fmla="*/ 1635 w 9771"/>
              <a:gd name="connsiteY25" fmla="*/ 2767 h 10000"/>
              <a:gd name="connsiteX26" fmla="*/ 962 w 9771"/>
              <a:gd name="connsiteY26" fmla="*/ 2579 h 10000"/>
              <a:gd name="connsiteX27" fmla="*/ 2019 w 9771"/>
              <a:gd name="connsiteY27" fmla="*/ 1761 h 10000"/>
              <a:gd name="connsiteX28" fmla="*/ 3269 w 9771"/>
              <a:gd name="connsiteY28" fmla="*/ 1824 h 10000"/>
              <a:gd name="connsiteX29" fmla="*/ 3269 w 9771"/>
              <a:gd name="connsiteY29" fmla="*/ 881 h 10000"/>
              <a:gd name="connsiteX30" fmla="*/ 3750 w 9771"/>
              <a:gd name="connsiteY30" fmla="*/ 0 h 10000"/>
              <a:gd name="connsiteX31" fmla="*/ 4327 w 9771"/>
              <a:gd name="connsiteY31" fmla="*/ 0 h 10000"/>
              <a:gd name="connsiteX32" fmla="*/ 4327 w 9771"/>
              <a:gd name="connsiteY32" fmla="*/ 440 h 10000"/>
              <a:gd name="connsiteX33" fmla="*/ 7692 w 9771"/>
              <a:gd name="connsiteY33" fmla="*/ 440 h 10000"/>
              <a:gd name="connsiteX34" fmla="*/ 4519 w 9771"/>
              <a:gd name="connsiteY34" fmla="*/ 2579 h 10000"/>
              <a:gd name="connsiteX35" fmla="*/ 5096 w 9771"/>
              <a:gd name="connsiteY35" fmla="*/ 2830 h 10000"/>
              <a:gd name="connsiteX36" fmla="*/ 9771 w 9771"/>
              <a:gd name="connsiteY36" fmla="*/ 2951 h 10000"/>
              <a:gd name="connsiteX37" fmla="*/ 7788 w 9771"/>
              <a:gd name="connsiteY37" fmla="*/ 5786 h 10000"/>
              <a:gd name="connsiteX38" fmla="*/ 5385 w 9771"/>
              <a:gd name="connsiteY38" fmla="*/ 5723 h 10000"/>
              <a:gd name="connsiteX39" fmla="*/ 5385 w 9771"/>
              <a:gd name="connsiteY39" fmla="*/ 6164 h 10000"/>
              <a:gd name="connsiteX40" fmla="*/ 6731 w 9771"/>
              <a:gd name="connsiteY40" fmla="*/ 6164 h 10000"/>
              <a:gd name="connsiteX41" fmla="*/ 7212 w 9771"/>
              <a:gd name="connsiteY41" fmla="*/ 6478 h 10000"/>
              <a:gd name="connsiteX42" fmla="*/ 4712 w 9771"/>
              <a:gd name="connsiteY42" fmla="*/ 6604 h 10000"/>
              <a:gd name="connsiteX43" fmla="*/ 4135 w 9771"/>
              <a:gd name="connsiteY43" fmla="*/ 6289 h 10000"/>
              <a:gd name="connsiteX44" fmla="*/ 4135 w 9771"/>
              <a:gd name="connsiteY44" fmla="*/ 6855 h 10000"/>
              <a:gd name="connsiteX45" fmla="*/ 4712 w 9771"/>
              <a:gd name="connsiteY45" fmla="*/ 7233 h 10000"/>
              <a:gd name="connsiteX46" fmla="*/ 7212 w 9771"/>
              <a:gd name="connsiteY46" fmla="*/ 7233 h 10000"/>
              <a:gd name="connsiteX47" fmla="*/ 7885 w 9771"/>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5511 w 10000"/>
              <a:gd name="connsiteY39" fmla="*/ 616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5401 w 10000"/>
              <a:gd name="connsiteY45" fmla="*/ 7216 h 10000"/>
              <a:gd name="connsiteX46" fmla="*/ 7381 w 10000"/>
              <a:gd name="connsiteY46" fmla="*/ 7233 h 10000"/>
              <a:gd name="connsiteX47" fmla="*/ 8070 w 10000"/>
              <a:gd name="connsiteY47" fmla="*/ 7610 h 10000"/>
              <a:gd name="connsiteX0" fmla="*/ 8070 w 10000"/>
              <a:gd name="connsiteY0" fmla="*/ 7610 h 9917"/>
              <a:gd name="connsiteX1" fmla="*/ 4822 w 10000"/>
              <a:gd name="connsiteY1" fmla="*/ 9686 h 9917"/>
              <a:gd name="connsiteX2" fmla="*/ 2559 w 10000"/>
              <a:gd name="connsiteY2" fmla="*/ 9686 h 9917"/>
              <a:gd name="connsiteX3" fmla="*/ 1968 w 10000"/>
              <a:gd name="connsiteY3" fmla="*/ 9434 h 9917"/>
              <a:gd name="connsiteX4" fmla="*/ 1139 w 10000"/>
              <a:gd name="connsiteY4" fmla="*/ 9917 h 9917"/>
              <a:gd name="connsiteX5" fmla="*/ 787 w 10000"/>
              <a:gd name="connsiteY5" fmla="*/ 9497 h 9917"/>
              <a:gd name="connsiteX6" fmla="*/ 787 w 10000"/>
              <a:gd name="connsiteY6" fmla="*/ 8931 h 9917"/>
              <a:gd name="connsiteX7" fmla="*/ 2264 w 10000"/>
              <a:gd name="connsiteY7" fmla="*/ 8050 h 9917"/>
              <a:gd name="connsiteX8" fmla="*/ 1673 w 10000"/>
              <a:gd name="connsiteY8" fmla="*/ 7547 h 9917"/>
              <a:gd name="connsiteX9" fmla="*/ 2264 w 10000"/>
              <a:gd name="connsiteY9" fmla="*/ 7107 h 9917"/>
              <a:gd name="connsiteX10" fmla="*/ 3247 w 10000"/>
              <a:gd name="connsiteY10" fmla="*/ 7170 h 9917"/>
              <a:gd name="connsiteX11" fmla="*/ 3051 w 10000"/>
              <a:gd name="connsiteY11" fmla="*/ 6667 h 9917"/>
              <a:gd name="connsiteX12" fmla="*/ 2264 w 10000"/>
              <a:gd name="connsiteY12" fmla="*/ 6667 h 9917"/>
              <a:gd name="connsiteX13" fmla="*/ 2264 w 10000"/>
              <a:gd name="connsiteY13" fmla="*/ 6289 h 9917"/>
              <a:gd name="connsiteX14" fmla="*/ 1574 w 10000"/>
              <a:gd name="connsiteY14" fmla="*/ 6226 h 9917"/>
              <a:gd name="connsiteX15" fmla="*/ 1181 w 10000"/>
              <a:gd name="connsiteY15" fmla="*/ 6604 h 9917"/>
              <a:gd name="connsiteX16" fmla="*/ 591 w 10000"/>
              <a:gd name="connsiteY16" fmla="*/ 6352 h 9917"/>
              <a:gd name="connsiteX17" fmla="*/ 0 w 10000"/>
              <a:gd name="connsiteY17" fmla="*/ 6352 h 9917"/>
              <a:gd name="connsiteX18" fmla="*/ 1496 w 10000"/>
              <a:gd name="connsiteY18" fmla="*/ 5188 h 9917"/>
              <a:gd name="connsiteX19" fmla="*/ 1116 w 10000"/>
              <a:gd name="connsiteY19" fmla="*/ 5121 h 9917"/>
              <a:gd name="connsiteX20" fmla="*/ 807 w 10000"/>
              <a:gd name="connsiteY20" fmla="*/ 5057 h 9917"/>
              <a:gd name="connsiteX21" fmla="*/ 0 w 10000"/>
              <a:gd name="connsiteY21" fmla="*/ 4969 h 9917"/>
              <a:gd name="connsiteX22" fmla="*/ 885 w 10000"/>
              <a:gd name="connsiteY22" fmla="*/ 4214 h 9917"/>
              <a:gd name="connsiteX23" fmla="*/ 885 w 10000"/>
              <a:gd name="connsiteY23" fmla="*/ 3648 h 9917"/>
              <a:gd name="connsiteX24" fmla="*/ 1772 w 10000"/>
              <a:gd name="connsiteY24" fmla="*/ 3711 h 9917"/>
              <a:gd name="connsiteX25" fmla="*/ 1673 w 10000"/>
              <a:gd name="connsiteY25" fmla="*/ 2767 h 9917"/>
              <a:gd name="connsiteX26" fmla="*/ 985 w 10000"/>
              <a:gd name="connsiteY26" fmla="*/ 2579 h 9917"/>
              <a:gd name="connsiteX27" fmla="*/ 2066 w 10000"/>
              <a:gd name="connsiteY27" fmla="*/ 1761 h 9917"/>
              <a:gd name="connsiteX28" fmla="*/ 3346 w 10000"/>
              <a:gd name="connsiteY28" fmla="*/ 1824 h 9917"/>
              <a:gd name="connsiteX29" fmla="*/ 3346 w 10000"/>
              <a:gd name="connsiteY29" fmla="*/ 881 h 9917"/>
              <a:gd name="connsiteX30" fmla="*/ 3838 w 10000"/>
              <a:gd name="connsiteY30" fmla="*/ 0 h 9917"/>
              <a:gd name="connsiteX31" fmla="*/ 4428 w 10000"/>
              <a:gd name="connsiteY31" fmla="*/ 0 h 9917"/>
              <a:gd name="connsiteX32" fmla="*/ 4428 w 10000"/>
              <a:gd name="connsiteY32" fmla="*/ 440 h 9917"/>
              <a:gd name="connsiteX33" fmla="*/ 7872 w 10000"/>
              <a:gd name="connsiteY33" fmla="*/ 440 h 9917"/>
              <a:gd name="connsiteX34" fmla="*/ 4625 w 10000"/>
              <a:gd name="connsiteY34" fmla="*/ 2579 h 9917"/>
              <a:gd name="connsiteX35" fmla="*/ 5215 w 10000"/>
              <a:gd name="connsiteY35" fmla="*/ 2830 h 9917"/>
              <a:gd name="connsiteX36" fmla="*/ 10000 w 10000"/>
              <a:gd name="connsiteY36" fmla="*/ 2951 h 9917"/>
              <a:gd name="connsiteX37" fmla="*/ 7971 w 10000"/>
              <a:gd name="connsiteY37" fmla="*/ 5786 h 9917"/>
              <a:gd name="connsiteX38" fmla="*/ 7839 w 10000"/>
              <a:gd name="connsiteY38" fmla="*/ 6035 h 9917"/>
              <a:gd name="connsiteX39" fmla="*/ 7747 w 10000"/>
              <a:gd name="connsiteY39" fmla="*/ 6344 h 9917"/>
              <a:gd name="connsiteX40" fmla="*/ 6889 w 10000"/>
              <a:gd name="connsiteY40" fmla="*/ 6164 h 9917"/>
              <a:gd name="connsiteX41" fmla="*/ 7160 w 10000"/>
              <a:gd name="connsiteY41" fmla="*/ 6978 h 9917"/>
              <a:gd name="connsiteX42" fmla="*/ 6138 w 10000"/>
              <a:gd name="connsiteY42" fmla="*/ 7028 h 9917"/>
              <a:gd name="connsiteX43" fmla="*/ 5460 w 10000"/>
              <a:gd name="connsiteY43" fmla="*/ 6913 h 9917"/>
              <a:gd name="connsiteX44" fmla="*/ 5554 w 10000"/>
              <a:gd name="connsiteY44" fmla="*/ 6993 h 9917"/>
              <a:gd name="connsiteX45" fmla="*/ 5401 w 10000"/>
              <a:gd name="connsiteY45" fmla="*/ 7216 h 9917"/>
              <a:gd name="connsiteX46" fmla="*/ 7381 w 10000"/>
              <a:gd name="connsiteY46" fmla="*/ 7233 h 9917"/>
              <a:gd name="connsiteX47" fmla="*/ 8070 w 10000"/>
              <a:gd name="connsiteY47" fmla="*/ 7610 h 9917"/>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2264 w 10000"/>
              <a:gd name="connsiteY12" fmla="*/ 6723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7475 w 10000"/>
              <a:gd name="connsiteY40" fmla="*/ 6870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646 w 10155"/>
              <a:gd name="connsiteY20" fmla="*/ 5261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155" h="10000">
                <a:moveTo>
                  <a:pt x="8070" y="7674"/>
                </a:moveTo>
                <a:lnTo>
                  <a:pt x="4822" y="9767"/>
                </a:lnTo>
                <a:lnTo>
                  <a:pt x="2559" y="9767"/>
                </a:lnTo>
                <a:lnTo>
                  <a:pt x="1968" y="9513"/>
                </a:lnTo>
                <a:lnTo>
                  <a:pt x="1139" y="10000"/>
                </a:lnTo>
                <a:lnTo>
                  <a:pt x="787" y="9576"/>
                </a:lnTo>
                <a:lnTo>
                  <a:pt x="787" y="9006"/>
                </a:lnTo>
                <a:lnTo>
                  <a:pt x="2264" y="8117"/>
                </a:lnTo>
                <a:lnTo>
                  <a:pt x="1673" y="7610"/>
                </a:lnTo>
                <a:lnTo>
                  <a:pt x="2264" y="7166"/>
                </a:lnTo>
                <a:lnTo>
                  <a:pt x="1729" y="7400"/>
                </a:lnTo>
                <a:cubicBezTo>
                  <a:pt x="1664" y="7231"/>
                  <a:pt x="1776" y="7617"/>
                  <a:pt x="1711" y="7448"/>
                </a:cubicBezTo>
                <a:lnTo>
                  <a:pt x="347" y="8423"/>
                </a:lnTo>
                <a:lnTo>
                  <a:pt x="69" y="8266"/>
                </a:lnTo>
                <a:cubicBezTo>
                  <a:pt x="146" y="7954"/>
                  <a:pt x="224" y="7643"/>
                  <a:pt x="301" y="7331"/>
                </a:cubicBezTo>
                <a:lnTo>
                  <a:pt x="802" y="6701"/>
                </a:lnTo>
                <a:cubicBezTo>
                  <a:pt x="732" y="6602"/>
                  <a:pt x="661" y="6504"/>
                  <a:pt x="591" y="6405"/>
                </a:cubicBezTo>
                <a:lnTo>
                  <a:pt x="0" y="6405"/>
                </a:lnTo>
                <a:lnTo>
                  <a:pt x="1496" y="5231"/>
                </a:lnTo>
                <a:cubicBezTo>
                  <a:pt x="1710" y="4979"/>
                  <a:pt x="902" y="5416"/>
                  <a:pt x="1116" y="5164"/>
                </a:cubicBezTo>
                <a:lnTo>
                  <a:pt x="646" y="5261"/>
                </a:lnTo>
                <a:lnTo>
                  <a:pt x="0" y="5011"/>
                </a:lnTo>
                <a:lnTo>
                  <a:pt x="885" y="4249"/>
                </a:lnTo>
                <a:lnTo>
                  <a:pt x="885" y="3679"/>
                </a:lnTo>
                <a:lnTo>
                  <a:pt x="1772" y="3742"/>
                </a:lnTo>
                <a:cubicBezTo>
                  <a:pt x="1739" y="3424"/>
                  <a:pt x="1706" y="3108"/>
                  <a:pt x="1673" y="2790"/>
                </a:cubicBezTo>
                <a:lnTo>
                  <a:pt x="985" y="2601"/>
                </a:lnTo>
                <a:lnTo>
                  <a:pt x="2066" y="1776"/>
                </a:lnTo>
                <a:lnTo>
                  <a:pt x="3346" y="1839"/>
                </a:lnTo>
                <a:lnTo>
                  <a:pt x="3346" y="888"/>
                </a:lnTo>
                <a:lnTo>
                  <a:pt x="3838" y="0"/>
                </a:lnTo>
                <a:lnTo>
                  <a:pt x="4428" y="0"/>
                </a:lnTo>
                <a:lnTo>
                  <a:pt x="4428" y="444"/>
                </a:lnTo>
                <a:lnTo>
                  <a:pt x="8659" y="500"/>
                </a:lnTo>
                <a:lnTo>
                  <a:pt x="5115" y="2786"/>
                </a:lnTo>
                <a:cubicBezTo>
                  <a:pt x="5148" y="2809"/>
                  <a:pt x="5182" y="2831"/>
                  <a:pt x="5215" y="2854"/>
                </a:cubicBezTo>
                <a:lnTo>
                  <a:pt x="10155" y="3102"/>
                </a:lnTo>
                <a:cubicBezTo>
                  <a:pt x="9174" y="5096"/>
                  <a:pt x="8647" y="4882"/>
                  <a:pt x="7971" y="5834"/>
                </a:cubicBezTo>
                <a:lnTo>
                  <a:pt x="7839" y="6086"/>
                </a:lnTo>
                <a:cubicBezTo>
                  <a:pt x="7808" y="6189"/>
                  <a:pt x="7778" y="6293"/>
                  <a:pt x="7747" y="6397"/>
                </a:cubicBezTo>
                <a:lnTo>
                  <a:pt x="7475" y="6870"/>
                </a:lnTo>
                <a:lnTo>
                  <a:pt x="7160" y="7036"/>
                </a:lnTo>
                <a:lnTo>
                  <a:pt x="6138" y="7087"/>
                </a:lnTo>
                <a:lnTo>
                  <a:pt x="5460" y="6971"/>
                </a:lnTo>
                <a:cubicBezTo>
                  <a:pt x="5491" y="6998"/>
                  <a:pt x="5523" y="7024"/>
                  <a:pt x="5554" y="7052"/>
                </a:cubicBezTo>
                <a:lnTo>
                  <a:pt x="5401" y="7276"/>
                </a:lnTo>
                <a:lnTo>
                  <a:pt x="7381" y="7294"/>
                </a:lnTo>
                <a:lnTo>
                  <a:pt x="8070" y="7674"/>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7" name="TT"/>
          <p:cNvSpPr>
            <a:spLocks/>
          </p:cNvSpPr>
          <p:nvPr/>
        </p:nvSpPr>
        <p:spPr bwMode="auto">
          <a:xfrm rot="460133">
            <a:off x="5499100" y="3176588"/>
            <a:ext cx="739775" cy="1141412"/>
          </a:xfrm>
          <a:custGeom>
            <a:avLst/>
            <a:gdLst>
              <a:gd name="T0" fmla="*/ 2147483647 w 213"/>
              <a:gd name="T1" fmla="*/ 2147483647 h 335"/>
              <a:gd name="T2" fmla="*/ 2147483647 w 213"/>
              <a:gd name="T3" fmla="*/ 2147483647 h 335"/>
              <a:gd name="T4" fmla="*/ 2147483647 w 213"/>
              <a:gd name="T5" fmla="*/ 2147483647 h 335"/>
              <a:gd name="T6" fmla="*/ 2147483647 w 213"/>
              <a:gd name="T7" fmla="*/ 2147483647 h 335"/>
              <a:gd name="T8" fmla="*/ 2147483647 w 213"/>
              <a:gd name="T9" fmla="*/ 2147483647 h 335"/>
              <a:gd name="T10" fmla="*/ 2147483647 w 213"/>
              <a:gd name="T11" fmla="*/ 2147483647 h 335"/>
              <a:gd name="T12" fmla="*/ 2147483647 w 213"/>
              <a:gd name="T13" fmla="*/ 2147483647 h 335"/>
              <a:gd name="T14" fmla="*/ 2147483647 w 213"/>
              <a:gd name="T15" fmla="*/ 2147483647 h 335"/>
              <a:gd name="T16" fmla="*/ 2147483647 w 213"/>
              <a:gd name="T17" fmla="*/ 2147483647 h 335"/>
              <a:gd name="T18" fmla="*/ 2147483647 w 213"/>
              <a:gd name="T19" fmla="*/ 2147483647 h 335"/>
              <a:gd name="T20" fmla="*/ 2147483647 w 213"/>
              <a:gd name="T21" fmla="*/ 2147483647 h 335"/>
              <a:gd name="T22" fmla="*/ 2147483647 w 213"/>
              <a:gd name="T23" fmla="*/ 2147483647 h 335"/>
              <a:gd name="T24" fmla="*/ 2147483647 w 213"/>
              <a:gd name="T25" fmla="*/ 2147483647 h 335"/>
              <a:gd name="T26" fmla="*/ 2147483647 w 213"/>
              <a:gd name="T27" fmla="*/ 2147483647 h 335"/>
              <a:gd name="T28" fmla="*/ 2147483647 w 213"/>
              <a:gd name="T29" fmla="*/ 2147483647 h 335"/>
              <a:gd name="T30" fmla="*/ 2147483647 w 213"/>
              <a:gd name="T31" fmla="*/ 2147483647 h 335"/>
              <a:gd name="T32" fmla="*/ 2147483647 w 213"/>
              <a:gd name="T33" fmla="*/ 2147483647 h 335"/>
              <a:gd name="T34" fmla="*/ 2147483647 w 213"/>
              <a:gd name="T35" fmla="*/ 2147483647 h 335"/>
              <a:gd name="T36" fmla="*/ 2147483647 w 213"/>
              <a:gd name="T37" fmla="*/ 2147483647 h 335"/>
              <a:gd name="T38" fmla="*/ 2147483647 w 213"/>
              <a:gd name="T39" fmla="*/ 2147483647 h 335"/>
              <a:gd name="T40" fmla="*/ 2147483647 w 213"/>
              <a:gd name="T41" fmla="*/ 2147483647 h 335"/>
              <a:gd name="T42" fmla="*/ 2147483647 w 213"/>
              <a:gd name="T43" fmla="*/ 2147483647 h 335"/>
              <a:gd name="T44" fmla="*/ 2147483647 w 213"/>
              <a:gd name="T45" fmla="*/ 2147483647 h 335"/>
              <a:gd name="T46" fmla="*/ 2147483647 w 213"/>
              <a:gd name="T47" fmla="*/ 2147483647 h 335"/>
              <a:gd name="T48" fmla="*/ 2147483647 w 213"/>
              <a:gd name="T49" fmla="*/ 2147483647 h 335"/>
              <a:gd name="T50" fmla="*/ 2147483647 w 213"/>
              <a:gd name="T51" fmla="*/ 2147483647 h 335"/>
              <a:gd name="T52" fmla="*/ 2147483647 w 213"/>
              <a:gd name="T53" fmla="*/ 2147483647 h 335"/>
              <a:gd name="T54" fmla="*/ 2147483647 w 213"/>
              <a:gd name="T55" fmla="*/ 2147483647 h 335"/>
              <a:gd name="T56" fmla="*/ 2147483647 w 213"/>
              <a:gd name="T57" fmla="*/ 2147483647 h 335"/>
              <a:gd name="T58" fmla="*/ 2147483647 w 213"/>
              <a:gd name="T59" fmla="*/ 2147483647 h 335"/>
              <a:gd name="T60" fmla="*/ 2147483647 w 213"/>
              <a:gd name="T61" fmla="*/ 2147483647 h 335"/>
              <a:gd name="T62" fmla="*/ 2147483647 w 213"/>
              <a:gd name="T63" fmla="*/ 2147483647 h 335"/>
              <a:gd name="T64" fmla="*/ 2147483647 w 213"/>
              <a:gd name="T65" fmla="*/ 2147483647 h 335"/>
              <a:gd name="T66" fmla="*/ 2147483647 w 213"/>
              <a:gd name="T67" fmla="*/ 2147483647 h 335"/>
              <a:gd name="T68" fmla="*/ 2147483647 w 213"/>
              <a:gd name="T69" fmla="*/ 2147483647 h 335"/>
              <a:gd name="T70" fmla="*/ 2147483647 w 213"/>
              <a:gd name="T71" fmla="*/ 2147483647 h 335"/>
              <a:gd name="T72" fmla="*/ 2147483647 w 213"/>
              <a:gd name="T73" fmla="*/ 2147483647 h 335"/>
              <a:gd name="T74" fmla="*/ 2147483647 w 213"/>
              <a:gd name="T75" fmla="*/ 2147483647 h 335"/>
              <a:gd name="T76" fmla="*/ 2147483647 w 213"/>
              <a:gd name="T77" fmla="*/ 2147483647 h 335"/>
              <a:gd name="T78" fmla="*/ 2147483647 w 213"/>
              <a:gd name="T79" fmla="*/ 2147483647 h 335"/>
              <a:gd name="T80" fmla="*/ 2147483647 w 213"/>
              <a:gd name="T81" fmla="*/ 2147483647 h 335"/>
              <a:gd name="T82" fmla="*/ 2147483647 w 213"/>
              <a:gd name="T83" fmla="*/ 2147483647 h 335"/>
              <a:gd name="T84" fmla="*/ 2147483647 w 213"/>
              <a:gd name="T85" fmla="*/ 2147483647 h 335"/>
              <a:gd name="T86" fmla="*/ 2147483647 w 213"/>
              <a:gd name="T87" fmla="*/ 2147483647 h 335"/>
              <a:gd name="T88" fmla="*/ 2147483647 w 213"/>
              <a:gd name="T89" fmla="*/ 2147483647 h 335"/>
              <a:gd name="T90" fmla="*/ 2147483647 w 213"/>
              <a:gd name="T91" fmla="*/ 2147483647 h 3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3"/>
              <a:gd name="T139" fmla="*/ 0 h 335"/>
              <a:gd name="T140" fmla="*/ 213 w 213"/>
              <a:gd name="T141" fmla="*/ 335 h 335"/>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474 w 10000"/>
              <a:gd name="connsiteY54" fmla="*/ 59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876 w 10000"/>
              <a:gd name="connsiteY54" fmla="*/ 10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876 w 10000"/>
              <a:gd name="connsiteY54" fmla="*/ 419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181 w 10000"/>
              <a:gd name="connsiteY40" fmla="*/ 2083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112 w 10056"/>
              <a:gd name="connsiteY0" fmla="*/ 10730 h 10760"/>
              <a:gd name="connsiteX1" fmla="*/ 6206 w 10056"/>
              <a:gd name="connsiteY1" fmla="*/ 9894 h 10760"/>
              <a:gd name="connsiteX2" fmla="*/ 6488 w 10056"/>
              <a:gd name="connsiteY2" fmla="*/ 9088 h 10760"/>
              <a:gd name="connsiteX3" fmla="*/ 5690 w 10056"/>
              <a:gd name="connsiteY3" fmla="*/ 8909 h 10760"/>
              <a:gd name="connsiteX4" fmla="*/ 5455 w 10056"/>
              <a:gd name="connsiteY4" fmla="*/ 8730 h 10760"/>
              <a:gd name="connsiteX5" fmla="*/ 5079 w 10056"/>
              <a:gd name="connsiteY5" fmla="*/ 8820 h 10760"/>
              <a:gd name="connsiteX6" fmla="*/ 4751 w 10056"/>
              <a:gd name="connsiteY6" fmla="*/ 8253 h 10760"/>
              <a:gd name="connsiteX7" fmla="*/ 4187 w 10056"/>
              <a:gd name="connsiteY7" fmla="*/ 7894 h 10760"/>
              <a:gd name="connsiteX8" fmla="*/ 3765 w 10056"/>
              <a:gd name="connsiteY8" fmla="*/ 7924 h 10760"/>
              <a:gd name="connsiteX9" fmla="*/ 3859 w 10056"/>
              <a:gd name="connsiteY9" fmla="*/ 8103 h 10760"/>
              <a:gd name="connsiteX10" fmla="*/ 3389 w 10056"/>
              <a:gd name="connsiteY10" fmla="*/ 8133 h 10760"/>
              <a:gd name="connsiteX11" fmla="*/ 3342 w 10056"/>
              <a:gd name="connsiteY11" fmla="*/ 7447 h 10760"/>
              <a:gd name="connsiteX12" fmla="*/ 2591 w 10056"/>
              <a:gd name="connsiteY12" fmla="*/ 7417 h 10760"/>
              <a:gd name="connsiteX13" fmla="*/ 2685 w 10056"/>
              <a:gd name="connsiteY13" fmla="*/ 7118 h 10760"/>
              <a:gd name="connsiteX14" fmla="*/ 2356 w 10056"/>
              <a:gd name="connsiteY14" fmla="*/ 7029 h 10760"/>
              <a:gd name="connsiteX15" fmla="*/ 2169 w 10056"/>
              <a:gd name="connsiteY15" fmla="*/ 6521 h 10760"/>
              <a:gd name="connsiteX16" fmla="*/ 2497 w 10056"/>
              <a:gd name="connsiteY16" fmla="*/ 6372 h 10760"/>
              <a:gd name="connsiteX17" fmla="*/ 2967 w 10056"/>
              <a:gd name="connsiteY17" fmla="*/ 5984 h 10760"/>
              <a:gd name="connsiteX18" fmla="*/ 2685 w 10056"/>
              <a:gd name="connsiteY18" fmla="*/ 5775 h 10760"/>
              <a:gd name="connsiteX19" fmla="*/ 3248 w 10056"/>
              <a:gd name="connsiteY19" fmla="*/ 5447 h 10760"/>
              <a:gd name="connsiteX20" fmla="*/ 2685 w 10056"/>
              <a:gd name="connsiteY20" fmla="*/ 5447 h 10760"/>
              <a:gd name="connsiteX21" fmla="*/ 2685 w 10056"/>
              <a:gd name="connsiteY21" fmla="*/ 5088 h 10760"/>
              <a:gd name="connsiteX22" fmla="*/ 2873 w 10056"/>
              <a:gd name="connsiteY22" fmla="*/ 4521 h 10760"/>
              <a:gd name="connsiteX23" fmla="*/ 2638 w 10056"/>
              <a:gd name="connsiteY23" fmla="*/ 4044 h 10760"/>
              <a:gd name="connsiteX24" fmla="*/ 3344 w 10056"/>
              <a:gd name="connsiteY24" fmla="*/ 3532 h 10760"/>
              <a:gd name="connsiteX25" fmla="*/ 2946 w 10056"/>
              <a:gd name="connsiteY25" fmla="*/ 3342 h 10760"/>
              <a:gd name="connsiteX26" fmla="*/ 2676 w 10056"/>
              <a:gd name="connsiteY26" fmla="*/ 3260 h 10760"/>
              <a:gd name="connsiteX27" fmla="*/ 1981 w 10056"/>
              <a:gd name="connsiteY27" fmla="*/ 3357 h 10760"/>
              <a:gd name="connsiteX28" fmla="*/ 1743 w 10056"/>
              <a:gd name="connsiteY28" fmla="*/ 3336 h 10760"/>
              <a:gd name="connsiteX29" fmla="*/ 1371 w 10056"/>
              <a:gd name="connsiteY29" fmla="*/ 3118 h 10760"/>
              <a:gd name="connsiteX30" fmla="*/ 995 w 10056"/>
              <a:gd name="connsiteY30" fmla="*/ 2939 h 10760"/>
              <a:gd name="connsiteX31" fmla="*/ 225 w 10056"/>
              <a:gd name="connsiteY31" fmla="*/ 2950 h 10760"/>
              <a:gd name="connsiteX32" fmla="*/ 7 w 10056"/>
              <a:gd name="connsiteY32" fmla="*/ 2306 h 10760"/>
              <a:gd name="connsiteX33" fmla="*/ 244 w 10056"/>
              <a:gd name="connsiteY33" fmla="*/ 2820 h 10760"/>
              <a:gd name="connsiteX34" fmla="*/ 56 w 10056"/>
              <a:gd name="connsiteY34" fmla="*/ 2790 h 10760"/>
              <a:gd name="connsiteX35" fmla="*/ 414 w 10056"/>
              <a:gd name="connsiteY35" fmla="*/ 1986 h 10760"/>
              <a:gd name="connsiteX36" fmla="*/ 1063 w 10056"/>
              <a:gd name="connsiteY36" fmla="*/ 1999 h 10760"/>
              <a:gd name="connsiteX37" fmla="*/ 1840 w 10056"/>
              <a:gd name="connsiteY37" fmla="*/ 2461 h 10760"/>
              <a:gd name="connsiteX38" fmla="*/ 764 w 10056"/>
              <a:gd name="connsiteY38" fmla="*/ 2015 h 10760"/>
              <a:gd name="connsiteX39" fmla="*/ 1075 w 10056"/>
              <a:gd name="connsiteY39" fmla="*/ 2021 h 10760"/>
              <a:gd name="connsiteX40" fmla="*/ 1237 w 10056"/>
              <a:gd name="connsiteY40" fmla="*/ 2083 h 10760"/>
              <a:gd name="connsiteX41" fmla="*/ 2122 w 10056"/>
              <a:gd name="connsiteY41" fmla="*/ 2820 h 10760"/>
              <a:gd name="connsiteX42" fmla="*/ 1910 w 10056"/>
              <a:gd name="connsiteY42" fmla="*/ 2178 h 10760"/>
              <a:gd name="connsiteX43" fmla="*/ 2236 w 10056"/>
              <a:gd name="connsiteY43" fmla="*/ 1886 h 10760"/>
              <a:gd name="connsiteX44" fmla="*/ 2361 w 10056"/>
              <a:gd name="connsiteY44" fmla="*/ 1793 h 10760"/>
              <a:gd name="connsiteX45" fmla="*/ 3061 w 10056"/>
              <a:gd name="connsiteY45" fmla="*/ 1805 h 10760"/>
              <a:gd name="connsiteX46" fmla="*/ 2779 w 10056"/>
              <a:gd name="connsiteY46" fmla="*/ 1835 h 10760"/>
              <a:gd name="connsiteX47" fmla="*/ 2591 w 10056"/>
              <a:gd name="connsiteY47" fmla="*/ 1596 h 10760"/>
              <a:gd name="connsiteX48" fmla="*/ 2574 w 10056"/>
              <a:gd name="connsiteY48" fmla="*/ 1359 h 10760"/>
              <a:gd name="connsiteX49" fmla="*/ 2622 w 10056"/>
              <a:gd name="connsiteY49" fmla="*/ 1009 h 10760"/>
              <a:gd name="connsiteX50" fmla="*/ 2356 w 10056"/>
              <a:gd name="connsiteY50" fmla="*/ 1059 h 10760"/>
              <a:gd name="connsiteX51" fmla="*/ 2310 w 10056"/>
              <a:gd name="connsiteY51" fmla="*/ 879 h 10760"/>
              <a:gd name="connsiteX52" fmla="*/ 2425 w 10056"/>
              <a:gd name="connsiteY52" fmla="*/ 580 h 10760"/>
              <a:gd name="connsiteX53" fmla="*/ 2323 w 10056"/>
              <a:gd name="connsiteY53" fmla="*/ 0 h 10760"/>
              <a:gd name="connsiteX54" fmla="*/ 3621 w 10056"/>
              <a:gd name="connsiteY54" fmla="*/ 195 h 10760"/>
              <a:gd name="connsiteX55" fmla="*/ 4657 w 10056"/>
              <a:gd name="connsiteY55" fmla="*/ 1088 h 10760"/>
              <a:gd name="connsiteX56" fmla="*/ 4917 w 10056"/>
              <a:gd name="connsiteY56" fmla="*/ 1091 h 10760"/>
              <a:gd name="connsiteX57" fmla="*/ 4983 w 10056"/>
              <a:gd name="connsiteY57" fmla="*/ 1196 h 10760"/>
              <a:gd name="connsiteX58" fmla="*/ 5199 w 10056"/>
              <a:gd name="connsiteY58" fmla="*/ 1300 h 10760"/>
              <a:gd name="connsiteX59" fmla="*/ 5640 w 10056"/>
              <a:gd name="connsiteY59" fmla="*/ 1256 h 10760"/>
              <a:gd name="connsiteX60" fmla="*/ 5690 w 10056"/>
              <a:gd name="connsiteY60" fmla="*/ 1745 h 10760"/>
              <a:gd name="connsiteX61" fmla="*/ 5971 w 10056"/>
              <a:gd name="connsiteY61" fmla="*/ 1596 h 10760"/>
              <a:gd name="connsiteX62" fmla="*/ 6159 w 10056"/>
              <a:gd name="connsiteY62" fmla="*/ 1924 h 10760"/>
              <a:gd name="connsiteX63" fmla="*/ 5737 w 10056"/>
              <a:gd name="connsiteY63" fmla="*/ 2163 h 10760"/>
              <a:gd name="connsiteX64" fmla="*/ 6065 w 10056"/>
              <a:gd name="connsiteY64" fmla="*/ 2282 h 10760"/>
              <a:gd name="connsiteX65" fmla="*/ 5971 w 10056"/>
              <a:gd name="connsiteY65" fmla="*/ 2700 h 10760"/>
              <a:gd name="connsiteX66" fmla="*/ 6866 w 10056"/>
              <a:gd name="connsiteY66" fmla="*/ 3130 h 10760"/>
              <a:gd name="connsiteX67" fmla="*/ 5479 w 10056"/>
              <a:gd name="connsiteY67" fmla="*/ 3332 h 10760"/>
              <a:gd name="connsiteX68" fmla="*/ 5732 w 10056"/>
              <a:gd name="connsiteY68" fmla="*/ 3764 h 10760"/>
              <a:gd name="connsiteX69" fmla="*/ 6159 w 10056"/>
              <a:gd name="connsiteY69" fmla="*/ 3715 h 10760"/>
              <a:gd name="connsiteX70" fmla="*/ 5690 w 10056"/>
              <a:gd name="connsiteY70" fmla="*/ 3805 h 10760"/>
              <a:gd name="connsiteX71" fmla="*/ 6022 w 10056"/>
              <a:gd name="connsiteY71" fmla="*/ 3949 h 10760"/>
              <a:gd name="connsiteX72" fmla="*/ 5923 w 10056"/>
              <a:gd name="connsiteY72" fmla="*/ 4185 h 10760"/>
              <a:gd name="connsiteX73" fmla="*/ 6206 w 10056"/>
              <a:gd name="connsiteY73" fmla="*/ 4909 h 10760"/>
              <a:gd name="connsiteX74" fmla="*/ 5596 w 10056"/>
              <a:gd name="connsiteY74" fmla="*/ 4939 h 10760"/>
              <a:gd name="connsiteX75" fmla="*/ 5596 w 10056"/>
              <a:gd name="connsiteY75" fmla="*/ 5357 h 10760"/>
              <a:gd name="connsiteX76" fmla="*/ 4657 w 10056"/>
              <a:gd name="connsiteY76" fmla="*/ 5775 h 10760"/>
              <a:gd name="connsiteX77" fmla="*/ 4939 w 10056"/>
              <a:gd name="connsiteY77" fmla="*/ 6163 h 10760"/>
              <a:gd name="connsiteX78" fmla="*/ 4704 w 10056"/>
              <a:gd name="connsiteY78" fmla="*/ 6521 h 10760"/>
              <a:gd name="connsiteX79" fmla="*/ 5502 w 10056"/>
              <a:gd name="connsiteY79" fmla="*/ 7208 h 10760"/>
              <a:gd name="connsiteX80" fmla="*/ 6629 w 10056"/>
              <a:gd name="connsiteY80" fmla="*/ 7208 h 10760"/>
              <a:gd name="connsiteX81" fmla="*/ 7286 w 10056"/>
              <a:gd name="connsiteY81" fmla="*/ 7088 h 10760"/>
              <a:gd name="connsiteX82" fmla="*/ 7849 w 10056"/>
              <a:gd name="connsiteY82" fmla="*/ 7238 h 10760"/>
              <a:gd name="connsiteX83" fmla="*/ 8319 w 10056"/>
              <a:gd name="connsiteY83" fmla="*/ 7626 h 10760"/>
              <a:gd name="connsiteX84" fmla="*/ 8694 w 10056"/>
              <a:gd name="connsiteY84" fmla="*/ 8372 h 10760"/>
              <a:gd name="connsiteX85" fmla="*/ 9070 w 10056"/>
              <a:gd name="connsiteY85" fmla="*/ 8342 h 10760"/>
              <a:gd name="connsiteX86" fmla="*/ 10056 w 10056"/>
              <a:gd name="connsiteY86" fmla="*/ 9088 h 10760"/>
              <a:gd name="connsiteX87" fmla="*/ 8882 w 10056"/>
              <a:gd name="connsiteY87" fmla="*/ 9894 h 10760"/>
              <a:gd name="connsiteX88" fmla="*/ 9352 w 10056"/>
              <a:gd name="connsiteY88" fmla="*/ 10491 h 10760"/>
              <a:gd name="connsiteX89" fmla="*/ 9164 w 10056"/>
              <a:gd name="connsiteY89" fmla="*/ 10730 h 10760"/>
              <a:gd name="connsiteX90" fmla="*/ 8882 w 10056"/>
              <a:gd name="connsiteY90" fmla="*/ 10491 h 10760"/>
              <a:gd name="connsiteX91" fmla="*/ 7004 w 10056"/>
              <a:gd name="connsiteY91" fmla="*/ 10461 h 10760"/>
              <a:gd name="connsiteX92" fmla="*/ 6676 w 10056"/>
              <a:gd name="connsiteY92" fmla="*/ 10760 h 10760"/>
              <a:gd name="connsiteX93" fmla="*/ 6112 w 10056"/>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2231 w 10165"/>
              <a:gd name="connsiteY41" fmla="*/ 2820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0165" h="10760">
                <a:moveTo>
                  <a:pt x="6221" y="10730"/>
                </a:moveTo>
                <a:cubicBezTo>
                  <a:pt x="6252" y="10451"/>
                  <a:pt x="6284" y="10173"/>
                  <a:pt x="6315" y="9894"/>
                </a:cubicBezTo>
                <a:lnTo>
                  <a:pt x="6597" y="9088"/>
                </a:lnTo>
                <a:lnTo>
                  <a:pt x="5799" y="8909"/>
                </a:lnTo>
                <a:lnTo>
                  <a:pt x="5564" y="8730"/>
                </a:lnTo>
                <a:lnTo>
                  <a:pt x="5188" y="8820"/>
                </a:lnTo>
                <a:lnTo>
                  <a:pt x="4860" y="8253"/>
                </a:lnTo>
                <a:lnTo>
                  <a:pt x="4296" y="7894"/>
                </a:lnTo>
                <a:lnTo>
                  <a:pt x="3874" y="7924"/>
                </a:lnTo>
                <a:cubicBezTo>
                  <a:pt x="3905" y="7984"/>
                  <a:pt x="3937" y="8043"/>
                  <a:pt x="3968" y="8103"/>
                </a:cubicBezTo>
                <a:lnTo>
                  <a:pt x="3498" y="8133"/>
                </a:lnTo>
                <a:cubicBezTo>
                  <a:pt x="3482" y="7904"/>
                  <a:pt x="3467" y="7676"/>
                  <a:pt x="3451" y="7447"/>
                </a:cubicBezTo>
                <a:lnTo>
                  <a:pt x="2700" y="7417"/>
                </a:lnTo>
                <a:cubicBezTo>
                  <a:pt x="2731" y="7317"/>
                  <a:pt x="2763" y="7218"/>
                  <a:pt x="2794" y="7118"/>
                </a:cubicBezTo>
                <a:lnTo>
                  <a:pt x="2465" y="7029"/>
                </a:lnTo>
                <a:lnTo>
                  <a:pt x="2278" y="6521"/>
                </a:lnTo>
                <a:lnTo>
                  <a:pt x="2606" y="6372"/>
                </a:lnTo>
                <a:lnTo>
                  <a:pt x="3076" y="5984"/>
                </a:lnTo>
                <a:lnTo>
                  <a:pt x="2794" y="5775"/>
                </a:lnTo>
                <a:lnTo>
                  <a:pt x="3357" y="5447"/>
                </a:lnTo>
                <a:lnTo>
                  <a:pt x="2794" y="5447"/>
                </a:lnTo>
                <a:lnTo>
                  <a:pt x="2794" y="5088"/>
                </a:lnTo>
                <a:cubicBezTo>
                  <a:pt x="2857" y="4899"/>
                  <a:pt x="2919" y="4710"/>
                  <a:pt x="2982" y="4521"/>
                </a:cubicBezTo>
                <a:lnTo>
                  <a:pt x="2747" y="4044"/>
                </a:lnTo>
                <a:lnTo>
                  <a:pt x="3453" y="3532"/>
                </a:lnTo>
                <a:lnTo>
                  <a:pt x="3055" y="3342"/>
                </a:lnTo>
                <a:lnTo>
                  <a:pt x="2785" y="3260"/>
                </a:lnTo>
                <a:lnTo>
                  <a:pt x="2078" y="3486"/>
                </a:lnTo>
                <a:cubicBezTo>
                  <a:pt x="2047" y="3406"/>
                  <a:pt x="1883" y="3416"/>
                  <a:pt x="1852" y="3336"/>
                </a:cubicBezTo>
                <a:lnTo>
                  <a:pt x="1480" y="3118"/>
                </a:lnTo>
                <a:lnTo>
                  <a:pt x="793" y="3070"/>
                </a:lnTo>
                <a:lnTo>
                  <a:pt x="334" y="2950"/>
                </a:lnTo>
                <a:cubicBezTo>
                  <a:pt x="397" y="2851"/>
                  <a:pt x="-57" y="2415"/>
                  <a:pt x="6" y="2316"/>
                </a:cubicBezTo>
                <a:cubicBezTo>
                  <a:pt x="24" y="2493"/>
                  <a:pt x="335" y="2643"/>
                  <a:pt x="353" y="2820"/>
                </a:cubicBezTo>
                <a:lnTo>
                  <a:pt x="165" y="2790"/>
                </a:lnTo>
                <a:lnTo>
                  <a:pt x="523" y="1986"/>
                </a:lnTo>
                <a:lnTo>
                  <a:pt x="1172" y="1999"/>
                </a:lnTo>
                <a:cubicBezTo>
                  <a:pt x="1541" y="2143"/>
                  <a:pt x="1690" y="2307"/>
                  <a:pt x="1949" y="2461"/>
                </a:cubicBezTo>
                <a:lnTo>
                  <a:pt x="873" y="2015"/>
                </a:lnTo>
                <a:cubicBezTo>
                  <a:pt x="857" y="2045"/>
                  <a:pt x="1200" y="1991"/>
                  <a:pt x="1184" y="2021"/>
                </a:cubicBezTo>
                <a:lnTo>
                  <a:pt x="1346" y="2083"/>
                </a:lnTo>
                <a:cubicBezTo>
                  <a:pt x="1504" y="2205"/>
                  <a:pt x="1508" y="2111"/>
                  <a:pt x="1821" y="2449"/>
                </a:cubicBezTo>
                <a:cubicBezTo>
                  <a:pt x="1750" y="2235"/>
                  <a:pt x="2090" y="2392"/>
                  <a:pt x="2019" y="2178"/>
                </a:cubicBezTo>
                <a:lnTo>
                  <a:pt x="2345" y="1886"/>
                </a:lnTo>
                <a:lnTo>
                  <a:pt x="2470" y="1793"/>
                </a:lnTo>
                <a:lnTo>
                  <a:pt x="3170" y="1805"/>
                </a:lnTo>
                <a:lnTo>
                  <a:pt x="2888" y="1835"/>
                </a:lnTo>
                <a:lnTo>
                  <a:pt x="2700" y="1596"/>
                </a:lnTo>
                <a:cubicBezTo>
                  <a:pt x="2694" y="1517"/>
                  <a:pt x="2689" y="1438"/>
                  <a:pt x="2683" y="1359"/>
                </a:cubicBezTo>
                <a:cubicBezTo>
                  <a:pt x="2736" y="1239"/>
                  <a:pt x="2678" y="1129"/>
                  <a:pt x="2731" y="1009"/>
                </a:cubicBezTo>
                <a:lnTo>
                  <a:pt x="2465" y="1059"/>
                </a:lnTo>
                <a:cubicBezTo>
                  <a:pt x="2450" y="999"/>
                  <a:pt x="2434" y="939"/>
                  <a:pt x="2419" y="879"/>
                </a:cubicBezTo>
                <a:cubicBezTo>
                  <a:pt x="2457" y="779"/>
                  <a:pt x="2496" y="680"/>
                  <a:pt x="2534" y="580"/>
                </a:cubicBezTo>
                <a:lnTo>
                  <a:pt x="2432" y="0"/>
                </a:lnTo>
                <a:lnTo>
                  <a:pt x="3730" y="195"/>
                </a:lnTo>
                <a:lnTo>
                  <a:pt x="4766" y="1088"/>
                </a:lnTo>
                <a:cubicBezTo>
                  <a:pt x="4797" y="1188"/>
                  <a:pt x="4995" y="991"/>
                  <a:pt x="5026" y="1091"/>
                </a:cubicBezTo>
                <a:lnTo>
                  <a:pt x="5092" y="1196"/>
                </a:lnTo>
                <a:cubicBezTo>
                  <a:pt x="5186" y="1176"/>
                  <a:pt x="5214" y="1320"/>
                  <a:pt x="5308" y="1300"/>
                </a:cubicBezTo>
                <a:lnTo>
                  <a:pt x="5749" y="1256"/>
                </a:lnTo>
                <a:cubicBezTo>
                  <a:pt x="5773" y="1393"/>
                  <a:pt x="5775" y="1608"/>
                  <a:pt x="5799" y="1745"/>
                </a:cubicBezTo>
                <a:lnTo>
                  <a:pt x="6080" y="1596"/>
                </a:lnTo>
                <a:cubicBezTo>
                  <a:pt x="6143" y="1705"/>
                  <a:pt x="6205" y="1815"/>
                  <a:pt x="6268" y="1924"/>
                </a:cubicBezTo>
                <a:lnTo>
                  <a:pt x="5846" y="2163"/>
                </a:lnTo>
                <a:lnTo>
                  <a:pt x="6174" y="2282"/>
                </a:lnTo>
                <a:cubicBezTo>
                  <a:pt x="6143" y="2421"/>
                  <a:pt x="6111" y="2561"/>
                  <a:pt x="6080" y="2700"/>
                </a:cubicBezTo>
                <a:lnTo>
                  <a:pt x="6975" y="3130"/>
                </a:lnTo>
                <a:lnTo>
                  <a:pt x="5588" y="3332"/>
                </a:lnTo>
                <a:lnTo>
                  <a:pt x="5841" y="3764"/>
                </a:lnTo>
                <a:lnTo>
                  <a:pt x="6268" y="3715"/>
                </a:lnTo>
                <a:lnTo>
                  <a:pt x="5799" y="3805"/>
                </a:lnTo>
                <a:cubicBezTo>
                  <a:pt x="5830" y="3894"/>
                  <a:pt x="6100" y="3860"/>
                  <a:pt x="6131" y="3949"/>
                </a:cubicBezTo>
                <a:cubicBezTo>
                  <a:pt x="6098" y="4028"/>
                  <a:pt x="6065" y="4106"/>
                  <a:pt x="6032" y="4185"/>
                </a:cubicBezTo>
                <a:cubicBezTo>
                  <a:pt x="6063" y="4424"/>
                  <a:pt x="6284" y="4670"/>
                  <a:pt x="6315" y="4909"/>
                </a:cubicBezTo>
                <a:lnTo>
                  <a:pt x="5705" y="4939"/>
                </a:lnTo>
                <a:lnTo>
                  <a:pt x="5705" y="5357"/>
                </a:lnTo>
                <a:lnTo>
                  <a:pt x="4766" y="5775"/>
                </a:lnTo>
                <a:lnTo>
                  <a:pt x="5048" y="6163"/>
                </a:lnTo>
                <a:lnTo>
                  <a:pt x="4813" y="6521"/>
                </a:lnTo>
                <a:lnTo>
                  <a:pt x="5611" y="7208"/>
                </a:lnTo>
                <a:lnTo>
                  <a:pt x="6738" y="7208"/>
                </a:lnTo>
                <a:lnTo>
                  <a:pt x="7395" y="7088"/>
                </a:lnTo>
                <a:lnTo>
                  <a:pt x="7958" y="7238"/>
                </a:lnTo>
                <a:lnTo>
                  <a:pt x="8428" y="7626"/>
                </a:lnTo>
                <a:lnTo>
                  <a:pt x="8803" y="8372"/>
                </a:lnTo>
                <a:lnTo>
                  <a:pt x="9179" y="8342"/>
                </a:lnTo>
                <a:lnTo>
                  <a:pt x="10165" y="9088"/>
                </a:lnTo>
                <a:lnTo>
                  <a:pt x="8991" y="9894"/>
                </a:lnTo>
                <a:lnTo>
                  <a:pt x="9461" y="10491"/>
                </a:lnTo>
                <a:lnTo>
                  <a:pt x="9273" y="10730"/>
                </a:lnTo>
                <a:lnTo>
                  <a:pt x="8991" y="10491"/>
                </a:lnTo>
                <a:lnTo>
                  <a:pt x="7113" y="10461"/>
                </a:lnTo>
                <a:lnTo>
                  <a:pt x="6785" y="10760"/>
                </a:lnTo>
                <a:lnTo>
                  <a:pt x="6221" y="1073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8" name="He"/>
          <p:cNvSpPr>
            <a:spLocks/>
          </p:cNvSpPr>
          <p:nvPr/>
        </p:nvSpPr>
        <p:spPr bwMode="auto">
          <a:xfrm rot="460133">
            <a:off x="5854700" y="3278188"/>
            <a:ext cx="508000" cy="701675"/>
          </a:xfrm>
          <a:custGeom>
            <a:avLst/>
            <a:gdLst>
              <a:gd name="T0" fmla="*/ 2147483647 w 139"/>
              <a:gd name="T1" fmla="*/ 2147483647 h 201"/>
              <a:gd name="T2" fmla="*/ 2147483647 w 139"/>
              <a:gd name="T3" fmla="*/ 2147483647 h 201"/>
              <a:gd name="T4" fmla="*/ 2147483647 w 139"/>
              <a:gd name="T5" fmla="*/ 2147483647 h 201"/>
              <a:gd name="T6" fmla="*/ 2147483647 w 139"/>
              <a:gd name="T7" fmla="*/ 2147483647 h 201"/>
              <a:gd name="T8" fmla="*/ 0 w 139"/>
              <a:gd name="T9" fmla="*/ 2147483647 h 201"/>
              <a:gd name="T10" fmla="*/ 2147483647 w 139"/>
              <a:gd name="T11" fmla="*/ 2147483647 h 201"/>
              <a:gd name="T12" fmla="*/ 0 w 139"/>
              <a:gd name="T13" fmla="*/ 2147483647 h 201"/>
              <a:gd name="T14" fmla="*/ 2147483647 w 139"/>
              <a:gd name="T15" fmla="*/ 2147483647 h 201"/>
              <a:gd name="T16" fmla="*/ 2147483647 w 139"/>
              <a:gd name="T17" fmla="*/ 2147483647 h 201"/>
              <a:gd name="T18" fmla="*/ 2147483647 w 139"/>
              <a:gd name="T19" fmla="*/ 2147483647 h 201"/>
              <a:gd name="T20" fmla="*/ 2147483647 w 139"/>
              <a:gd name="T21" fmla="*/ 2147483647 h 201"/>
              <a:gd name="T22" fmla="*/ 2147483647 w 139"/>
              <a:gd name="T23" fmla="*/ 2147483647 h 201"/>
              <a:gd name="T24" fmla="*/ 2147483647 w 139"/>
              <a:gd name="T25" fmla="*/ 2147483647 h 201"/>
              <a:gd name="T26" fmla="*/ 2147483647 w 139"/>
              <a:gd name="T27" fmla="*/ 2147483647 h 201"/>
              <a:gd name="T28" fmla="*/ 2147483647 w 139"/>
              <a:gd name="T29" fmla="*/ 2147483647 h 201"/>
              <a:gd name="T30" fmla="*/ 2147483647 w 139"/>
              <a:gd name="T31" fmla="*/ 2147483647 h 201"/>
              <a:gd name="T32" fmla="*/ 2147483647 w 139"/>
              <a:gd name="T33" fmla="*/ 2147483647 h 201"/>
              <a:gd name="T34" fmla="*/ 2147483647 w 139"/>
              <a:gd name="T35" fmla="*/ 2147483647 h 201"/>
              <a:gd name="T36" fmla="*/ 2147483647 w 139"/>
              <a:gd name="T37" fmla="*/ 2147483647 h 201"/>
              <a:gd name="T38" fmla="*/ 2147483647 w 139"/>
              <a:gd name="T39" fmla="*/ 2147483647 h 201"/>
              <a:gd name="T40" fmla="*/ 2147483647 w 139"/>
              <a:gd name="T41" fmla="*/ 2147483647 h 201"/>
              <a:gd name="T42" fmla="*/ 2147483647 w 139"/>
              <a:gd name="T43" fmla="*/ 2147483647 h 201"/>
              <a:gd name="T44" fmla="*/ 2147483647 w 139"/>
              <a:gd name="T45" fmla="*/ 2147483647 h 201"/>
              <a:gd name="T46" fmla="*/ 2147483647 w 139"/>
              <a:gd name="T47" fmla="*/ 2147483647 h 201"/>
              <a:gd name="T48" fmla="*/ 2147483647 w 139"/>
              <a:gd name="T49" fmla="*/ 2147483647 h 201"/>
              <a:gd name="T50" fmla="*/ 2147483647 w 139"/>
              <a:gd name="T51" fmla="*/ 2147483647 h 201"/>
              <a:gd name="T52" fmla="*/ 2147483647 w 139"/>
              <a:gd name="T53" fmla="*/ 2147483647 h 201"/>
              <a:gd name="T54" fmla="*/ 2147483647 w 139"/>
              <a:gd name="T55" fmla="*/ 2147483647 h 201"/>
              <a:gd name="T56" fmla="*/ 2147483647 w 139"/>
              <a:gd name="T57" fmla="*/ 2147483647 h 201"/>
              <a:gd name="T58" fmla="*/ 2147483647 w 139"/>
              <a:gd name="T59" fmla="*/ 0 h 201"/>
              <a:gd name="T60" fmla="*/ 2147483647 w 139"/>
              <a:gd name="T61" fmla="*/ 2147483647 h 201"/>
              <a:gd name="T62" fmla="*/ 2147483647 w 139"/>
              <a:gd name="T63" fmla="*/ 2147483647 h 201"/>
              <a:gd name="T64" fmla="*/ 2147483647 w 139"/>
              <a:gd name="T65" fmla="*/ 2147483647 h 201"/>
              <a:gd name="T66" fmla="*/ 2147483647 w 139"/>
              <a:gd name="T67" fmla="*/ 2147483647 h 201"/>
              <a:gd name="T68" fmla="*/ 2147483647 w 139"/>
              <a:gd name="T69" fmla="*/ 2147483647 h 201"/>
              <a:gd name="T70" fmla="*/ 2147483647 w 139"/>
              <a:gd name="T71" fmla="*/ 2147483647 h 201"/>
              <a:gd name="T72" fmla="*/ 2147483647 w 139"/>
              <a:gd name="T73" fmla="*/ 2147483647 h 201"/>
              <a:gd name="T74" fmla="*/ 2147483647 w 139"/>
              <a:gd name="T75" fmla="*/ 2147483647 h 201"/>
              <a:gd name="T76" fmla="*/ 2147483647 w 139"/>
              <a:gd name="T77" fmla="*/ 2147483647 h 201"/>
              <a:gd name="T78" fmla="*/ 2147483647 w 139"/>
              <a:gd name="T79" fmla="*/ 2147483647 h 201"/>
              <a:gd name="T80" fmla="*/ 2147483647 w 139"/>
              <a:gd name="T81" fmla="*/ 2147483647 h 201"/>
              <a:gd name="T82" fmla="*/ 2147483647 w 139"/>
              <a:gd name="T83" fmla="*/ 2147483647 h 201"/>
              <a:gd name="T84" fmla="*/ 2147483647 w 139"/>
              <a:gd name="T85" fmla="*/ 2147483647 h 201"/>
              <a:gd name="T86" fmla="*/ 2147483647 w 139"/>
              <a:gd name="T87" fmla="*/ 2147483647 h 201"/>
              <a:gd name="T88" fmla="*/ 2147483647 w 139"/>
              <a:gd name="T89" fmla="*/ 2147483647 h 201"/>
              <a:gd name="T90" fmla="*/ 2147483647 w 139"/>
              <a:gd name="T91" fmla="*/ 2147483647 h 201"/>
              <a:gd name="T92" fmla="*/ 2147483647 w 139"/>
              <a:gd name="T93" fmla="*/ 2147483647 h 201"/>
              <a:gd name="T94" fmla="*/ 2147483647 w 139"/>
              <a:gd name="T95" fmla="*/ 2147483647 h 2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9"/>
              <a:gd name="T145" fmla="*/ 0 h 201"/>
              <a:gd name="T146" fmla="*/ 139 w 139"/>
              <a:gd name="T147" fmla="*/ 201 h 201"/>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957 w 10000"/>
              <a:gd name="connsiteY23" fmla="*/ 1294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201 w 10000"/>
              <a:gd name="connsiteY22" fmla="*/ 1467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1921 w 10000"/>
              <a:gd name="connsiteY9" fmla="*/ 5874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163 w 10000"/>
              <a:gd name="connsiteY7" fmla="*/ 6932 h 10000"/>
              <a:gd name="connsiteX8" fmla="*/ 1439 w 10000"/>
              <a:gd name="connsiteY8" fmla="*/ 6866 h 10000"/>
              <a:gd name="connsiteX9" fmla="*/ 1367 w 10000"/>
              <a:gd name="connsiteY9" fmla="*/ 6169 h 10000"/>
              <a:gd name="connsiteX10" fmla="*/ 1921 w 10000"/>
              <a:gd name="connsiteY10" fmla="*/ 5874 h 10000"/>
              <a:gd name="connsiteX11" fmla="*/ 1816 w 10000"/>
              <a:gd name="connsiteY11" fmla="*/ 4909 h 10000"/>
              <a:gd name="connsiteX12" fmla="*/ 1727 w 10000"/>
              <a:gd name="connsiteY12" fmla="*/ 4726 h 10000"/>
              <a:gd name="connsiteX13" fmla="*/ 1583 w 10000"/>
              <a:gd name="connsiteY13" fmla="*/ 4279 h 10000"/>
              <a:gd name="connsiteX14" fmla="*/ 2374 w 10000"/>
              <a:gd name="connsiteY14" fmla="*/ 4080 h 10000"/>
              <a:gd name="connsiteX15" fmla="*/ 2854 w 10000"/>
              <a:gd name="connsiteY15" fmla="*/ 3932 h 10000"/>
              <a:gd name="connsiteX16" fmla="*/ 3251 w 10000"/>
              <a:gd name="connsiteY16" fmla="*/ 4051 h 10000"/>
              <a:gd name="connsiteX17" fmla="*/ 1002 w 10000"/>
              <a:gd name="connsiteY17" fmla="*/ 2972 h 10000"/>
              <a:gd name="connsiteX18" fmla="*/ 2014 w 10000"/>
              <a:gd name="connsiteY18" fmla="*/ 2388 h 10000"/>
              <a:gd name="connsiteX19" fmla="*/ 1599 w 10000"/>
              <a:gd name="connsiteY19" fmla="*/ 2202 h 10000"/>
              <a:gd name="connsiteX20" fmla="*/ 2086 w 10000"/>
              <a:gd name="connsiteY20" fmla="*/ 1741 h 10000"/>
              <a:gd name="connsiteX21" fmla="*/ 2446 w 10000"/>
              <a:gd name="connsiteY21" fmla="*/ 1542 h 10000"/>
              <a:gd name="connsiteX22" fmla="*/ 2734 w 10000"/>
              <a:gd name="connsiteY22" fmla="*/ 1542 h 10000"/>
              <a:gd name="connsiteX23" fmla="*/ 2878 w 10000"/>
              <a:gd name="connsiteY23" fmla="*/ 1741 h 10000"/>
              <a:gd name="connsiteX24" fmla="*/ 3201 w 10000"/>
              <a:gd name="connsiteY24" fmla="*/ 1467 h 10000"/>
              <a:gd name="connsiteX25" fmla="*/ 3618 w 10000"/>
              <a:gd name="connsiteY25" fmla="*/ 1038 h 10000"/>
              <a:gd name="connsiteX26" fmla="*/ 4427 w 10000"/>
              <a:gd name="connsiteY26" fmla="*/ 656 h 10000"/>
              <a:gd name="connsiteX27" fmla="*/ 5540 w 10000"/>
              <a:gd name="connsiteY27" fmla="*/ 547 h 10000"/>
              <a:gd name="connsiteX28" fmla="*/ 6475 w 10000"/>
              <a:gd name="connsiteY28" fmla="*/ 597 h 10000"/>
              <a:gd name="connsiteX29" fmla="*/ 6763 w 10000"/>
              <a:gd name="connsiteY29" fmla="*/ 746 h 10000"/>
              <a:gd name="connsiteX30" fmla="*/ 6978 w 10000"/>
              <a:gd name="connsiteY30" fmla="*/ 348 h 10000"/>
              <a:gd name="connsiteX31" fmla="*/ 7410 w 10000"/>
              <a:gd name="connsiteY31" fmla="*/ 0 h 10000"/>
              <a:gd name="connsiteX32" fmla="*/ 7554 w 10000"/>
              <a:gd name="connsiteY32" fmla="*/ 249 h 10000"/>
              <a:gd name="connsiteX33" fmla="*/ 7986 w 10000"/>
              <a:gd name="connsiteY33" fmla="*/ 299 h 10000"/>
              <a:gd name="connsiteX34" fmla="*/ 8129 w 10000"/>
              <a:gd name="connsiteY34" fmla="*/ 746 h 10000"/>
              <a:gd name="connsiteX35" fmla="*/ 7626 w 10000"/>
              <a:gd name="connsiteY35" fmla="*/ 896 h 10000"/>
              <a:gd name="connsiteX36" fmla="*/ 7338 w 10000"/>
              <a:gd name="connsiteY36" fmla="*/ 1194 h 10000"/>
              <a:gd name="connsiteX37" fmla="*/ 7482 w 10000"/>
              <a:gd name="connsiteY37" fmla="*/ 1393 h 10000"/>
              <a:gd name="connsiteX38" fmla="*/ 8273 w 10000"/>
              <a:gd name="connsiteY38" fmla="*/ 1194 h 10000"/>
              <a:gd name="connsiteX39" fmla="*/ 9209 w 10000"/>
              <a:gd name="connsiteY39" fmla="*/ 1791 h 10000"/>
              <a:gd name="connsiteX40" fmla="*/ 9209 w 10000"/>
              <a:gd name="connsiteY40" fmla="*/ 2139 h 10000"/>
              <a:gd name="connsiteX41" fmla="*/ 9353 w 10000"/>
              <a:gd name="connsiteY41" fmla="*/ 3980 h 10000"/>
              <a:gd name="connsiteX42" fmla="*/ 8921 w 10000"/>
              <a:gd name="connsiteY42" fmla="*/ 4229 h 10000"/>
              <a:gd name="connsiteX43" fmla="*/ 9856 w 10000"/>
              <a:gd name="connsiteY43" fmla="*/ 4975 h 10000"/>
              <a:gd name="connsiteX44" fmla="*/ 9496 w 10000"/>
              <a:gd name="connsiteY44" fmla="*/ 5423 h 10000"/>
              <a:gd name="connsiteX45" fmla="*/ 10000 w 10000"/>
              <a:gd name="connsiteY45" fmla="*/ 8557 h 10000"/>
              <a:gd name="connsiteX46" fmla="*/ 8705 w 10000"/>
              <a:gd name="connsiteY46" fmla="*/ 8259 h 10000"/>
              <a:gd name="connsiteX47" fmla="*/ 7770 w 10000"/>
              <a:gd name="connsiteY47" fmla="*/ 8955 h 10000"/>
              <a:gd name="connsiteX48" fmla="*/ 5252 w 10000"/>
              <a:gd name="connsiteY48" fmla="*/ 9552 h 10000"/>
              <a:gd name="connsiteX49" fmla="*/ 4748 w 10000"/>
              <a:gd name="connsiteY49" fmla="*/ 10000 h 10000"/>
              <a:gd name="connsiteX0" fmla="*/ 4748 w 10000"/>
              <a:gd name="connsiteY0" fmla="*/ 10000 h 10426"/>
              <a:gd name="connsiteX1" fmla="*/ 4029 w 10000"/>
              <a:gd name="connsiteY1" fmla="*/ 9801 h 10426"/>
              <a:gd name="connsiteX2" fmla="*/ 3094 w 10000"/>
              <a:gd name="connsiteY2" fmla="*/ 9950 h 10426"/>
              <a:gd name="connsiteX3" fmla="*/ 1144 w 10000"/>
              <a:gd name="connsiteY3" fmla="*/ 10426 h 10426"/>
              <a:gd name="connsiteX4" fmla="*/ 0 w 10000"/>
              <a:gd name="connsiteY4" fmla="*/ 8856 h 10426"/>
              <a:gd name="connsiteX5" fmla="*/ 432 w 10000"/>
              <a:gd name="connsiteY5" fmla="*/ 8209 h 10426"/>
              <a:gd name="connsiteX6" fmla="*/ 0 w 10000"/>
              <a:gd name="connsiteY6" fmla="*/ 7512 h 10426"/>
              <a:gd name="connsiteX7" fmla="*/ 1163 w 10000"/>
              <a:gd name="connsiteY7" fmla="*/ 6932 h 10426"/>
              <a:gd name="connsiteX8" fmla="*/ 1439 w 10000"/>
              <a:gd name="connsiteY8" fmla="*/ 6866 h 10426"/>
              <a:gd name="connsiteX9" fmla="*/ 1367 w 10000"/>
              <a:gd name="connsiteY9" fmla="*/ 6169 h 10426"/>
              <a:gd name="connsiteX10" fmla="*/ 1921 w 10000"/>
              <a:gd name="connsiteY10" fmla="*/ 5874 h 10426"/>
              <a:gd name="connsiteX11" fmla="*/ 1816 w 10000"/>
              <a:gd name="connsiteY11" fmla="*/ 4909 h 10426"/>
              <a:gd name="connsiteX12" fmla="*/ 1727 w 10000"/>
              <a:gd name="connsiteY12" fmla="*/ 4726 h 10426"/>
              <a:gd name="connsiteX13" fmla="*/ 1583 w 10000"/>
              <a:gd name="connsiteY13" fmla="*/ 4279 h 10426"/>
              <a:gd name="connsiteX14" fmla="*/ 2374 w 10000"/>
              <a:gd name="connsiteY14" fmla="*/ 4080 h 10426"/>
              <a:gd name="connsiteX15" fmla="*/ 2854 w 10000"/>
              <a:gd name="connsiteY15" fmla="*/ 3932 h 10426"/>
              <a:gd name="connsiteX16" fmla="*/ 3251 w 10000"/>
              <a:gd name="connsiteY16" fmla="*/ 4051 h 10426"/>
              <a:gd name="connsiteX17" fmla="*/ 1002 w 10000"/>
              <a:gd name="connsiteY17" fmla="*/ 2972 h 10426"/>
              <a:gd name="connsiteX18" fmla="*/ 2014 w 10000"/>
              <a:gd name="connsiteY18" fmla="*/ 2388 h 10426"/>
              <a:gd name="connsiteX19" fmla="*/ 1599 w 10000"/>
              <a:gd name="connsiteY19" fmla="*/ 2202 h 10426"/>
              <a:gd name="connsiteX20" fmla="*/ 2086 w 10000"/>
              <a:gd name="connsiteY20" fmla="*/ 1741 h 10426"/>
              <a:gd name="connsiteX21" fmla="*/ 2446 w 10000"/>
              <a:gd name="connsiteY21" fmla="*/ 1542 h 10426"/>
              <a:gd name="connsiteX22" fmla="*/ 2734 w 10000"/>
              <a:gd name="connsiteY22" fmla="*/ 1542 h 10426"/>
              <a:gd name="connsiteX23" fmla="*/ 2878 w 10000"/>
              <a:gd name="connsiteY23" fmla="*/ 1741 h 10426"/>
              <a:gd name="connsiteX24" fmla="*/ 3201 w 10000"/>
              <a:gd name="connsiteY24" fmla="*/ 1467 h 10426"/>
              <a:gd name="connsiteX25" fmla="*/ 3618 w 10000"/>
              <a:gd name="connsiteY25" fmla="*/ 1038 h 10426"/>
              <a:gd name="connsiteX26" fmla="*/ 4427 w 10000"/>
              <a:gd name="connsiteY26" fmla="*/ 656 h 10426"/>
              <a:gd name="connsiteX27" fmla="*/ 5540 w 10000"/>
              <a:gd name="connsiteY27" fmla="*/ 547 h 10426"/>
              <a:gd name="connsiteX28" fmla="*/ 6475 w 10000"/>
              <a:gd name="connsiteY28" fmla="*/ 597 h 10426"/>
              <a:gd name="connsiteX29" fmla="*/ 6763 w 10000"/>
              <a:gd name="connsiteY29" fmla="*/ 746 h 10426"/>
              <a:gd name="connsiteX30" fmla="*/ 6978 w 10000"/>
              <a:gd name="connsiteY30" fmla="*/ 348 h 10426"/>
              <a:gd name="connsiteX31" fmla="*/ 7410 w 10000"/>
              <a:gd name="connsiteY31" fmla="*/ 0 h 10426"/>
              <a:gd name="connsiteX32" fmla="*/ 7554 w 10000"/>
              <a:gd name="connsiteY32" fmla="*/ 249 h 10426"/>
              <a:gd name="connsiteX33" fmla="*/ 7986 w 10000"/>
              <a:gd name="connsiteY33" fmla="*/ 299 h 10426"/>
              <a:gd name="connsiteX34" fmla="*/ 8129 w 10000"/>
              <a:gd name="connsiteY34" fmla="*/ 746 h 10426"/>
              <a:gd name="connsiteX35" fmla="*/ 7626 w 10000"/>
              <a:gd name="connsiteY35" fmla="*/ 896 h 10426"/>
              <a:gd name="connsiteX36" fmla="*/ 7338 w 10000"/>
              <a:gd name="connsiteY36" fmla="*/ 1194 h 10426"/>
              <a:gd name="connsiteX37" fmla="*/ 7482 w 10000"/>
              <a:gd name="connsiteY37" fmla="*/ 1393 h 10426"/>
              <a:gd name="connsiteX38" fmla="*/ 8273 w 10000"/>
              <a:gd name="connsiteY38" fmla="*/ 1194 h 10426"/>
              <a:gd name="connsiteX39" fmla="*/ 9209 w 10000"/>
              <a:gd name="connsiteY39" fmla="*/ 1791 h 10426"/>
              <a:gd name="connsiteX40" fmla="*/ 9209 w 10000"/>
              <a:gd name="connsiteY40" fmla="*/ 2139 h 10426"/>
              <a:gd name="connsiteX41" fmla="*/ 9353 w 10000"/>
              <a:gd name="connsiteY41" fmla="*/ 3980 h 10426"/>
              <a:gd name="connsiteX42" fmla="*/ 8921 w 10000"/>
              <a:gd name="connsiteY42" fmla="*/ 4229 h 10426"/>
              <a:gd name="connsiteX43" fmla="*/ 9856 w 10000"/>
              <a:gd name="connsiteY43" fmla="*/ 4975 h 10426"/>
              <a:gd name="connsiteX44" fmla="*/ 9496 w 10000"/>
              <a:gd name="connsiteY44" fmla="*/ 5423 h 10426"/>
              <a:gd name="connsiteX45" fmla="*/ 10000 w 10000"/>
              <a:gd name="connsiteY45" fmla="*/ 8557 h 10426"/>
              <a:gd name="connsiteX46" fmla="*/ 8705 w 10000"/>
              <a:gd name="connsiteY46" fmla="*/ 8259 h 10426"/>
              <a:gd name="connsiteX47" fmla="*/ 7770 w 10000"/>
              <a:gd name="connsiteY47" fmla="*/ 8955 h 10426"/>
              <a:gd name="connsiteX48" fmla="*/ 5252 w 10000"/>
              <a:gd name="connsiteY48" fmla="*/ 9552 h 10426"/>
              <a:gd name="connsiteX49" fmla="*/ 4748 w 10000"/>
              <a:gd name="connsiteY49" fmla="*/ 10000 h 10426"/>
              <a:gd name="connsiteX0" fmla="*/ 4748 w 10000"/>
              <a:gd name="connsiteY0" fmla="*/ 10000 h 10672"/>
              <a:gd name="connsiteX1" fmla="*/ 4029 w 10000"/>
              <a:gd name="connsiteY1" fmla="*/ 9801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6006 w 10000"/>
              <a:gd name="connsiteY48" fmla="*/ 9850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9409 w 10000"/>
              <a:gd name="connsiteY46" fmla="*/ 8603 h 10672"/>
              <a:gd name="connsiteX47" fmla="*/ 7770 w 10000"/>
              <a:gd name="connsiteY47" fmla="*/ 8955 h 10672"/>
              <a:gd name="connsiteX48" fmla="*/ 6006 w 10000"/>
              <a:gd name="connsiteY48" fmla="*/ 9850 h 10672"/>
              <a:gd name="connsiteX49" fmla="*/ 4748 w 10000"/>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856 w 10416"/>
              <a:gd name="connsiteY43" fmla="*/ 4975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740 w 10416"/>
              <a:gd name="connsiteY43" fmla="*/ 5891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8921 w 10815"/>
              <a:gd name="connsiteY42" fmla="*/ 422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9446 w 10815"/>
              <a:gd name="connsiteY42" fmla="*/ 454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15" h="10672">
                <a:moveTo>
                  <a:pt x="4748" y="10000"/>
                </a:moveTo>
                <a:lnTo>
                  <a:pt x="4627" y="10196"/>
                </a:lnTo>
                <a:lnTo>
                  <a:pt x="3289" y="10672"/>
                </a:lnTo>
                <a:lnTo>
                  <a:pt x="1144" y="10426"/>
                </a:lnTo>
                <a:lnTo>
                  <a:pt x="0" y="8856"/>
                </a:lnTo>
                <a:lnTo>
                  <a:pt x="432" y="8209"/>
                </a:lnTo>
                <a:lnTo>
                  <a:pt x="0" y="7512"/>
                </a:lnTo>
                <a:cubicBezTo>
                  <a:pt x="450" y="7340"/>
                  <a:pt x="713" y="7104"/>
                  <a:pt x="1163" y="6932"/>
                </a:cubicBezTo>
                <a:lnTo>
                  <a:pt x="1439" y="6866"/>
                </a:lnTo>
                <a:cubicBezTo>
                  <a:pt x="1415" y="6634"/>
                  <a:pt x="1391" y="6401"/>
                  <a:pt x="1367" y="6169"/>
                </a:cubicBezTo>
                <a:lnTo>
                  <a:pt x="1921" y="5874"/>
                </a:lnTo>
                <a:lnTo>
                  <a:pt x="1816" y="4909"/>
                </a:lnTo>
                <a:cubicBezTo>
                  <a:pt x="1786" y="4848"/>
                  <a:pt x="1757" y="4787"/>
                  <a:pt x="1727" y="4726"/>
                </a:cubicBezTo>
                <a:lnTo>
                  <a:pt x="1583" y="4279"/>
                </a:lnTo>
                <a:lnTo>
                  <a:pt x="2374" y="4080"/>
                </a:lnTo>
                <a:lnTo>
                  <a:pt x="2854" y="3932"/>
                </a:lnTo>
                <a:lnTo>
                  <a:pt x="3251" y="4051"/>
                </a:lnTo>
                <a:lnTo>
                  <a:pt x="1002" y="2972"/>
                </a:lnTo>
                <a:lnTo>
                  <a:pt x="2014" y="2388"/>
                </a:lnTo>
                <a:cubicBezTo>
                  <a:pt x="2132" y="2258"/>
                  <a:pt x="1587" y="2310"/>
                  <a:pt x="1599" y="2202"/>
                </a:cubicBezTo>
                <a:cubicBezTo>
                  <a:pt x="1611" y="2094"/>
                  <a:pt x="2013" y="1852"/>
                  <a:pt x="2086" y="1741"/>
                </a:cubicBezTo>
                <a:lnTo>
                  <a:pt x="2446" y="1542"/>
                </a:lnTo>
                <a:lnTo>
                  <a:pt x="2734" y="1542"/>
                </a:lnTo>
                <a:lnTo>
                  <a:pt x="2878" y="1741"/>
                </a:lnTo>
                <a:lnTo>
                  <a:pt x="3201" y="1467"/>
                </a:lnTo>
                <a:cubicBezTo>
                  <a:pt x="3232" y="1266"/>
                  <a:pt x="3587" y="1239"/>
                  <a:pt x="3618" y="1038"/>
                </a:cubicBezTo>
                <a:lnTo>
                  <a:pt x="4427" y="656"/>
                </a:lnTo>
                <a:lnTo>
                  <a:pt x="5540" y="547"/>
                </a:lnTo>
                <a:lnTo>
                  <a:pt x="6475" y="597"/>
                </a:lnTo>
                <a:lnTo>
                  <a:pt x="6763" y="746"/>
                </a:lnTo>
                <a:lnTo>
                  <a:pt x="6978" y="348"/>
                </a:lnTo>
                <a:lnTo>
                  <a:pt x="7410" y="0"/>
                </a:lnTo>
                <a:lnTo>
                  <a:pt x="7554" y="249"/>
                </a:lnTo>
                <a:lnTo>
                  <a:pt x="7986" y="299"/>
                </a:lnTo>
                <a:cubicBezTo>
                  <a:pt x="8034" y="448"/>
                  <a:pt x="8081" y="597"/>
                  <a:pt x="8129" y="746"/>
                </a:cubicBezTo>
                <a:lnTo>
                  <a:pt x="7626" y="896"/>
                </a:lnTo>
                <a:lnTo>
                  <a:pt x="7338" y="1194"/>
                </a:lnTo>
                <a:lnTo>
                  <a:pt x="7482" y="1393"/>
                </a:lnTo>
                <a:lnTo>
                  <a:pt x="8273" y="1194"/>
                </a:lnTo>
                <a:lnTo>
                  <a:pt x="9209" y="1791"/>
                </a:lnTo>
                <a:lnTo>
                  <a:pt x="9209" y="2139"/>
                </a:lnTo>
                <a:lnTo>
                  <a:pt x="9353" y="3980"/>
                </a:lnTo>
                <a:cubicBezTo>
                  <a:pt x="9384" y="4170"/>
                  <a:pt x="9415" y="4359"/>
                  <a:pt x="9446" y="4549"/>
                </a:cubicBezTo>
                <a:lnTo>
                  <a:pt x="9740" y="5891"/>
                </a:lnTo>
                <a:lnTo>
                  <a:pt x="10815" y="7477"/>
                </a:lnTo>
                <a:lnTo>
                  <a:pt x="10000" y="8557"/>
                </a:lnTo>
                <a:lnTo>
                  <a:pt x="9409" y="8603"/>
                </a:lnTo>
                <a:lnTo>
                  <a:pt x="7770" y="8955"/>
                </a:lnTo>
                <a:lnTo>
                  <a:pt x="6006" y="9850"/>
                </a:lnTo>
                <a:lnTo>
                  <a:pt x="4748" y="1000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9" name="EN"/>
          <p:cNvSpPr>
            <a:spLocks/>
          </p:cNvSpPr>
          <p:nvPr/>
        </p:nvSpPr>
        <p:spPr bwMode="auto">
          <a:xfrm rot="1238930">
            <a:off x="5492750" y="3975100"/>
            <a:ext cx="374650" cy="336550"/>
          </a:xfrm>
          <a:custGeom>
            <a:avLst/>
            <a:gdLst>
              <a:gd name="T0" fmla="*/ 2147483647 w 101"/>
              <a:gd name="T1" fmla="*/ 2147483647 h 92"/>
              <a:gd name="T2" fmla="*/ 2147483647 w 101"/>
              <a:gd name="T3" fmla="*/ 2147483647 h 92"/>
              <a:gd name="T4" fmla="*/ 2147483647 w 101"/>
              <a:gd name="T5" fmla="*/ 2147483647 h 92"/>
              <a:gd name="T6" fmla="*/ 2147483647 w 101"/>
              <a:gd name="T7" fmla="*/ 2147483647 h 92"/>
              <a:gd name="T8" fmla="*/ 2147483647 w 101"/>
              <a:gd name="T9" fmla="*/ 2147483647 h 92"/>
              <a:gd name="T10" fmla="*/ 2147483647 w 101"/>
              <a:gd name="T11" fmla="*/ 2147483647 h 92"/>
              <a:gd name="T12" fmla="*/ 2147483647 w 101"/>
              <a:gd name="T13" fmla="*/ 2147483647 h 92"/>
              <a:gd name="T14" fmla="*/ 2147483647 w 101"/>
              <a:gd name="T15" fmla="*/ 2147483647 h 92"/>
              <a:gd name="T16" fmla="*/ 2147483647 w 101"/>
              <a:gd name="T17" fmla="*/ 0 h 92"/>
              <a:gd name="T18" fmla="*/ 2147483647 w 101"/>
              <a:gd name="T19" fmla="*/ 2147483647 h 92"/>
              <a:gd name="T20" fmla="*/ 2147483647 w 101"/>
              <a:gd name="T21" fmla="*/ 2147483647 h 92"/>
              <a:gd name="T22" fmla="*/ 2147483647 w 101"/>
              <a:gd name="T23" fmla="*/ 2147483647 h 92"/>
              <a:gd name="T24" fmla="*/ 2147483647 w 101"/>
              <a:gd name="T25" fmla="*/ 2147483647 h 92"/>
              <a:gd name="T26" fmla="*/ 2147483647 w 101"/>
              <a:gd name="T27" fmla="*/ 2147483647 h 92"/>
              <a:gd name="T28" fmla="*/ 2147483647 w 101"/>
              <a:gd name="T29" fmla="*/ 2147483647 h 92"/>
              <a:gd name="T30" fmla="*/ 2147483647 w 101"/>
              <a:gd name="T31" fmla="*/ 2147483647 h 92"/>
              <a:gd name="T32" fmla="*/ 2147483647 w 101"/>
              <a:gd name="T33" fmla="*/ 2147483647 h 92"/>
              <a:gd name="T34" fmla="*/ 2147483647 w 101"/>
              <a:gd name="T35" fmla="*/ 2147483647 h 92"/>
              <a:gd name="T36" fmla="*/ 2147483647 w 101"/>
              <a:gd name="T37" fmla="*/ 2147483647 h 92"/>
              <a:gd name="T38" fmla="*/ 2147483647 w 101"/>
              <a:gd name="T39" fmla="*/ 2147483647 h 92"/>
              <a:gd name="T40" fmla="*/ 2147483647 w 101"/>
              <a:gd name="T41" fmla="*/ 2147483647 h 92"/>
              <a:gd name="T42" fmla="*/ 2147483647 w 101"/>
              <a:gd name="T43" fmla="*/ 2147483647 h 92"/>
              <a:gd name="T44" fmla="*/ 2147483647 w 101"/>
              <a:gd name="T45" fmla="*/ 2147483647 h 92"/>
              <a:gd name="T46" fmla="*/ 2147483647 w 101"/>
              <a:gd name="T47" fmla="*/ 2147483647 h 92"/>
              <a:gd name="T48" fmla="*/ 2147483647 w 101"/>
              <a:gd name="T49" fmla="*/ 2147483647 h 92"/>
              <a:gd name="T50" fmla="*/ 2147483647 w 101"/>
              <a:gd name="T51" fmla="*/ 2147483647 h 92"/>
              <a:gd name="T52" fmla="*/ 2147483647 w 101"/>
              <a:gd name="T53" fmla="*/ 2147483647 h 92"/>
              <a:gd name="T54" fmla="*/ 0 w 101"/>
              <a:gd name="T55" fmla="*/ 2147483647 h 92"/>
              <a:gd name="T56" fmla="*/ 2147483647 w 101"/>
              <a:gd name="T57" fmla="*/ 2147483647 h 92"/>
              <a:gd name="T58" fmla="*/ 2147483647 w 101"/>
              <a:gd name="T59" fmla="*/ 2147483647 h 92"/>
              <a:gd name="T60" fmla="*/ 2147483647 w 101"/>
              <a:gd name="T61" fmla="*/ 2147483647 h 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1"/>
              <a:gd name="T94" fmla="*/ 0 h 92"/>
              <a:gd name="T95" fmla="*/ 101 w 101"/>
              <a:gd name="T96" fmla="*/ 92 h 92"/>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168 w 10000"/>
              <a:gd name="connsiteY24" fmla="*/ 9130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480 w 10000"/>
              <a:gd name="connsiteY24" fmla="*/ 9544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485 w 10000"/>
              <a:gd name="connsiteY26" fmla="*/ 9239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9110 w 10000"/>
              <a:gd name="connsiteY10" fmla="*/ 2835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9406 w 10821"/>
              <a:gd name="connsiteY11" fmla="*/ 3152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9412 w 10821"/>
              <a:gd name="connsiteY15" fmla="*/ 7101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21" h="10560">
                <a:moveTo>
                  <a:pt x="2772" y="3370"/>
                </a:moveTo>
                <a:lnTo>
                  <a:pt x="3564" y="2065"/>
                </a:lnTo>
                <a:lnTo>
                  <a:pt x="2729" y="1156"/>
                </a:lnTo>
                <a:lnTo>
                  <a:pt x="3960" y="761"/>
                </a:lnTo>
                <a:lnTo>
                  <a:pt x="4675" y="978"/>
                </a:lnTo>
                <a:lnTo>
                  <a:pt x="4851" y="870"/>
                </a:lnTo>
                <a:lnTo>
                  <a:pt x="6040" y="870"/>
                </a:lnTo>
                <a:lnTo>
                  <a:pt x="5743" y="217"/>
                </a:lnTo>
                <a:lnTo>
                  <a:pt x="6634" y="0"/>
                </a:lnTo>
                <a:lnTo>
                  <a:pt x="8698" y="1116"/>
                </a:lnTo>
                <a:cubicBezTo>
                  <a:pt x="8835" y="1689"/>
                  <a:pt x="9521" y="1679"/>
                  <a:pt x="9658" y="2252"/>
                </a:cubicBezTo>
                <a:lnTo>
                  <a:pt x="10466" y="2360"/>
                </a:lnTo>
                <a:lnTo>
                  <a:pt x="10821" y="2678"/>
                </a:lnTo>
                <a:cubicBezTo>
                  <a:pt x="10788" y="2787"/>
                  <a:pt x="9934" y="4130"/>
                  <a:pt x="9901" y="4239"/>
                </a:cubicBezTo>
                <a:lnTo>
                  <a:pt x="9235" y="6174"/>
                </a:lnTo>
                <a:lnTo>
                  <a:pt x="9412" y="7101"/>
                </a:lnTo>
                <a:cubicBezTo>
                  <a:pt x="9466" y="7239"/>
                  <a:pt x="9519" y="7378"/>
                  <a:pt x="9573" y="7516"/>
                </a:cubicBezTo>
                <a:lnTo>
                  <a:pt x="8882" y="8337"/>
                </a:lnTo>
                <a:cubicBezTo>
                  <a:pt x="8849" y="9134"/>
                  <a:pt x="7954" y="8660"/>
                  <a:pt x="7921" y="9457"/>
                </a:cubicBezTo>
                <a:lnTo>
                  <a:pt x="7426" y="9565"/>
                </a:lnTo>
                <a:lnTo>
                  <a:pt x="7228" y="9239"/>
                </a:lnTo>
                <a:lnTo>
                  <a:pt x="6238" y="10000"/>
                </a:lnTo>
                <a:lnTo>
                  <a:pt x="5535" y="9801"/>
                </a:lnTo>
                <a:lnTo>
                  <a:pt x="3960" y="8696"/>
                </a:lnTo>
                <a:lnTo>
                  <a:pt x="3480" y="9544"/>
                </a:lnTo>
                <a:cubicBezTo>
                  <a:pt x="2936" y="9460"/>
                  <a:pt x="2833" y="10640"/>
                  <a:pt x="2289" y="10556"/>
                </a:cubicBezTo>
                <a:lnTo>
                  <a:pt x="1221" y="10158"/>
                </a:lnTo>
                <a:lnTo>
                  <a:pt x="792" y="10000"/>
                </a:lnTo>
                <a:lnTo>
                  <a:pt x="0" y="10000"/>
                </a:lnTo>
                <a:cubicBezTo>
                  <a:pt x="143" y="8479"/>
                  <a:pt x="285" y="6957"/>
                  <a:pt x="428" y="5436"/>
                </a:cubicBezTo>
                <a:lnTo>
                  <a:pt x="1083" y="3737"/>
                </a:lnTo>
                <a:lnTo>
                  <a:pt x="2772" y="337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nvGrpSpPr>
          <p:cNvPr id="50" name="Am"/>
          <p:cNvGrpSpPr>
            <a:grpSpLocks/>
          </p:cNvGrpSpPr>
          <p:nvPr/>
        </p:nvGrpSpPr>
        <p:grpSpPr bwMode="auto">
          <a:xfrm rot="712744">
            <a:off x="5339298" y="3478563"/>
            <a:ext cx="690458" cy="800203"/>
            <a:chOff x="2287936" y="3796326"/>
            <a:chExt cx="143" cy="227"/>
          </a:xfrm>
          <a:solidFill>
            <a:srgbClr val="FAFAFA"/>
          </a:solidFill>
          <a:effectLst/>
        </p:grpSpPr>
        <p:sp>
          <p:nvSpPr>
            <p:cNvPr id="55" name="2aD"/>
            <p:cNvSpPr>
              <a:spLocks/>
            </p:cNvSpPr>
            <p:nvPr/>
          </p:nvSpPr>
          <p:spPr bwMode="auto">
            <a:xfrm>
              <a:off x="2287936" y="3796326"/>
              <a:ext cx="88" cy="168"/>
            </a:xfrm>
            <a:custGeom>
              <a:avLst/>
              <a:gdLst>
                <a:gd name="T0" fmla="*/ 55 w 77"/>
                <a:gd name="T1" fmla="*/ 160 h 160"/>
                <a:gd name="T2" fmla="*/ 30 w 77"/>
                <a:gd name="T3" fmla="*/ 153 h 160"/>
                <a:gd name="T4" fmla="*/ 9 w 77"/>
                <a:gd name="T5" fmla="*/ 142 h 160"/>
                <a:gd name="T6" fmla="*/ 10 w 77"/>
                <a:gd name="T7" fmla="*/ 130 h 160"/>
                <a:gd name="T8" fmla="*/ 11 w 77"/>
                <a:gd name="T9" fmla="*/ 122 h 160"/>
                <a:gd name="T10" fmla="*/ 6 w 77"/>
                <a:gd name="T11" fmla="*/ 114 h 160"/>
                <a:gd name="T12" fmla="*/ 4 w 77"/>
                <a:gd name="T13" fmla="*/ 108 h 160"/>
                <a:gd name="T14" fmla="*/ 12 w 77"/>
                <a:gd name="T15" fmla="*/ 98 h 160"/>
                <a:gd name="T16" fmla="*/ 3 w 77"/>
                <a:gd name="T17" fmla="*/ 89 h 160"/>
                <a:gd name="T18" fmla="*/ 0 w 77"/>
                <a:gd name="T19" fmla="*/ 66 h 160"/>
                <a:gd name="T20" fmla="*/ 7 w 77"/>
                <a:gd name="T21" fmla="*/ 62 h 160"/>
                <a:gd name="T22" fmla="*/ 7 w 77"/>
                <a:gd name="T23" fmla="*/ 43 h 160"/>
                <a:gd name="T24" fmla="*/ 2 w 77"/>
                <a:gd name="T25" fmla="*/ 38 h 160"/>
                <a:gd name="T26" fmla="*/ 8 w 77"/>
                <a:gd name="T27" fmla="*/ 33 h 160"/>
                <a:gd name="T28" fmla="*/ 28 w 77"/>
                <a:gd name="T29" fmla="*/ 33 h 160"/>
                <a:gd name="T30" fmla="*/ 34 w 77"/>
                <a:gd name="T31" fmla="*/ 26 h 160"/>
                <a:gd name="T32" fmla="*/ 33 w 77"/>
                <a:gd name="T33" fmla="*/ 1 h 160"/>
                <a:gd name="T34" fmla="*/ 40 w 77"/>
                <a:gd name="T35" fmla="*/ 0 h 160"/>
                <a:gd name="T36" fmla="*/ 49 w 77"/>
                <a:gd name="T37" fmla="*/ 10 h 160"/>
                <a:gd name="T38" fmla="*/ 61 w 77"/>
                <a:gd name="T39" fmla="*/ 0 h 160"/>
                <a:gd name="T40" fmla="*/ 67 w 77"/>
                <a:gd name="T41" fmla="*/ 18 h 160"/>
                <a:gd name="T42" fmla="*/ 62 w 77"/>
                <a:gd name="T43" fmla="*/ 35 h 160"/>
                <a:gd name="T44" fmla="*/ 62 w 77"/>
                <a:gd name="T45" fmla="*/ 48 h 160"/>
                <a:gd name="T46" fmla="*/ 75 w 77"/>
                <a:gd name="T47" fmla="*/ 48 h 160"/>
                <a:gd name="T48" fmla="*/ 62 w 77"/>
                <a:gd name="T49" fmla="*/ 59 h 160"/>
                <a:gd name="T50" fmla="*/ 68 w 77"/>
                <a:gd name="T51" fmla="*/ 67 h 160"/>
                <a:gd name="T52" fmla="*/ 57 w 77"/>
                <a:gd name="T53" fmla="*/ 80 h 160"/>
                <a:gd name="T54" fmla="*/ 51 w 77"/>
                <a:gd name="T55" fmla="*/ 85 h 160"/>
                <a:gd name="T56" fmla="*/ 55 w 77"/>
                <a:gd name="T57" fmla="*/ 102 h 160"/>
                <a:gd name="T58" fmla="*/ 62 w 77"/>
                <a:gd name="T59" fmla="*/ 104 h 160"/>
                <a:gd name="T60" fmla="*/ 60 w 77"/>
                <a:gd name="T61" fmla="*/ 114 h 160"/>
                <a:gd name="T62" fmla="*/ 76 w 77"/>
                <a:gd name="T63" fmla="*/ 115 h 160"/>
                <a:gd name="T64" fmla="*/ 77 w 77"/>
                <a:gd name="T65" fmla="*/ 137 h 160"/>
                <a:gd name="T66" fmla="*/ 71 w 77"/>
                <a:gd name="T67" fmla="*/ 145 h 160"/>
                <a:gd name="T68" fmla="*/ 68 w 77"/>
                <a:gd name="T69" fmla="*/ 136 h 160"/>
                <a:gd name="T70" fmla="*/ 59 w 77"/>
                <a:gd name="T71" fmla="*/ 139 h 160"/>
                <a:gd name="T72" fmla="*/ 63 w 77"/>
                <a:gd name="T73" fmla="*/ 148 h 160"/>
                <a:gd name="T74" fmla="*/ 55 w 77"/>
                <a:gd name="T75" fmla="*/ 160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7"/>
                <a:gd name="T115" fmla="*/ 0 h 160"/>
                <a:gd name="T116" fmla="*/ 77 w 77"/>
                <a:gd name="T117" fmla="*/ 160 h 16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7403 w 10000"/>
                <a:gd name="connsiteY26" fmla="*/ 5000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110 w 10000"/>
                <a:gd name="connsiteY14" fmla="*/ 1815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00" h="10127">
                  <a:moveTo>
                    <a:pt x="7143" y="10127"/>
                  </a:moveTo>
                  <a:cubicBezTo>
                    <a:pt x="5679" y="10008"/>
                    <a:pt x="4723" y="9624"/>
                    <a:pt x="2752" y="9770"/>
                  </a:cubicBezTo>
                  <a:lnTo>
                    <a:pt x="1169" y="9002"/>
                  </a:lnTo>
                  <a:cubicBezTo>
                    <a:pt x="1212" y="8752"/>
                    <a:pt x="1256" y="8502"/>
                    <a:pt x="1299" y="8252"/>
                  </a:cubicBezTo>
                  <a:cubicBezTo>
                    <a:pt x="1342" y="8085"/>
                    <a:pt x="1386" y="7919"/>
                    <a:pt x="1429" y="7752"/>
                  </a:cubicBezTo>
                  <a:lnTo>
                    <a:pt x="779" y="7252"/>
                  </a:lnTo>
                  <a:lnTo>
                    <a:pt x="519" y="6877"/>
                  </a:lnTo>
                  <a:lnTo>
                    <a:pt x="1558" y="6252"/>
                  </a:lnTo>
                  <a:lnTo>
                    <a:pt x="390" y="5690"/>
                  </a:lnTo>
                  <a:lnTo>
                    <a:pt x="0" y="4252"/>
                  </a:lnTo>
                  <a:lnTo>
                    <a:pt x="909" y="4002"/>
                  </a:lnTo>
                  <a:lnTo>
                    <a:pt x="909" y="2815"/>
                  </a:lnTo>
                  <a:lnTo>
                    <a:pt x="260" y="2502"/>
                  </a:lnTo>
                  <a:lnTo>
                    <a:pt x="1039" y="2190"/>
                  </a:lnTo>
                  <a:lnTo>
                    <a:pt x="3110" y="1942"/>
                  </a:lnTo>
                  <a:lnTo>
                    <a:pt x="2711" y="793"/>
                  </a:lnTo>
                  <a:cubicBezTo>
                    <a:pt x="2668" y="272"/>
                    <a:pt x="3600" y="206"/>
                    <a:pt x="3972" y="0"/>
                  </a:cubicBezTo>
                  <a:lnTo>
                    <a:pt x="5195" y="127"/>
                  </a:lnTo>
                  <a:lnTo>
                    <a:pt x="6364" y="752"/>
                  </a:lnTo>
                  <a:lnTo>
                    <a:pt x="7922" y="127"/>
                  </a:lnTo>
                  <a:lnTo>
                    <a:pt x="8701" y="1252"/>
                  </a:lnTo>
                  <a:lnTo>
                    <a:pt x="8052" y="2315"/>
                  </a:lnTo>
                  <a:lnTo>
                    <a:pt x="8052" y="3127"/>
                  </a:lnTo>
                  <a:lnTo>
                    <a:pt x="9740" y="3127"/>
                  </a:lnTo>
                  <a:lnTo>
                    <a:pt x="8052" y="3815"/>
                  </a:lnTo>
                  <a:lnTo>
                    <a:pt x="8831" y="4315"/>
                  </a:lnTo>
                  <a:lnTo>
                    <a:pt x="8393" y="5632"/>
                  </a:lnTo>
                  <a:lnTo>
                    <a:pt x="7740" y="6160"/>
                  </a:lnTo>
                  <a:lnTo>
                    <a:pt x="7143" y="6502"/>
                  </a:lnTo>
                  <a:lnTo>
                    <a:pt x="8052" y="6627"/>
                  </a:lnTo>
                  <a:cubicBezTo>
                    <a:pt x="7965" y="6835"/>
                    <a:pt x="7879" y="7044"/>
                    <a:pt x="7792" y="7252"/>
                  </a:cubicBezTo>
                  <a:lnTo>
                    <a:pt x="9870" y="7315"/>
                  </a:lnTo>
                  <a:cubicBezTo>
                    <a:pt x="9913" y="7773"/>
                    <a:pt x="9957" y="8232"/>
                    <a:pt x="10000" y="8690"/>
                  </a:cubicBezTo>
                  <a:lnTo>
                    <a:pt x="9221" y="9190"/>
                  </a:lnTo>
                  <a:lnTo>
                    <a:pt x="8831" y="8627"/>
                  </a:lnTo>
                  <a:lnTo>
                    <a:pt x="7662" y="8815"/>
                  </a:lnTo>
                  <a:lnTo>
                    <a:pt x="8182" y="9377"/>
                  </a:lnTo>
                  <a:lnTo>
                    <a:pt x="7143" y="10127"/>
                  </a:lnTo>
                  <a:close/>
                </a:path>
              </a:pathLst>
            </a:custGeom>
            <a:grp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56" name="2bD"/>
            <p:cNvSpPr>
              <a:spLocks/>
            </p:cNvSpPr>
            <p:nvPr/>
          </p:nvSpPr>
          <p:spPr bwMode="auto">
            <a:xfrm>
              <a:off x="2288038" y="3796492"/>
              <a:ext cx="41" cy="61"/>
            </a:xfrm>
            <a:custGeom>
              <a:avLst/>
              <a:gdLst>
                <a:gd name="T0" fmla="*/ 6 w 41"/>
                <a:gd name="T1" fmla="*/ 61 h 61"/>
                <a:gd name="T2" fmla="*/ 18 w 41"/>
                <a:gd name="T3" fmla="*/ 61 h 61"/>
                <a:gd name="T4" fmla="*/ 22 w 41"/>
                <a:gd name="T5" fmla="*/ 58 h 61"/>
                <a:gd name="T6" fmla="*/ 28 w 41"/>
                <a:gd name="T7" fmla="*/ 59 h 61"/>
                <a:gd name="T8" fmla="*/ 34 w 41"/>
                <a:gd name="T9" fmla="*/ 61 h 61"/>
                <a:gd name="T10" fmla="*/ 35 w 41"/>
                <a:gd name="T11" fmla="*/ 34 h 61"/>
                <a:gd name="T12" fmla="*/ 41 w 41"/>
                <a:gd name="T13" fmla="*/ 6 h 61"/>
                <a:gd name="T14" fmla="*/ 25 w 41"/>
                <a:gd name="T15" fmla="*/ 0 h 61"/>
                <a:gd name="T16" fmla="*/ 25 w 41"/>
                <a:gd name="T17" fmla="*/ 4 h 61"/>
                <a:gd name="T18" fmla="*/ 7 w 41"/>
                <a:gd name="T19" fmla="*/ 21 h 61"/>
                <a:gd name="T20" fmla="*/ 0 w 41"/>
                <a:gd name="T21" fmla="*/ 22 h 61"/>
                <a:gd name="T22" fmla="*/ 1 w 41"/>
                <a:gd name="T23" fmla="*/ 29 h 61"/>
                <a:gd name="T24" fmla="*/ 6 w 41"/>
                <a:gd name="T25" fmla="*/ 30 h 61"/>
                <a:gd name="T26" fmla="*/ 5 w 41"/>
                <a:gd name="T27" fmla="*/ 53 h 61"/>
                <a:gd name="T28" fmla="*/ 0 w 41"/>
                <a:gd name="T29" fmla="*/ 52 h 61"/>
                <a:gd name="T30" fmla="*/ 6 w 41"/>
                <a:gd name="T31" fmla="*/ 61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61"/>
                <a:gd name="T50" fmla="*/ 41 w 4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61">
                  <a:moveTo>
                    <a:pt x="6" y="61"/>
                  </a:moveTo>
                  <a:lnTo>
                    <a:pt x="18" y="61"/>
                  </a:lnTo>
                  <a:lnTo>
                    <a:pt x="22" y="58"/>
                  </a:lnTo>
                  <a:lnTo>
                    <a:pt x="28" y="59"/>
                  </a:lnTo>
                  <a:lnTo>
                    <a:pt x="34" y="61"/>
                  </a:lnTo>
                  <a:lnTo>
                    <a:pt x="35" y="34"/>
                  </a:lnTo>
                  <a:lnTo>
                    <a:pt x="41" y="6"/>
                  </a:lnTo>
                  <a:lnTo>
                    <a:pt x="25" y="0"/>
                  </a:lnTo>
                  <a:lnTo>
                    <a:pt x="25" y="4"/>
                  </a:lnTo>
                  <a:lnTo>
                    <a:pt x="7" y="21"/>
                  </a:lnTo>
                  <a:lnTo>
                    <a:pt x="0" y="22"/>
                  </a:lnTo>
                  <a:lnTo>
                    <a:pt x="1" y="29"/>
                  </a:lnTo>
                  <a:lnTo>
                    <a:pt x="6" y="30"/>
                  </a:lnTo>
                  <a:lnTo>
                    <a:pt x="5" y="53"/>
                  </a:lnTo>
                  <a:lnTo>
                    <a:pt x="0" y="52"/>
                  </a:lnTo>
                  <a:lnTo>
                    <a:pt x="6" y="61"/>
                  </a:lnTo>
                  <a:close/>
                </a:path>
              </a:pathLst>
            </a:custGeom>
            <a:grp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sp>
        <p:nvSpPr>
          <p:cNvPr id="51" name="MT"/>
          <p:cNvSpPr>
            <a:spLocks noChangeAspect="1"/>
          </p:cNvSpPr>
          <p:nvPr/>
        </p:nvSpPr>
        <p:spPr bwMode="auto">
          <a:xfrm rot="13083780">
            <a:off x="5983288" y="6127750"/>
            <a:ext cx="142875" cy="46038"/>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7646 h 17377"/>
              <a:gd name="connsiteX1" fmla="*/ 588 w 14705"/>
              <a:gd name="connsiteY1" fmla="*/ 14597 h 17377"/>
              <a:gd name="connsiteX2" fmla="*/ 2237 w 14705"/>
              <a:gd name="connsiteY2" fmla="*/ 15145 h 17377"/>
              <a:gd name="connsiteX3" fmla="*/ 2058 w 14705"/>
              <a:gd name="connsiteY3" fmla="*/ 17377 h 17377"/>
              <a:gd name="connsiteX4" fmla="*/ 3529 w 14705"/>
              <a:gd name="connsiteY4" fmla="*/ 17377 h 17377"/>
              <a:gd name="connsiteX5" fmla="*/ 3823 w 14705"/>
              <a:gd name="connsiteY5" fmla="*/ 14597 h 17377"/>
              <a:gd name="connsiteX6" fmla="*/ 5588 w 14705"/>
              <a:gd name="connsiteY6" fmla="*/ 15292 h 17377"/>
              <a:gd name="connsiteX7" fmla="*/ 6764 w 14705"/>
              <a:gd name="connsiteY7" fmla="*/ 14597 h 17377"/>
              <a:gd name="connsiteX8" fmla="*/ 7647 w 14705"/>
              <a:gd name="connsiteY8" fmla="*/ 11817 h 17377"/>
              <a:gd name="connsiteX9" fmla="*/ 9279 w 14705"/>
              <a:gd name="connsiteY9" fmla="*/ 14034 h 17377"/>
              <a:gd name="connsiteX10" fmla="*/ 10115 w 14705"/>
              <a:gd name="connsiteY10" fmla="*/ 11812 h 17377"/>
              <a:gd name="connsiteX11" fmla="*/ 9411 w 14705"/>
              <a:gd name="connsiteY11" fmla="*/ 4866 h 17377"/>
              <a:gd name="connsiteX12" fmla="*/ 14705 w 14705"/>
              <a:gd name="connsiteY12" fmla="*/ 0 h 17377"/>
              <a:gd name="connsiteX13" fmla="*/ 7865 w 14705"/>
              <a:gd name="connsiteY13" fmla="*/ 9989 h 17377"/>
              <a:gd name="connsiteX14" fmla="*/ 9117 w 14705"/>
              <a:gd name="connsiteY14" fmla="*/ 1670 h 17377"/>
              <a:gd name="connsiteX15" fmla="*/ 6764 w 14705"/>
              <a:gd name="connsiteY15" fmla="*/ 3476 h 17377"/>
              <a:gd name="connsiteX16" fmla="*/ 4705 w 14705"/>
              <a:gd name="connsiteY16" fmla="*/ 2781 h 17377"/>
              <a:gd name="connsiteX17" fmla="*/ 3529 w 14705"/>
              <a:gd name="connsiteY17" fmla="*/ 2781 h 17377"/>
              <a:gd name="connsiteX18" fmla="*/ 2352 w 14705"/>
              <a:gd name="connsiteY18" fmla="*/ 1670 h 17377"/>
              <a:gd name="connsiteX19" fmla="*/ 2941 w 14705"/>
              <a:gd name="connsiteY19" fmla="*/ 6951 h 17377"/>
              <a:gd name="connsiteX20" fmla="*/ 1764 w 14705"/>
              <a:gd name="connsiteY20" fmla="*/ 6951 h 17377"/>
              <a:gd name="connsiteX21" fmla="*/ 1176 w 14705"/>
              <a:gd name="connsiteY21" fmla="*/ 5561 h 17377"/>
              <a:gd name="connsiteX22" fmla="*/ 882 w 14705"/>
              <a:gd name="connsiteY22" fmla="*/ 7646 h 17377"/>
              <a:gd name="connsiteX23" fmla="*/ 0 w 14705"/>
              <a:gd name="connsiteY23" fmla="*/ 7646 h 1737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9117 w 10115"/>
              <a:gd name="connsiteY14" fmla="*/ 0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0 w 10115"/>
              <a:gd name="connsiteY0" fmla="*/ 5976 h 15707"/>
              <a:gd name="connsiteX1" fmla="*/ 2554 w 10115"/>
              <a:gd name="connsiteY1" fmla="*/ 1331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918 w 9233"/>
              <a:gd name="connsiteY0" fmla="*/ 8769 h 15707"/>
              <a:gd name="connsiteX1" fmla="*/ 1672 w 9233"/>
              <a:gd name="connsiteY1" fmla="*/ 13317 h 15707"/>
              <a:gd name="connsiteX2" fmla="*/ 1355 w 9233"/>
              <a:gd name="connsiteY2" fmla="*/ 13475 h 15707"/>
              <a:gd name="connsiteX3" fmla="*/ 1176 w 9233"/>
              <a:gd name="connsiteY3" fmla="*/ 15707 h 15707"/>
              <a:gd name="connsiteX4" fmla="*/ 2647 w 9233"/>
              <a:gd name="connsiteY4" fmla="*/ 15707 h 15707"/>
              <a:gd name="connsiteX5" fmla="*/ 2941 w 9233"/>
              <a:gd name="connsiteY5" fmla="*/ 12927 h 15707"/>
              <a:gd name="connsiteX6" fmla="*/ 4706 w 9233"/>
              <a:gd name="connsiteY6" fmla="*/ 13622 h 15707"/>
              <a:gd name="connsiteX7" fmla="*/ 5882 w 9233"/>
              <a:gd name="connsiteY7" fmla="*/ 12927 h 15707"/>
              <a:gd name="connsiteX8" fmla="*/ 6765 w 9233"/>
              <a:gd name="connsiteY8" fmla="*/ 10147 h 15707"/>
              <a:gd name="connsiteX9" fmla="*/ 8397 w 9233"/>
              <a:gd name="connsiteY9" fmla="*/ 12364 h 15707"/>
              <a:gd name="connsiteX10" fmla="*/ 9233 w 9233"/>
              <a:gd name="connsiteY10" fmla="*/ 10142 h 15707"/>
              <a:gd name="connsiteX11" fmla="*/ 8529 w 9233"/>
              <a:gd name="connsiteY11" fmla="*/ 3196 h 15707"/>
              <a:gd name="connsiteX12" fmla="*/ 6630 w 9233"/>
              <a:gd name="connsiteY12" fmla="*/ 7519 h 15707"/>
              <a:gd name="connsiteX13" fmla="*/ 6983 w 9233"/>
              <a:gd name="connsiteY13" fmla="*/ 8319 h 15707"/>
              <a:gd name="connsiteX14" fmla="*/ 6259 w 9233"/>
              <a:gd name="connsiteY14" fmla="*/ 5261 h 15707"/>
              <a:gd name="connsiteX15" fmla="*/ 5882 w 9233"/>
              <a:gd name="connsiteY15" fmla="*/ 1806 h 15707"/>
              <a:gd name="connsiteX16" fmla="*/ 4767 w 9233"/>
              <a:gd name="connsiteY16" fmla="*/ 4011 h 15707"/>
              <a:gd name="connsiteX17" fmla="*/ 3823 w 9233"/>
              <a:gd name="connsiteY17" fmla="*/ 1111 h 15707"/>
              <a:gd name="connsiteX18" fmla="*/ 2647 w 9233"/>
              <a:gd name="connsiteY18" fmla="*/ 1111 h 15707"/>
              <a:gd name="connsiteX19" fmla="*/ 1470 w 9233"/>
              <a:gd name="connsiteY19" fmla="*/ 0 h 15707"/>
              <a:gd name="connsiteX20" fmla="*/ 2059 w 9233"/>
              <a:gd name="connsiteY20" fmla="*/ 5281 h 15707"/>
              <a:gd name="connsiteX21" fmla="*/ 882 w 9233"/>
              <a:gd name="connsiteY21" fmla="*/ 5281 h 15707"/>
              <a:gd name="connsiteX22" fmla="*/ 294 w 9233"/>
              <a:gd name="connsiteY22" fmla="*/ 3891 h 15707"/>
              <a:gd name="connsiteX23" fmla="*/ 0 w 9233"/>
              <a:gd name="connsiteY23" fmla="*/ 5976 h 15707"/>
              <a:gd name="connsiteX24" fmla="*/ 918 w 9233"/>
              <a:gd name="connsiteY24" fmla="*/ 8769 h 15707"/>
              <a:gd name="connsiteX0" fmla="*/ 994 w 10000"/>
              <a:gd name="connsiteY0" fmla="*/ 5080 h 9497"/>
              <a:gd name="connsiteX1" fmla="*/ 1811 w 10000"/>
              <a:gd name="connsiteY1" fmla="*/ 7975 h 9497"/>
              <a:gd name="connsiteX2" fmla="*/ 1468 w 10000"/>
              <a:gd name="connsiteY2" fmla="*/ 8076 h 9497"/>
              <a:gd name="connsiteX3" fmla="*/ 1274 w 10000"/>
              <a:gd name="connsiteY3" fmla="*/ 9497 h 9497"/>
              <a:gd name="connsiteX4" fmla="*/ 2867 w 10000"/>
              <a:gd name="connsiteY4" fmla="*/ 9497 h 9497"/>
              <a:gd name="connsiteX5" fmla="*/ 3185 w 10000"/>
              <a:gd name="connsiteY5" fmla="*/ 7727 h 9497"/>
              <a:gd name="connsiteX6" fmla="*/ 5097 w 10000"/>
              <a:gd name="connsiteY6" fmla="*/ 8170 h 9497"/>
              <a:gd name="connsiteX7" fmla="*/ 6371 w 10000"/>
              <a:gd name="connsiteY7" fmla="*/ 7727 h 9497"/>
              <a:gd name="connsiteX8" fmla="*/ 7327 w 10000"/>
              <a:gd name="connsiteY8" fmla="*/ 5957 h 9497"/>
              <a:gd name="connsiteX9" fmla="*/ 9095 w 10000"/>
              <a:gd name="connsiteY9" fmla="*/ 7369 h 9497"/>
              <a:gd name="connsiteX10" fmla="*/ 10000 w 10000"/>
              <a:gd name="connsiteY10" fmla="*/ 5954 h 9497"/>
              <a:gd name="connsiteX11" fmla="*/ 9238 w 10000"/>
              <a:gd name="connsiteY11" fmla="*/ 1532 h 9497"/>
              <a:gd name="connsiteX12" fmla="*/ 7181 w 10000"/>
              <a:gd name="connsiteY12" fmla="*/ 4284 h 9497"/>
              <a:gd name="connsiteX13" fmla="*/ 7563 w 10000"/>
              <a:gd name="connsiteY13" fmla="*/ 4793 h 9497"/>
              <a:gd name="connsiteX14" fmla="*/ 6779 w 10000"/>
              <a:gd name="connsiteY14" fmla="*/ 2846 h 9497"/>
              <a:gd name="connsiteX15" fmla="*/ 6371 w 10000"/>
              <a:gd name="connsiteY15" fmla="*/ 647 h 9497"/>
              <a:gd name="connsiteX16" fmla="*/ 5163 w 10000"/>
              <a:gd name="connsiteY16" fmla="*/ 2051 h 9497"/>
              <a:gd name="connsiteX17" fmla="*/ 4141 w 10000"/>
              <a:gd name="connsiteY17" fmla="*/ 204 h 9497"/>
              <a:gd name="connsiteX18" fmla="*/ 2867 w 10000"/>
              <a:gd name="connsiteY18" fmla="*/ 204 h 9497"/>
              <a:gd name="connsiteX19" fmla="*/ 2347 w 10000"/>
              <a:gd name="connsiteY19" fmla="*/ 2200 h 9497"/>
              <a:gd name="connsiteX20" fmla="*/ 2230 w 10000"/>
              <a:gd name="connsiteY20" fmla="*/ 2859 h 9497"/>
              <a:gd name="connsiteX21" fmla="*/ 955 w 10000"/>
              <a:gd name="connsiteY21" fmla="*/ 2859 h 9497"/>
              <a:gd name="connsiteX22" fmla="*/ 318 w 10000"/>
              <a:gd name="connsiteY22" fmla="*/ 1974 h 9497"/>
              <a:gd name="connsiteX23" fmla="*/ 0 w 10000"/>
              <a:gd name="connsiteY23" fmla="*/ 3302 h 9497"/>
              <a:gd name="connsiteX24" fmla="*/ 994 w 10000"/>
              <a:gd name="connsiteY24" fmla="*/ 5080 h 9497"/>
              <a:gd name="connsiteX0" fmla="*/ 994 w 10000"/>
              <a:gd name="connsiteY0" fmla="*/ 5349 h 10000"/>
              <a:gd name="connsiteX1" fmla="*/ 1811 w 10000"/>
              <a:gd name="connsiteY1" fmla="*/ 8397 h 10000"/>
              <a:gd name="connsiteX2" fmla="*/ 1468 w 10000"/>
              <a:gd name="connsiteY2" fmla="*/ 8504 h 10000"/>
              <a:gd name="connsiteX3" fmla="*/ 1274 w 10000"/>
              <a:gd name="connsiteY3" fmla="*/ 10000 h 10000"/>
              <a:gd name="connsiteX4" fmla="*/ 2867 w 10000"/>
              <a:gd name="connsiteY4" fmla="*/ 10000 h 10000"/>
              <a:gd name="connsiteX5" fmla="*/ 3185 w 10000"/>
              <a:gd name="connsiteY5" fmla="*/ 8136 h 10000"/>
              <a:gd name="connsiteX6" fmla="*/ 5097 w 10000"/>
              <a:gd name="connsiteY6" fmla="*/ 8603 h 10000"/>
              <a:gd name="connsiteX7" fmla="*/ 6371 w 10000"/>
              <a:gd name="connsiteY7" fmla="*/ 8136 h 10000"/>
              <a:gd name="connsiteX8" fmla="*/ 7327 w 10000"/>
              <a:gd name="connsiteY8" fmla="*/ 6273 h 10000"/>
              <a:gd name="connsiteX9" fmla="*/ 9095 w 10000"/>
              <a:gd name="connsiteY9" fmla="*/ 7759 h 10000"/>
              <a:gd name="connsiteX10" fmla="*/ 10000 w 10000"/>
              <a:gd name="connsiteY10" fmla="*/ 6269 h 10000"/>
              <a:gd name="connsiteX11" fmla="*/ 9238 w 10000"/>
              <a:gd name="connsiteY11" fmla="*/ 1613 h 10000"/>
              <a:gd name="connsiteX12" fmla="*/ 7181 w 10000"/>
              <a:gd name="connsiteY12" fmla="*/ 4511 h 10000"/>
              <a:gd name="connsiteX13" fmla="*/ 7563 w 10000"/>
              <a:gd name="connsiteY13" fmla="*/ 5047 h 10000"/>
              <a:gd name="connsiteX14" fmla="*/ 6779 w 10000"/>
              <a:gd name="connsiteY14" fmla="*/ 2997 h 10000"/>
              <a:gd name="connsiteX15" fmla="*/ 6371 w 10000"/>
              <a:gd name="connsiteY15" fmla="*/ 681 h 10000"/>
              <a:gd name="connsiteX16" fmla="*/ 5163 w 10000"/>
              <a:gd name="connsiteY16" fmla="*/ 2160 h 10000"/>
              <a:gd name="connsiteX17" fmla="*/ 4141 w 10000"/>
              <a:gd name="connsiteY17" fmla="*/ 215 h 10000"/>
              <a:gd name="connsiteX18" fmla="*/ 2867 w 10000"/>
              <a:gd name="connsiteY18" fmla="*/ 215 h 10000"/>
              <a:gd name="connsiteX19" fmla="*/ 2347 w 10000"/>
              <a:gd name="connsiteY19" fmla="*/ 2317 h 10000"/>
              <a:gd name="connsiteX20" fmla="*/ 2230 w 10000"/>
              <a:gd name="connsiteY20" fmla="*/ 3010 h 10000"/>
              <a:gd name="connsiteX21" fmla="*/ 955 w 10000"/>
              <a:gd name="connsiteY21" fmla="*/ 3010 h 10000"/>
              <a:gd name="connsiteX22" fmla="*/ 1237 w 10000"/>
              <a:gd name="connsiteY22" fmla="*/ 3729 h 10000"/>
              <a:gd name="connsiteX23" fmla="*/ 0 w 10000"/>
              <a:gd name="connsiteY23" fmla="*/ 3477 h 10000"/>
              <a:gd name="connsiteX24" fmla="*/ 994 w 10000"/>
              <a:gd name="connsiteY24" fmla="*/ 5349 h 10000"/>
              <a:gd name="connsiteX0" fmla="*/ 76 w 9082"/>
              <a:gd name="connsiteY0" fmla="*/ 5349 h 10000"/>
              <a:gd name="connsiteX1" fmla="*/ 893 w 9082"/>
              <a:gd name="connsiteY1" fmla="*/ 8397 h 10000"/>
              <a:gd name="connsiteX2" fmla="*/ 550 w 9082"/>
              <a:gd name="connsiteY2" fmla="*/ 8504 h 10000"/>
              <a:gd name="connsiteX3" fmla="*/ 356 w 9082"/>
              <a:gd name="connsiteY3" fmla="*/ 10000 h 10000"/>
              <a:gd name="connsiteX4" fmla="*/ 1949 w 9082"/>
              <a:gd name="connsiteY4" fmla="*/ 10000 h 10000"/>
              <a:gd name="connsiteX5" fmla="*/ 2267 w 9082"/>
              <a:gd name="connsiteY5" fmla="*/ 8136 h 10000"/>
              <a:gd name="connsiteX6" fmla="*/ 4179 w 9082"/>
              <a:gd name="connsiteY6" fmla="*/ 8603 h 10000"/>
              <a:gd name="connsiteX7" fmla="*/ 5453 w 9082"/>
              <a:gd name="connsiteY7" fmla="*/ 8136 h 10000"/>
              <a:gd name="connsiteX8" fmla="*/ 6409 w 9082"/>
              <a:gd name="connsiteY8" fmla="*/ 6273 h 10000"/>
              <a:gd name="connsiteX9" fmla="*/ 8177 w 9082"/>
              <a:gd name="connsiteY9" fmla="*/ 7759 h 10000"/>
              <a:gd name="connsiteX10" fmla="*/ 9082 w 9082"/>
              <a:gd name="connsiteY10" fmla="*/ 6269 h 10000"/>
              <a:gd name="connsiteX11" fmla="*/ 8320 w 9082"/>
              <a:gd name="connsiteY11" fmla="*/ 1613 h 10000"/>
              <a:gd name="connsiteX12" fmla="*/ 6263 w 9082"/>
              <a:gd name="connsiteY12" fmla="*/ 4511 h 10000"/>
              <a:gd name="connsiteX13" fmla="*/ 6645 w 9082"/>
              <a:gd name="connsiteY13" fmla="*/ 5047 h 10000"/>
              <a:gd name="connsiteX14" fmla="*/ 5861 w 9082"/>
              <a:gd name="connsiteY14" fmla="*/ 2997 h 10000"/>
              <a:gd name="connsiteX15" fmla="*/ 5453 w 9082"/>
              <a:gd name="connsiteY15" fmla="*/ 681 h 10000"/>
              <a:gd name="connsiteX16" fmla="*/ 4245 w 9082"/>
              <a:gd name="connsiteY16" fmla="*/ 2160 h 10000"/>
              <a:gd name="connsiteX17" fmla="*/ 3223 w 9082"/>
              <a:gd name="connsiteY17" fmla="*/ 215 h 10000"/>
              <a:gd name="connsiteX18" fmla="*/ 1949 w 9082"/>
              <a:gd name="connsiteY18" fmla="*/ 215 h 10000"/>
              <a:gd name="connsiteX19" fmla="*/ 1429 w 9082"/>
              <a:gd name="connsiteY19" fmla="*/ 2317 h 10000"/>
              <a:gd name="connsiteX20" fmla="*/ 1312 w 9082"/>
              <a:gd name="connsiteY20" fmla="*/ 3010 h 10000"/>
              <a:gd name="connsiteX21" fmla="*/ 37 w 9082"/>
              <a:gd name="connsiteY21" fmla="*/ 3010 h 10000"/>
              <a:gd name="connsiteX22" fmla="*/ 319 w 9082"/>
              <a:gd name="connsiteY22" fmla="*/ 3729 h 10000"/>
              <a:gd name="connsiteX23" fmla="*/ 310 w 9082"/>
              <a:gd name="connsiteY23" fmla="*/ 5046 h 10000"/>
              <a:gd name="connsiteX24" fmla="*/ 76 w 9082"/>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6004 w 10000"/>
              <a:gd name="connsiteY15" fmla="*/ 681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1061 w 10000"/>
              <a:gd name="connsiteY3" fmla="*/ 8358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8633"/>
              <a:gd name="connsiteX1" fmla="*/ 983 w 10000"/>
              <a:gd name="connsiteY1" fmla="*/ 8397 h 8633"/>
              <a:gd name="connsiteX2" fmla="*/ 606 w 10000"/>
              <a:gd name="connsiteY2" fmla="*/ 8504 h 8633"/>
              <a:gd name="connsiteX3" fmla="*/ 1061 w 10000"/>
              <a:gd name="connsiteY3" fmla="*/ 8358 h 8633"/>
              <a:gd name="connsiteX4" fmla="*/ 2401 w 10000"/>
              <a:gd name="connsiteY4" fmla="*/ 8622 h 8633"/>
              <a:gd name="connsiteX5" fmla="*/ 2496 w 10000"/>
              <a:gd name="connsiteY5" fmla="*/ 8136 h 8633"/>
              <a:gd name="connsiteX6" fmla="*/ 4601 w 10000"/>
              <a:gd name="connsiteY6" fmla="*/ 8603 h 8633"/>
              <a:gd name="connsiteX7" fmla="*/ 6004 w 10000"/>
              <a:gd name="connsiteY7" fmla="*/ 8136 h 8633"/>
              <a:gd name="connsiteX8" fmla="*/ 7057 w 10000"/>
              <a:gd name="connsiteY8" fmla="*/ 6273 h 8633"/>
              <a:gd name="connsiteX9" fmla="*/ 9004 w 10000"/>
              <a:gd name="connsiteY9" fmla="*/ 7759 h 8633"/>
              <a:gd name="connsiteX10" fmla="*/ 10000 w 10000"/>
              <a:gd name="connsiteY10" fmla="*/ 6269 h 8633"/>
              <a:gd name="connsiteX11" fmla="*/ 9161 w 10000"/>
              <a:gd name="connsiteY11" fmla="*/ 1613 h 8633"/>
              <a:gd name="connsiteX12" fmla="*/ 6896 w 10000"/>
              <a:gd name="connsiteY12" fmla="*/ 4511 h 8633"/>
              <a:gd name="connsiteX13" fmla="*/ 7317 w 10000"/>
              <a:gd name="connsiteY13" fmla="*/ 5047 h 8633"/>
              <a:gd name="connsiteX14" fmla="*/ 5683 w 10000"/>
              <a:gd name="connsiteY14" fmla="*/ 3757 h 8633"/>
              <a:gd name="connsiteX15" fmla="*/ 5128 w 10000"/>
              <a:gd name="connsiteY15" fmla="*/ 2454 h 8633"/>
              <a:gd name="connsiteX16" fmla="*/ 5062 w 10000"/>
              <a:gd name="connsiteY16" fmla="*/ 833 h 8633"/>
              <a:gd name="connsiteX17" fmla="*/ 3549 w 10000"/>
              <a:gd name="connsiteY17" fmla="*/ 215 h 8633"/>
              <a:gd name="connsiteX18" fmla="*/ 2146 w 10000"/>
              <a:gd name="connsiteY18" fmla="*/ 215 h 8633"/>
              <a:gd name="connsiteX19" fmla="*/ 1573 w 10000"/>
              <a:gd name="connsiteY19" fmla="*/ 2317 h 8633"/>
              <a:gd name="connsiteX20" fmla="*/ 1445 w 10000"/>
              <a:gd name="connsiteY20" fmla="*/ 3010 h 8633"/>
              <a:gd name="connsiteX21" fmla="*/ 41 w 10000"/>
              <a:gd name="connsiteY21" fmla="*/ 3010 h 8633"/>
              <a:gd name="connsiteX22" fmla="*/ 351 w 10000"/>
              <a:gd name="connsiteY22" fmla="*/ 3729 h 8633"/>
              <a:gd name="connsiteX23" fmla="*/ 341 w 10000"/>
              <a:gd name="connsiteY23" fmla="*/ 5046 h 8633"/>
              <a:gd name="connsiteX24" fmla="*/ 84 w 10000"/>
              <a:gd name="connsiteY24" fmla="*/ 5349 h 8633"/>
              <a:gd name="connsiteX0" fmla="*/ 59 w 9975"/>
              <a:gd name="connsiteY0" fmla="*/ 6196 h 10000"/>
              <a:gd name="connsiteX1" fmla="*/ 958 w 9975"/>
              <a:gd name="connsiteY1" fmla="*/ 9727 h 10000"/>
              <a:gd name="connsiteX2" fmla="*/ 581 w 9975"/>
              <a:gd name="connsiteY2" fmla="*/ 9851 h 10000"/>
              <a:gd name="connsiteX3" fmla="*/ 1036 w 9975"/>
              <a:gd name="connsiteY3" fmla="*/ 9681 h 10000"/>
              <a:gd name="connsiteX4" fmla="*/ 2376 w 9975"/>
              <a:gd name="connsiteY4" fmla="*/ 9987 h 10000"/>
              <a:gd name="connsiteX5" fmla="*/ 2471 w 9975"/>
              <a:gd name="connsiteY5" fmla="*/ 9424 h 10000"/>
              <a:gd name="connsiteX6" fmla="*/ 4576 w 9975"/>
              <a:gd name="connsiteY6" fmla="*/ 9965 h 10000"/>
              <a:gd name="connsiteX7" fmla="*/ 5979 w 9975"/>
              <a:gd name="connsiteY7" fmla="*/ 9424 h 10000"/>
              <a:gd name="connsiteX8" fmla="*/ 7032 w 9975"/>
              <a:gd name="connsiteY8" fmla="*/ 7266 h 10000"/>
              <a:gd name="connsiteX9" fmla="*/ 8979 w 9975"/>
              <a:gd name="connsiteY9" fmla="*/ 8988 h 10000"/>
              <a:gd name="connsiteX10" fmla="*/ 9975 w 9975"/>
              <a:gd name="connsiteY10" fmla="*/ 7262 h 10000"/>
              <a:gd name="connsiteX11" fmla="*/ 9136 w 9975"/>
              <a:gd name="connsiteY11" fmla="*/ 1868 h 10000"/>
              <a:gd name="connsiteX12" fmla="*/ 6871 w 9975"/>
              <a:gd name="connsiteY12" fmla="*/ 5225 h 10000"/>
              <a:gd name="connsiteX13" fmla="*/ 7292 w 9975"/>
              <a:gd name="connsiteY13" fmla="*/ 5846 h 10000"/>
              <a:gd name="connsiteX14" fmla="*/ 5658 w 9975"/>
              <a:gd name="connsiteY14" fmla="*/ 4352 h 10000"/>
              <a:gd name="connsiteX15" fmla="*/ 5103 w 9975"/>
              <a:gd name="connsiteY15" fmla="*/ 2843 h 10000"/>
              <a:gd name="connsiteX16" fmla="*/ 5037 w 9975"/>
              <a:gd name="connsiteY16" fmla="*/ 965 h 10000"/>
              <a:gd name="connsiteX17" fmla="*/ 3524 w 9975"/>
              <a:gd name="connsiteY17" fmla="*/ 249 h 10000"/>
              <a:gd name="connsiteX18" fmla="*/ 2121 w 9975"/>
              <a:gd name="connsiteY18" fmla="*/ 249 h 10000"/>
              <a:gd name="connsiteX19" fmla="*/ 1548 w 9975"/>
              <a:gd name="connsiteY19" fmla="*/ 2684 h 10000"/>
              <a:gd name="connsiteX20" fmla="*/ 1420 w 9975"/>
              <a:gd name="connsiteY20" fmla="*/ 3487 h 10000"/>
              <a:gd name="connsiteX21" fmla="*/ 16 w 9975"/>
              <a:gd name="connsiteY21" fmla="*/ 3487 h 10000"/>
              <a:gd name="connsiteX22" fmla="*/ 1668 w 9975"/>
              <a:gd name="connsiteY22" fmla="*/ 4423 h 10000"/>
              <a:gd name="connsiteX23" fmla="*/ 316 w 9975"/>
              <a:gd name="connsiteY23" fmla="*/ 5845 h 10000"/>
              <a:gd name="connsiteX24" fmla="*/ 59 w 9975"/>
              <a:gd name="connsiteY24" fmla="*/ 6196 h 10000"/>
              <a:gd name="connsiteX0" fmla="*/ 1197 w 10000"/>
              <a:gd name="connsiteY0" fmla="*/ 6453 h 10000"/>
              <a:gd name="connsiteX1" fmla="*/ 960 w 10000"/>
              <a:gd name="connsiteY1" fmla="*/ 9727 h 10000"/>
              <a:gd name="connsiteX2" fmla="*/ 582 w 10000"/>
              <a:gd name="connsiteY2" fmla="*/ 9851 h 10000"/>
              <a:gd name="connsiteX3" fmla="*/ 1039 w 10000"/>
              <a:gd name="connsiteY3" fmla="*/ 9681 h 10000"/>
              <a:gd name="connsiteX4" fmla="*/ 2382 w 10000"/>
              <a:gd name="connsiteY4" fmla="*/ 9987 h 10000"/>
              <a:gd name="connsiteX5" fmla="*/ 2477 w 10000"/>
              <a:gd name="connsiteY5" fmla="*/ 9424 h 10000"/>
              <a:gd name="connsiteX6" fmla="*/ 4587 w 10000"/>
              <a:gd name="connsiteY6" fmla="*/ 9965 h 10000"/>
              <a:gd name="connsiteX7" fmla="*/ 5994 w 10000"/>
              <a:gd name="connsiteY7" fmla="*/ 9424 h 10000"/>
              <a:gd name="connsiteX8" fmla="*/ 7050 w 10000"/>
              <a:gd name="connsiteY8" fmla="*/ 7266 h 10000"/>
              <a:gd name="connsiteX9" fmla="*/ 9002 w 10000"/>
              <a:gd name="connsiteY9" fmla="*/ 8988 h 10000"/>
              <a:gd name="connsiteX10" fmla="*/ 10000 w 10000"/>
              <a:gd name="connsiteY10" fmla="*/ 7262 h 10000"/>
              <a:gd name="connsiteX11" fmla="*/ 9159 w 10000"/>
              <a:gd name="connsiteY11" fmla="*/ 1868 h 10000"/>
              <a:gd name="connsiteX12" fmla="*/ 6888 w 10000"/>
              <a:gd name="connsiteY12" fmla="*/ 5225 h 10000"/>
              <a:gd name="connsiteX13" fmla="*/ 7310 w 10000"/>
              <a:gd name="connsiteY13" fmla="*/ 5846 h 10000"/>
              <a:gd name="connsiteX14" fmla="*/ 5672 w 10000"/>
              <a:gd name="connsiteY14" fmla="*/ 4352 h 10000"/>
              <a:gd name="connsiteX15" fmla="*/ 5116 w 10000"/>
              <a:gd name="connsiteY15" fmla="*/ 2843 h 10000"/>
              <a:gd name="connsiteX16" fmla="*/ 5050 w 10000"/>
              <a:gd name="connsiteY16" fmla="*/ 965 h 10000"/>
              <a:gd name="connsiteX17" fmla="*/ 3533 w 10000"/>
              <a:gd name="connsiteY17" fmla="*/ 249 h 10000"/>
              <a:gd name="connsiteX18" fmla="*/ 2126 w 10000"/>
              <a:gd name="connsiteY18" fmla="*/ 249 h 10000"/>
              <a:gd name="connsiteX19" fmla="*/ 1552 w 10000"/>
              <a:gd name="connsiteY19" fmla="*/ 2684 h 10000"/>
              <a:gd name="connsiteX20" fmla="*/ 1424 w 10000"/>
              <a:gd name="connsiteY20" fmla="*/ 3487 h 10000"/>
              <a:gd name="connsiteX21" fmla="*/ 16 w 10000"/>
              <a:gd name="connsiteY21" fmla="*/ 3487 h 10000"/>
              <a:gd name="connsiteX22" fmla="*/ 1672 w 10000"/>
              <a:gd name="connsiteY22" fmla="*/ 4423 h 10000"/>
              <a:gd name="connsiteX23" fmla="*/ 317 w 10000"/>
              <a:gd name="connsiteY23" fmla="*/ 5845 h 10000"/>
              <a:gd name="connsiteX24" fmla="*/ 1197 w 10000"/>
              <a:gd name="connsiteY24" fmla="*/ 6453 h 10000"/>
              <a:gd name="connsiteX0" fmla="*/ 880 w 9683"/>
              <a:gd name="connsiteY0" fmla="*/ 6453 h 10000"/>
              <a:gd name="connsiteX1" fmla="*/ 643 w 9683"/>
              <a:gd name="connsiteY1" fmla="*/ 9727 h 10000"/>
              <a:gd name="connsiteX2" fmla="*/ 265 w 9683"/>
              <a:gd name="connsiteY2" fmla="*/ 9851 h 10000"/>
              <a:gd name="connsiteX3" fmla="*/ 722 w 9683"/>
              <a:gd name="connsiteY3" fmla="*/ 9681 h 10000"/>
              <a:gd name="connsiteX4" fmla="*/ 2065 w 9683"/>
              <a:gd name="connsiteY4" fmla="*/ 9987 h 10000"/>
              <a:gd name="connsiteX5" fmla="*/ 2160 w 9683"/>
              <a:gd name="connsiteY5" fmla="*/ 9424 h 10000"/>
              <a:gd name="connsiteX6" fmla="*/ 4270 w 9683"/>
              <a:gd name="connsiteY6" fmla="*/ 9965 h 10000"/>
              <a:gd name="connsiteX7" fmla="*/ 5677 w 9683"/>
              <a:gd name="connsiteY7" fmla="*/ 9424 h 10000"/>
              <a:gd name="connsiteX8" fmla="*/ 6733 w 9683"/>
              <a:gd name="connsiteY8" fmla="*/ 7266 h 10000"/>
              <a:gd name="connsiteX9" fmla="*/ 8685 w 9683"/>
              <a:gd name="connsiteY9" fmla="*/ 8988 h 10000"/>
              <a:gd name="connsiteX10" fmla="*/ 9683 w 9683"/>
              <a:gd name="connsiteY10" fmla="*/ 7262 h 10000"/>
              <a:gd name="connsiteX11" fmla="*/ 8842 w 9683"/>
              <a:gd name="connsiteY11" fmla="*/ 1868 h 10000"/>
              <a:gd name="connsiteX12" fmla="*/ 6571 w 9683"/>
              <a:gd name="connsiteY12" fmla="*/ 5225 h 10000"/>
              <a:gd name="connsiteX13" fmla="*/ 6993 w 9683"/>
              <a:gd name="connsiteY13" fmla="*/ 5846 h 10000"/>
              <a:gd name="connsiteX14" fmla="*/ 5355 w 9683"/>
              <a:gd name="connsiteY14" fmla="*/ 4352 h 10000"/>
              <a:gd name="connsiteX15" fmla="*/ 4799 w 9683"/>
              <a:gd name="connsiteY15" fmla="*/ 2843 h 10000"/>
              <a:gd name="connsiteX16" fmla="*/ 4733 w 9683"/>
              <a:gd name="connsiteY16" fmla="*/ 965 h 10000"/>
              <a:gd name="connsiteX17" fmla="*/ 3216 w 9683"/>
              <a:gd name="connsiteY17" fmla="*/ 249 h 10000"/>
              <a:gd name="connsiteX18" fmla="*/ 1809 w 9683"/>
              <a:gd name="connsiteY18" fmla="*/ 249 h 10000"/>
              <a:gd name="connsiteX19" fmla="*/ 1235 w 9683"/>
              <a:gd name="connsiteY19" fmla="*/ 2684 h 10000"/>
              <a:gd name="connsiteX20" fmla="*/ 1107 w 9683"/>
              <a:gd name="connsiteY20" fmla="*/ 3487 h 10000"/>
              <a:gd name="connsiteX21" fmla="*/ 954 w 9683"/>
              <a:gd name="connsiteY21" fmla="*/ 4284 h 10000"/>
              <a:gd name="connsiteX22" fmla="*/ 1355 w 9683"/>
              <a:gd name="connsiteY22" fmla="*/ 4423 h 10000"/>
              <a:gd name="connsiteX23" fmla="*/ 0 w 9683"/>
              <a:gd name="connsiteY23" fmla="*/ 5845 h 10000"/>
              <a:gd name="connsiteX24" fmla="*/ 880 w 9683"/>
              <a:gd name="connsiteY24" fmla="*/ 6453 h 10000"/>
              <a:gd name="connsiteX0" fmla="*/ 909 w 10000"/>
              <a:gd name="connsiteY0" fmla="*/ 6453 h 10000"/>
              <a:gd name="connsiteX1" fmla="*/ 664 w 10000"/>
              <a:gd name="connsiteY1" fmla="*/ 9727 h 10000"/>
              <a:gd name="connsiteX2" fmla="*/ 274 w 10000"/>
              <a:gd name="connsiteY2" fmla="*/ 9851 h 10000"/>
              <a:gd name="connsiteX3" fmla="*/ 746 w 10000"/>
              <a:gd name="connsiteY3" fmla="*/ 9681 h 10000"/>
              <a:gd name="connsiteX4" fmla="*/ 2133 w 10000"/>
              <a:gd name="connsiteY4" fmla="*/ 9987 h 10000"/>
              <a:gd name="connsiteX5" fmla="*/ 2231 w 10000"/>
              <a:gd name="connsiteY5" fmla="*/ 9424 h 10000"/>
              <a:gd name="connsiteX6" fmla="*/ 4410 w 10000"/>
              <a:gd name="connsiteY6" fmla="*/ 9965 h 10000"/>
              <a:gd name="connsiteX7" fmla="*/ 5863 w 10000"/>
              <a:gd name="connsiteY7" fmla="*/ 9424 h 10000"/>
              <a:gd name="connsiteX8" fmla="*/ 6953 w 10000"/>
              <a:gd name="connsiteY8" fmla="*/ 7266 h 10000"/>
              <a:gd name="connsiteX9" fmla="*/ 8612 w 10000"/>
              <a:gd name="connsiteY9" fmla="*/ 8836 h 10000"/>
              <a:gd name="connsiteX10" fmla="*/ 10000 w 10000"/>
              <a:gd name="connsiteY10" fmla="*/ 7262 h 10000"/>
              <a:gd name="connsiteX11" fmla="*/ 9131 w 10000"/>
              <a:gd name="connsiteY11" fmla="*/ 1868 h 10000"/>
              <a:gd name="connsiteX12" fmla="*/ 6786 w 10000"/>
              <a:gd name="connsiteY12" fmla="*/ 5225 h 10000"/>
              <a:gd name="connsiteX13" fmla="*/ 7222 w 10000"/>
              <a:gd name="connsiteY13" fmla="*/ 5846 h 10000"/>
              <a:gd name="connsiteX14" fmla="*/ 5530 w 10000"/>
              <a:gd name="connsiteY14" fmla="*/ 4352 h 10000"/>
              <a:gd name="connsiteX15" fmla="*/ 4956 w 10000"/>
              <a:gd name="connsiteY15" fmla="*/ 2843 h 10000"/>
              <a:gd name="connsiteX16" fmla="*/ 4888 w 10000"/>
              <a:gd name="connsiteY16" fmla="*/ 965 h 10000"/>
              <a:gd name="connsiteX17" fmla="*/ 3321 w 10000"/>
              <a:gd name="connsiteY17" fmla="*/ 249 h 10000"/>
              <a:gd name="connsiteX18" fmla="*/ 1868 w 10000"/>
              <a:gd name="connsiteY18" fmla="*/ 249 h 10000"/>
              <a:gd name="connsiteX19" fmla="*/ 1275 w 10000"/>
              <a:gd name="connsiteY19" fmla="*/ 2684 h 10000"/>
              <a:gd name="connsiteX20" fmla="*/ 1143 w 10000"/>
              <a:gd name="connsiteY20" fmla="*/ 3487 h 10000"/>
              <a:gd name="connsiteX21" fmla="*/ 985 w 10000"/>
              <a:gd name="connsiteY21" fmla="*/ 4284 h 10000"/>
              <a:gd name="connsiteX22" fmla="*/ 1399 w 10000"/>
              <a:gd name="connsiteY22" fmla="*/ 4423 h 10000"/>
              <a:gd name="connsiteX23" fmla="*/ 0 w 10000"/>
              <a:gd name="connsiteY23" fmla="*/ 5845 h 10000"/>
              <a:gd name="connsiteX24" fmla="*/ 909 w 10000"/>
              <a:gd name="connsiteY24" fmla="*/ 6453 h 10000"/>
              <a:gd name="connsiteX0" fmla="*/ 909 w 9202"/>
              <a:gd name="connsiteY0" fmla="*/ 6453 h 10000"/>
              <a:gd name="connsiteX1" fmla="*/ 664 w 9202"/>
              <a:gd name="connsiteY1" fmla="*/ 9727 h 10000"/>
              <a:gd name="connsiteX2" fmla="*/ 274 w 9202"/>
              <a:gd name="connsiteY2" fmla="*/ 9851 h 10000"/>
              <a:gd name="connsiteX3" fmla="*/ 746 w 9202"/>
              <a:gd name="connsiteY3" fmla="*/ 9681 h 10000"/>
              <a:gd name="connsiteX4" fmla="*/ 2133 w 9202"/>
              <a:gd name="connsiteY4" fmla="*/ 9987 h 10000"/>
              <a:gd name="connsiteX5" fmla="*/ 2231 w 9202"/>
              <a:gd name="connsiteY5" fmla="*/ 9424 h 10000"/>
              <a:gd name="connsiteX6" fmla="*/ 4410 w 9202"/>
              <a:gd name="connsiteY6" fmla="*/ 9965 h 10000"/>
              <a:gd name="connsiteX7" fmla="*/ 5863 w 9202"/>
              <a:gd name="connsiteY7" fmla="*/ 9424 h 10000"/>
              <a:gd name="connsiteX8" fmla="*/ 6953 w 9202"/>
              <a:gd name="connsiteY8" fmla="*/ 7266 h 10000"/>
              <a:gd name="connsiteX9" fmla="*/ 8612 w 9202"/>
              <a:gd name="connsiteY9" fmla="*/ 8836 h 10000"/>
              <a:gd name="connsiteX10" fmla="*/ 9003 w 9202"/>
              <a:gd name="connsiteY10" fmla="*/ 6266 h 10000"/>
              <a:gd name="connsiteX11" fmla="*/ 9131 w 9202"/>
              <a:gd name="connsiteY11" fmla="*/ 1868 h 10000"/>
              <a:gd name="connsiteX12" fmla="*/ 6786 w 9202"/>
              <a:gd name="connsiteY12" fmla="*/ 5225 h 10000"/>
              <a:gd name="connsiteX13" fmla="*/ 7222 w 9202"/>
              <a:gd name="connsiteY13" fmla="*/ 5846 h 10000"/>
              <a:gd name="connsiteX14" fmla="*/ 5530 w 9202"/>
              <a:gd name="connsiteY14" fmla="*/ 4352 h 10000"/>
              <a:gd name="connsiteX15" fmla="*/ 4956 w 9202"/>
              <a:gd name="connsiteY15" fmla="*/ 2843 h 10000"/>
              <a:gd name="connsiteX16" fmla="*/ 4888 w 9202"/>
              <a:gd name="connsiteY16" fmla="*/ 965 h 10000"/>
              <a:gd name="connsiteX17" fmla="*/ 3321 w 9202"/>
              <a:gd name="connsiteY17" fmla="*/ 249 h 10000"/>
              <a:gd name="connsiteX18" fmla="*/ 1868 w 9202"/>
              <a:gd name="connsiteY18" fmla="*/ 249 h 10000"/>
              <a:gd name="connsiteX19" fmla="*/ 1275 w 9202"/>
              <a:gd name="connsiteY19" fmla="*/ 2684 h 10000"/>
              <a:gd name="connsiteX20" fmla="*/ 1143 w 9202"/>
              <a:gd name="connsiteY20" fmla="*/ 3487 h 10000"/>
              <a:gd name="connsiteX21" fmla="*/ 985 w 9202"/>
              <a:gd name="connsiteY21" fmla="*/ 4284 h 10000"/>
              <a:gd name="connsiteX22" fmla="*/ 1399 w 9202"/>
              <a:gd name="connsiteY22" fmla="*/ 4423 h 10000"/>
              <a:gd name="connsiteX23" fmla="*/ 0 w 9202"/>
              <a:gd name="connsiteY23" fmla="*/ 5845 h 10000"/>
              <a:gd name="connsiteX24" fmla="*/ 909 w 9202"/>
              <a:gd name="connsiteY24" fmla="*/ 6453 h 10000"/>
              <a:gd name="connsiteX0" fmla="*/ 988 w 9784"/>
              <a:gd name="connsiteY0" fmla="*/ 6453 h 10000"/>
              <a:gd name="connsiteX1" fmla="*/ 722 w 9784"/>
              <a:gd name="connsiteY1" fmla="*/ 9727 h 10000"/>
              <a:gd name="connsiteX2" fmla="*/ 298 w 9784"/>
              <a:gd name="connsiteY2" fmla="*/ 9851 h 10000"/>
              <a:gd name="connsiteX3" fmla="*/ 811 w 9784"/>
              <a:gd name="connsiteY3" fmla="*/ 9681 h 10000"/>
              <a:gd name="connsiteX4" fmla="*/ 2318 w 9784"/>
              <a:gd name="connsiteY4" fmla="*/ 9987 h 10000"/>
              <a:gd name="connsiteX5" fmla="*/ 2424 w 9784"/>
              <a:gd name="connsiteY5" fmla="*/ 9424 h 10000"/>
              <a:gd name="connsiteX6" fmla="*/ 4792 w 9784"/>
              <a:gd name="connsiteY6" fmla="*/ 9965 h 10000"/>
              <a:gd name="connsiteX7" fmla="*/ 6371 w 9784"/>
              <a:gd name="connsiteY7" fmla="*/ 9424 h 10000"/>
              <a:gd name="connsiteX8" fmla="*/ 7556 w 9784"/>
              <a:gd name="connsiteY8" fmla="*/ 7266 h 10000"/>
              <a:gd name="connsiteX9" fmla="*/ 9359 w 9784"/>
              <a:gd name="connsiteY9" fmla="*/ 8836 h 10000"/>
              <a:gd name="connsiteX10" fmla="*/ 9784 w 9784"/>
              <a:gd name="connsiteY10" fmla="*/ 6266 h 10000"/>
              <a:gd name="connsiteX11" fmla="*/ 9092 w 9784"/>
              <a:gd name="connsiteY11" fmla="*/ 4080 h 10000"/>
              <a:gd name="connsiteX12" fmla="*/ 7374 w 9784"/>
              <a:gd name="connsiteY12" fmla="*/ 5225 h 10000"/>
              <a:gd name="connsiteX13" fmla="*/ 7848 w 9784"/>
              <a:gd name="connsiteY13" fmla="*/ 5846 h 10000"/>
              <a:gd name="connsiteX14" fmla="*/ 6010 w 9784"/>
              <a:gd name="connsiteY14" fmla="*/ 4352 h 10000"/>
              <a:gd name="connsiteX15" fmla="*/ 5386 w 9784"/>
              <a:gd name="connsiteY15" fmla="*/ 2843 h 10000"/>
              <a:gd name="connsiteX16" fmla="*/ 5312 w 9784"/>
              <a:gd name="connsiteY16" fmla="*/ 965 h 10000"/>
              <a:gd name="connsiteX17" fmla="*/ 3609 w 9784"/>
              <a:gd name="connsiteY17" fmla="*/ 249 h 10000"/>
              <a:gd name="connsiteX18" fmla="*/ 2030 w 9784"/>
              <a:gd name="connsiteY18" fmla="*/ 249 h 10000"/>
              <a:gd name="connsiteX19" fmla="*/ 1386 w 9784"/>
              <a:gd name="connsiteY19" fmla="*/ 2684 h 10000"/>
              <a:gd name="connsiteX20" fmla="*/ 1242 w 9784"/>
              <a:gd name="connsiteY20" fmla="*/ 3487 h 10000"/>
              <a:gd name="connsiteX21" fmla="*/ 1070 w 9784"/>
              <a:gd name="connsiteY21" fmla="*/ 4284 h 10000"/>
              <a:gd name="connsiteX22" fmla="*/ 1520 w 9784"/>
              <a:gd name="connsiteY22" fmla="*/ 4423 h 10000"/>
              <a:gd name="connsiteX23" fmla="*/ 0 w 9784"/>
              <a:gd name="connsiteY23" fmla="*/ 5845 h 10000"/>
              <a:gd name="connsiteX24" fmla="*/ 988 w 9784"/>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260 w 10000"/>
              <a:gd name="connsiteY16" fmla="*/ 2740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204 h 9751"/>
              <a:gd name="connsiteX1" fmla="*/ 738 w 10000"/>
              <a:gd name="connsiteY1" fmla="*/ 9478 h 9751"/>
              <a:gd name="connsiteX2" fmla="*/ 305 w 10000"/>
              <a:gd name="connsiteY2" fmla="*/ 9602 h 9751"/>
              <a:gd name="connsiteX3" fmla="*/ 829 w 10000"/>
              <a:gd name="connsiteY3" fmla="*/ 9432 h 9751"/>
              <a:gd name="connsiteX4" fmla="*/ 2369 w 10000"/>
              <a:gd name="connsiteY4" fmla="*/ 9738 h 9751"/>
              <a:gd name="connsiteX5" fmla="*/ 2478 w 10000"/>
              <a:gd name="connsiteY5" fmla="*/ 9175 h 9751"/>
              <a:gd name="connsiteX6" fmla="*/ 4898 w 10000"/>
              <a:gd name="connsiteY6" fmla="*/ 9716 h 9751"/>
              <a:gd name="connsiteX7" fmla="*/ 6512 w 10000"/>
              <a:gd name="connsiteY7" fmla="*/ 9175 h 9751"/>
              <a:gd name="connsiteX8" fmla="*/ 7723 w 10000"/>
              <a:gd name="connsiteY8" fmla="*/ 7017 h 9751"/>
              <a:gd name="connsiteX9" fmla="*/ 9566 w 10000"/>
              <a:gd name="connsiteY9" fmla="*/ 8587 h 9751"/>
              <a:gd name="connsiteX10" fmla="*/ 10000 w 10000"/>
              <a:gd name="connsiteY10" fmla="*/ 6017 h 9751"/>
              <a:gd name="connsiteX11" fmla="*/ 9293 w 10000"/>
              <a:gd name="connsiteY11" fmla="*/ 3831 h 9751"/>
              <a:gd name="connsiteX12" fmla="*/ 7273 w 10000"/>
              <a:gd name="connsiteY12" fmla="*/ 6080 h 9751"/>
              <a:gd name="connsiteX13" fmla="*/ 8021 w 10000"/>
              <a:gd name="connsiteY13" fmla="*/ 5597 h 9751"/>
              <a:gd name="connsiteX14" fmla="*/ 6143 w 10000"/>
              <a:gd name="connsiteY14" fmla="*/ 4103 h 9751"/>
              <a:gd name="connsiteX15" fmla="*/ 5505 w 10000"/>
              <a:gd name="connsiteY15" fmla="*/ 2594 h 9751"/>
              <a:gd name="connsiteX16" fmla="*/ 5260 w 10000"/>
              <a:gd name="connsiteY16" fmla="*/ 2491 h 9751"/>
              <a:gd name="connsiteX17" fmla="*/ 4325 w 10000"/>
              <a:gd name="connsiteY17" fmla="*/ 2274 h 9751"/>
              <a:gd name="connsiteX18" fmla="*/ 2075 w 10000"/>
              <a:gd name="connsiteY18" fmla="*/ 0 h 9751"/>
              <a:gd name="connsiteX19" fmla="*/ 1417 w 10000"/>
              <a:gd name="connsiteY19" fmla="*/ 2435 h 9751"/>
              <a:gd name="connsiteX20" fmla="*/ 1269 w 10000"/>
              <a:gd name="connsiteY20" fmla="*/ 3238 h 9751"/>
              <a:gd name="connsiteX21" fmla="*/ 1094 w 10000"/>
              <a:gd name="connsiteY21" fmla="*/ 4035 h 9751"/>
              <a:gd name="connsiteX22" fmla="*/ 1554 w 10000"/>
              <a:gd name="connsiteY22" fmla="*/ 4174 h 9751"/>
              <a:gd name="connsiteX23" fmla="*/ 0 w 10000"/>
              <a:gd name="connsiteY23" fmla="*/ 5596 h 9751"/>
              <a:gd name="connsiteX24" fmla="*/ 1010 w 10000"/>
              <a:gd name="connsiteY24" fmla="*/ 6204 h 9751"/>
              <a:gd name="connsiteX0" fmla="*/ 1010 w 10000"/>
              <a:gd name="connsiteY0" fmla="*/ 6362 h 10000"/>
              <a:gd name="connsiteX1" fmla="*/ 738 w 10000"/>
              <a:gd name="connsiteY1" fmla="*/ 9720 h 10000"/>
              <a:gd name="connsiteX2" fmla="*/ 305 w 10000"/>
              <a:gd name="connsiteY2" fmla="*/ 9847 h 10000"/>
              <a:gd name="connsiteX3" fmla="*/ 829 w 10000"/>
              <a:gd name="connsiteY3" fmla="*/ 9673 h 10000"/>
              <a:gd name="connsiteX4" fmla="*/ 2369 w 10000"/>
              <a:gd name="connsiteY4" fmla="*/ 9987 h 10000"/>
              <a:gd name="connsiteX5" fmla="*/ 2478 w 10000"/>
              <a:gd name="connsiteY5" fmla="*/ 9409 h 10000"/>
              <a:gd name="connsiteX6" fmla="*/ 4898 w 10000"/>
              <a:gd name="connsiteY6" fmla="*/ 9964 h 10000"/>
              <a:gd name="connsiteX7" fmla="*/ 6512 w 10000"/>
              <a:gd name="connsiteY7" fmla="*/ 9409 h 10000"/>
              <a:gd name="connsiteX8" fmla="*/ 7723 w 10000"/>
              <a:gd name="connsiteY8" fmla="*/ 7196 h 10000"/>
              <a:gd name="connsiteX9" fmla="*/ 9566 w 10000"/>
              <a:gd name="connsiteY9" fmla="*/ 8806 h 10000"/>
              <a:gd name="connsiteX10" fmla="*/ 10000 w 10000"/>
              <a:gd name="connsiteY10" fmla="*/ 6171 h 10000"/>
              <a:gd name="connsiteX11" fmla="*/ 9293 w 10000"/>
              <a:gd name="connsiteY11" fmla="*/ 3929 h 10000"/>
              <a:gd name="connsiteX12" fmla="*/ 7273 w 10000"/>
              <a:gd name="connsiteY12" fmla="*/ 6235 h 10000"/>
              <a:gd name="connsiteX13" fmla="*/ 8021 w 10000"/>
              <a:gd name="connsiteY13" fmla="*/ 5740 h 10000"/>
              <a:gd name="connsiteX14" fmla="*/ 6143 w 10000"/>
              <a:gd name="connsiteY14" fmla="*/ 4208 h 10000"/>
              <a:gd name="connsiteX15" fmla="*/ 5505 w 10000"/>
              <a:gd name="connsiteY15" fmla="*/ 2660 h 10000"/>
              <a:gd name="connsiteX16" fmla="*/ 5260 w 10000"/>
              <a:gd name="connsiteY16" fmla="*/ 2555 h 10000"/>
              <a:gd name="connsiteX17" fmla="*/ 4325 w 10000"/>
              <a:gd name="connsiteY17" fmla="*/ 2332 h 10000"/>
              <a:gd name="connsiteX18" fmla="*/ 2075 w 10000"/>
              <a:gd name="connsiteY18" fmla="*/ 0 h 10000"/>
              <a:gd name="connsiteX19" fmla="*/ 2472 w 10000"/>
              <a:gd name="connsiteY19" fmla="*/ 3303 h 10000"/>
              <a:gd name="connsiteX20" fmla="*/ 1269 w 10000"/>
              <a:gd name="connsiteY20" fmla="*/ 3321 h 10000"/>
              <a:gd name="connsiteX21" fmla="*/ 1094 w 10000"/>
              <a:gd name="connsiteY21" fmla="*/ 4138 h 10000"/>
              <a:gd name="connsiteX22" fmla="*/ 1554 w 10000"/>
              <a:gd name="connsiteY22" fmla="*/ 4281 h 10000"/>
              <a:gd name="connsiteX23" fmla="*/ 0 w 10000"/>
              <a:gd name="connsiteY23" fmla="*/ 5739 h 10000"/>
              <a:gd name="connsiteX24" fmla="*/ 1010 w 10000"/>
              <a:gd name="connsiteY24" fmla="*/ 6362 h 10000"/>
              <a:gd name="connsiteX0" fmla="*/ 1010 w 10000"/>
              <a:gd name="connsiteY0" fmla="*/ 4499 h 8137"/>
              <a:gd name="connsiteX1" fmla="*/ 738 w 10000"/>
              <a:gd name="connsiteY1" fmla="*/ 7857 h 8137"/>
              <a:gd name="connsiteX2" fmla="*/ 305 w 10000"/>
              <a:gd name="connsiteY2" fmla="*/ 7984 h 8137"/>
              <a:gd name="connsiteX3" fmla="*/ 829 w 10000"/>
              <a:gd name="connsiteY3" fmla="*/ 7810 h 8137"/>
              <a:gd name="connsiteX4" fmla="*/ 2369 w 10000"/>
              <a:gd name="connsiteY4" fmla="*/ 8124 h 8137"/>
              <a:gd name="connsiteX5" fmla="*/ 2478 w 10000"/>
              <a:gd name="connsiteY5" fmla="*/ 7546 h 8137"/>
              <a:gd name="connsiteX6" fmla="*/ 4898 w 10000"/>
              <a:gd name="connsiteY6" fmla="*/ 8101 h 8137"/>
              <a:gd name="connsiteX7" fmla="*/ 6512 w 10000"/>
              <a:gd name="connsiteY7" fmla="*/ 7546 h 8137"/>
              <a:gd name="connsiteX8" fmla="*/ 7723 w 10000"/>
              <a:gd name="connsiteY8" fmla="*/ 5333 h 8137"/>
              <a:gd name="connsiteX9" fmla="*/ 9566 w 10000"/>
              <a:gd name="connsiteY9" fmla="*/ 6943 h 8137"/>
              <a:gd name="connsiteX10" fmla="*/ 10000 w 10000"/>
              <a:gd name="connsiteY10" fmla="*/ 4308 h 8137"/>
              <a:gd name="connsiteX11" fmla="*/ 9293 w 10000"/>
              <a:gd name="connsiteY11" fmla="*/ 2066 h 8137"/>
              <a:gd name="connsiteX12" fmla="*/ 7273 w 10000"/>
              <a:gd name="connsiteY12" fmla="*/ 4372 h 8137"/>
              <a:gd name="connsiteX13" fmla="*/ 8021 w 10000"/>
              <a:gd name="connsiteY13" fmla="*/ 3877 h 8137"/>
              <a:gd name="connsiteX14" fmla="*/ 6143 w 10000"/>
              <a:gd name="connsiteY14" fmla="*/ 2345 h 8137"/>
              <a:gd name="connsiteX15" fmla="*/ 5505 w 10000"/>
              <a:gd name="connsiteY15" fmla="*/ 797 h 8137"/>
              <a:gd name="connsiteX16" fmla="*/ 5260 w 10000"/>
              <a:gd name="connsiteY16" fmla="*/ 692 h 8137"/>
              <a:gd name="connsiteX17" fmla="*/ 4325 w 10000"/>
              <a:gd name="connsiteY17" fmla="*/ 469 h 8137"/>
              <a:gd name="connsiteX18" fmla="*/ 3171 w 10000"/>
              <a:gd name="connsiteY18" fmla="*/ 0 h 8137"/>
              <a:gd name="connsiteX19" fmla="*/ 2472 w 10000"/>
              <a:gd name="connsiteY19" fmla="*/ 1440 h 8137"/>
              <a:gd name="connsiteX20" fmla="*/ 1269 w 10000"/>
              <a:gd name="connsiteY20" fmla="*/ 1458 h 8137"/>
              <a:gd name="connsiteX21" fmla="*/ 1094 w 10000"/>
              <a:gd name="connsiteY21" fmla="*/ 2275 h 8137"/>
              <a:gd name="connsiteX22" fmla="*/ 1554 w 10000"/>
              <a:gd name="connsiteY22" fmla="*/ 2418 h 8137"/>
              <a:gd name="connsiteX23" fmla="*/ 0 w 10000"/>
              <a:gd name="connsiteY23" fmla="*/ 3876 h 8137"/>
              <a:gd name="connsiteX24" fmla="*/ 1010 w 10000"/>
              <a:gd name="connsiteY24" fmla="*/ 4499 h 8137"/>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1554 w 10000"/>
              <a:gd name="connsiteY22" fmla="*/ 2972 h 10000"/>
              <a:gd name="connsiteX23" fmla="*/ 0 w 10000"/>
              <a:gd name="connsiteY23" fmla="*/ 4763 h 10000"/>
              <a:gd name="connsiteX24" fmla="*/ 1010 w 10000"/>
              <a:gd name="connsiteY24"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2331 w 10000"/>
              <a:gd name="connsiteY22" fmla="*/ 4409 h 10000"/>
              <a:gd name="connsiteX23" fmla="*/ 1554 w 10000"/>
              <a:gd name="connsiteY23" fmla="*/ 2972 h 10000"/>
              <a:gd name="connsiteX24" fmla="*/ 0 w 10000"/>
              <a:gd name="connsiteY24" fmla="*/ 4763 h 10000"/>
              <a:gd name="connsiteX25" fmla="*/ 1010 w 10000"/>
              <a:gd name="connsiteY25"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1094 w 10000"/>
              <a:gd name="connsiteY22" fmla="*/ 2796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2156 w 10000"/>
              <a:gd name="connsiteY24" fmla="*/ 3663 h 10000"/>
              <a:gd name="connsiteX25" fmla="*/ 0 w 10000"/>
              <a:gd name="connsiteY25" fmla="*/ 4763 h 10000"/>
              <a:gd name="connsiteX26" fmla="*/ 1010 w 10000"/>
              <a:gd name="connsiteY26" fmla="*/ 5529 h 10000"/>
              <a:gd name="connsiteX0" fmla="*/ 713 w 9703"/>
              <a:gd name="connsiteY0" fmla="*/ 5529 h 10000"/>
              <a:gd name="connsiteX1" fmla="*/ 441 w 9703"/>
              <a:gd name="connsiteY1" fmla="*/ 9656 h 10000"/>
              <a:gd name="connsiteX2" fmla="*/ 8 w 9703"/>
              <a:gd name="connsiteY2" fmla="*/ 9812 h 10000"/>
              <a:gd name="connsiteX3" fmla="*/ 532 w 9703"/>
              <a:gd name="connsiteY3" fmla="*/ 9598 h 10000"/>
              <a:gd name="connsiteX4" fmla="*/ 2072 w 9703"/>
              <a:gd name="connsiteY4" fmla="*/ 9984 h 10000"/>
              <a:gd name="connsiteX5" fmla="*/ 2181 w 9703"/>
              <a:gd name="connsiteY5" fmla="*/ 9274 h 10000"/>
              <a:gd name="connsiteX6" fmla="*/ 4601 w 9703"/>
              <a:gd name="connsiteY6" fmla="*/ 9956 h 10000"/>
              <a:gd name="connsiteX7" fmla="*/ 6215 w 9703"/>
              <a:gd name="connsiteY7" fmla="*/ 9274 h 10000"/>
              <a:gd name="connsiteX8" fmla="*/ 7426 w 9703"/>
              <a:gd name="connsiteY8" fmla="*/ 6554 h 10000"/>
              <a:gd name="connsiteX9" fmla="*/ 9269 w 9703"/>
              <a:gd name="connsiteY9" fmla="*/ 8533 h 10000"/>
              <a:gd name="connsiteX10" fmla="*/ 9703 w 9703"/>
              <a:gd name="connsiteY10" fmla="*/ 5294 h 10000"/>
              <a:gd name="connsiteX11" fmla="*/ 8996 w 9703"/>
              <a:gd name="connsiteY11" fmla="*/ 2539 h 10000"/>
              <a:gd name="connsiteX12" fmla="*/ 6976 w 9703"/>
              <a:gd name="connsiteY12" fmla="*/ 5373 h 10000"/>
              <a:gd name="connsiteX13" fmla="*/ 7724 w 9703"/>
              <a:gd name="connsiteY13" fmla="*/ 4765 h 10000"/>
              <a:gd name="connsiteX14" fmla="*/ 5846 w 9703"/>
              <a:gd name="connsiteY14" fmla="*/ 2882 h 10000"/>
              <a:gd name="connsiteX15" fmla="*/ 5208 w 9703"/>
              <a:gd name="connsiteY15" fmla="*/ 979 h 10000"/>
              <a:gd name="connsiteX16" fmla="*/ 4963 w 9703"/>
              <a:gd name="connsiteY16" fmla="*/ 850 h 10000"/>
              <a:gd name="connsiteX17" fmla="*/ 4028 w 9703"/>
              <a:gd name="connsiteY17" fmla="*/ 576 h 10000"/>
              <a:gd name="connsiteX18" fmla="*/ 2874 w 9703"/>
              <a:gd name="connsiteY18" fmla="*/ 0 h 10000"/>
              <a:gd name="connsiteX19" fmla="*/ 2175 w 9703"/>
              <a:gd name="connsiteY19" fmla="*/ 1770 h 10000"/>
              <a:gd name="connsiteX20" fmla="*/ 1946 w 9703"/>
              <a:gd name="connsiteY20" fmla="*/ 3463 h 10000"/>
              <a:gd name="connsiteX21" fmla="*/ 1970 w 9703"/>
              <a:gd name="connsiteY21" fmla="*/ 3898 h 10000"/>
              <a:gd name="connsiteX22" fmla="*/ 2157 w 9703"/>
              <a:gd name="connsiteY22" fmla="*/ 3694 h 10000"/>
              <a:gd name="connsiteX23" fmla="*/ 2034 w 9703"/>
              <a:gd name="connsiteY23" fmla="*/ 4409 h 10000"/>
              <a:gd name="connsiteX24" fmla="*/ 1859 w 9703"/>
              <a:gd name="connsiteY24" fmla="*/ 3663 h 10000"/>
              <a:gd name="connsiteX25" fmla="*/ 2057 w 9703"/>
              <a:gd name="connsiteY25" fmla="*/ 4703 h 10000"/>
              <a:gd name="connsiteX26" fmla="*/ 713 w 9703"/>
              <a:gd name="connsiteY26" fmla="*/ 5529 h 10000"/>
              <a:gd name="connsiteX0" fmla="*/ 2050 w 10000"/>
              <a:gd name="connsiteY0" fmla="*/ 6546 h 10000"/>
              <a:gd name="connsiteX1" fmla="*/ 454 w 10000"/>
              <a:gd name="connsiteY1" fmla="*/ 9656 h 10000"/>
              <a:gd name="connsiteX2" fmla="*/ 8 w 10000"/>
              <a:gd name="connsiteY2" fmla="*/ 9812 h 10000"/>
              <a:gd name="connsiteX3" fmla="*/ 548 w 10000"/>
              <a:gd name="connsiteY3" fmla="*/ 9598 h 10000"/>
              <a:gd name="connsiteX4" fmla="*/ 2135 w 10000"/>
              <a:gd name="connsiteY4" fmla="*/ 9984 h 10000"/>
              <a:gd name="connsiteX5" fmla="*/ 2248 w 10000"/>
              <a:gd name="connsiteY5" fmla="*/ 9274 h 10000"/>
              <a:gd name="connsiteX6" fmla="*/ 4742 w 10000"/>
              <a:gd name="connsiteY6" fmla="*/ 9956 h 10000"/>
              <a:gd name="connsiteX7" fmla="*/ 6405 w 10000"/>
              <a:gd name="connsiteY7" fmla="*/ 9274 h 10000"/>
              <a:gd name="connsiteX8" fmla="*/ 7653 w 10000"/>
              <a:gd name="connsiteY8" fmla="*/ 6554 h 10000"/>
              <a:gd name="connsiteX9" fmla="*/ 9553 w 10000"/>
              <a:gd name="connsiteY9" fmla="*/ 8533 h 10000"/>
              <a:gd name="connsiteX10" fmla="*/ 10000 w 10000"/>
              <a:gd name="connsiteY10" fmla="*/ 5294 h 10000"/>
              <a:gd name="connsiteX11" fmla="*/ 9271 w 10000"/>
              <a:gd name="connsiteY11" fmla="*/ 2539 h 10000"/>
              <a:gd name="connsiteX12" fmla="*/ 7190 w 10000"/>
              <a:gd name="connsiteY12" fmla="*/ 5373 h 10000"/>
              <a:gd name="connsiteX13" fmla="*/ 7960 w 10000"/>
              <a:gd name="connsiteY13" fmla="*/ 4765 h 10000"/>
              <a:gd name="connsiteX14" fmla="*/ 6025 w 10000"/>
              <a:gd name="connsiteY14" fmla="*/ 2882 h 10000"/>
              <a:gd name="connsiteX15" fmla="*/ 5367 w 10000"/>
              <a:gd name="connsiteY15" fmla="*/ 979 h 10000"/>
              <a:gd name="connsiteX16" fmla="*/ 5115 w 10000"/>
              <a:gd name="connsiteY16" fmla="*/ 850 h 10000"/>
              <a:gd name="connsiteX17" fmla="*/ 4151 w 10000"/>
              <a:gd name="connsiteY17" fmla="*/ 576 h 10000"/>
              <a:gd name="connsiteX18" fmla="*/ 2962 w 10000"/>
              <a:gd name="connsiteY18" fmla="*/ 0 h 10000"/>
              <a:gd name="connsiteX19" fmla="*/ 2242 w 10000"/>
              <a:gd name="connsiteY19" fmla="*/ 1770 h 10000"/>
              <a:gd name="connsiteX20" fmla="*/ 2006 w 10000"/>
              <a:gd name="connsiteY20" fmla="*/ 3463 h 10000"/>
              <a:gd name="connsiteX21" fmla="*/ 2030 w 10000"/>
              <a:gd name="connsiteY21" fmla="*/ 3898 h 10000"/>
              <a:gd name="connsiteX22" fmla="*/ 2223 w 10000"/>
              <a:gd name="connsiteY22" fmla="*/ 3694 h 10000"/>
              <a:gd name="connsiteX23" fmla="*/ 2096 w 10000"/>
              <a:gd name="connsiteY23" fmla="*/ 4409 h 10000"/>
              <a:gd name="connsiteX24" fmla="*/ 1916 w 10000"/>
              <a:gd name="connsiteY24" fmla="*/ 3663 h 10000"/>
              <a:gd name="connsiteX25" fmla="*/ 2120 w 10000"/>
              <a:gd name="connsiteY25" fmla="*/ 4703 h 10000"/>
              <a:gd name="connsiteX26" fmla="*/ 2050 w 10000"/>
              <a:gd name="connsiteY26" fmla="*/ 6546 h 10000"/>
              <a:gd name="connsiteX0" fmla="*/ 2045 w 9995"/>
              <a:gd name="connsiteY0" fmla="*/ 6546 h 9984"/>
              <a:gd name="connsiteX1" fmla="*/ 449 w 9995"/>
              <a:gd name="connsiteY1" fmla="*/ 9656 h 9984"/>
              <a:gd name="connsiteX2" fmla="*/ 3 w 9995"/>
              <a:gd name="connsiteY2" fmla="*/ 9812 h 9984"/>
              <a:gd name="connsiteX3" fmla="*/ 2077 w 9995"/>
              <a:gd name="connsiteY3" fmla="*/ 6960 h 9984"/>
              <a:gd name="connsiteX4" fmla="*/ 2130 w 9995"/>
              <a:gd name="connsiteY4" fmla="*/ 9984 h 9984"/>
              <a:gd name="connsiteX5" fmla="*/ 2243 w 9995"/>
              <a:gd name="connsiteY5" fmla="*/ 9274 h 9984"/>
              <a:gd name="connsiteX6" fmla="*/ 4737 w 9995"/>
              <a:gd name="connsiteY6" fmla="*/ 9956 h 9984"/>
              <a:gd name="connsiteX7" fmla="*/ 6400 w 9995"/>
              <a:gd name="connsiteY7" fmla="*/ 9274 h 9984"/>
              <a:gd name="connsiteX8" fmla="*/ 7648 w 9995"/>
              <a:gd name="connsiteY8" fmla="*/ 6554 h 9984"/>
              <a:gd name="connsiteX9" fmla="*/ 9548 w 9995"/>
              <a:gd name="connsiteY9" fmla="*/ 8533 h 9984"/>
              <a:gd name="connsiteX10" fmla="*/ 9995 w 9995"/>
              <a:gd name="connsiteY10" fmla="*/ 5294 h 9984"/>
              <a:gd name="connsiteX11" fmla="*/ 9266 w 9995"/>
              <a:gd name="connsiteY11" fmla="*/ 2539 h 9984"/>
              <a:gd name="connsiteX12" fmla="*/ 7185 w 9995"/>
              <a:gd name="connsiteY12" fmla="*/ 5373 h 9984"/>
              <a:gd name="connsiteX13" fmla="*/ 7955 w 9995"/>
              <a:gd name="connsiteY13" fmla="*/ 4765 h 9984"/>
              <a:gd name="connsiteX14" fmla="*/ 6020 w 9995"/>
              <a:gd name="connsiteY14" fmla="*/ 2882 h 9984"/>
              <a:gd name="connsiteX15" fmla="*/ 5362 w 9995"/>
              <a:gd name="connsiteY15" fmla="*/ 979 h 9984"/>
              <a:gd name="connsiteX16" fmla="*/ 5110 w 9995"/>
              <a:gd name="connsiteY16" fmla="*/ 850 h 9984"/>
              <a:gd name="connsiteX17" fmla="*/ 4146 w 9995"/>
              <a:gd name="connsiteY17" fmla="*/ 576 h 9984"/>
              <a:gd name="connsiteX18" fmla="*/ 2957 w 9995"/>
              <a:gd name="connsiteY18" fmla="*/ 0 h 9984"/>
              <a:gd name="connsiteX19" fmla="*/ 2237 w 9995"/>
              <a:gd name="connsiteY19" fmla="*/ 1770 h 9984"/>
              <a:gd name="connsiteX20" fmla="*/ 2001 w 9995"/>
              <a:gd name="connsiteY20" fmla="*/ 3463 h 9984"/>
              <a:gd name="connsiteX21" fmla="*/ 2025 w 9995"/>
              <a:gd name="connsiteY21" fmla="*/ 3898 h 9984"/>
              <a:gd name="connsiteX22" fmla="*/ 2218 w 9995"/>
              <a:gd name="connsiteY22" fmla="*/ 3694 h 9984"/>
              <a:gd name="connsiteX23" fmla="*/ 2091 w 9995"/>
              <a:gd name="connsiteY23" fmla="*/ 4409 h 9984"/>
              <a:gd name="connsiteX24" fmla="*/ 1911 w 9995"/>
              <a:gd name="connsiteY24" fmla="*/ 3663 h 9984"/>
              <a:gd name="connsiteX25" fmla="*/ 2115 w 9995"/>
              <a:gd name="connsiteY25" fmla="*/ 4703 h 9984"/>
              <a:gd name="connsiteX26" fmla="*/ 2045 w 9995"/>
              <a:gd name="connsiteY26" fmla="*/ 6546 h 9984"/>
              <a:gd name="connsiteX0" fmla="*/ 1603 w 9557"/>
              <a:gd name="connsiteY0" fmla="*/ 6556 h 10000"/>
              <a:gd name="connsiteX1" fmla="*/ 6 w 9557"/>
              <a:gd name="connsiteY1" fmla="*/ 9671 h 10000"/>
              <a:gd name="connsiteX2" fmla="*/ 2233 w 9557"/>
              <a:gd name="connsiteY2" fmla="*/ 7881 h 10000"/>
              <a:gd name="connsiteX3" fmla="*/ 1635 w 9557"/>
              <a:gd name="connsiteY3" fmla="*/ 6971 h 10000"/>
              <a:gd name="connsiteX4" fmla="*/ 1688 w 9557"/>
              <a:gd name="connsiteY4" fmla="*/ 10000 h 10000"/>
              <a:gd name="connsiteX5" fmla="*/ 1801 w 9557"/>
              <a:gd name="connsiteY5" fmla="*/ 9289 h 10000"/>
              <a:gd name="connsiteX6" fmla="*/ 4296 w 9557"/>
              <a:gd name="connsiteY6" fmla="*/ 9972 h 10000"/>
              <a:gd name="connsiteX7" fmla="*/ 5960 w 9557"/>
              <a:gd name="connsiteY7" fmla="*/ 9289 h 10000"/>
              <a:gd name="connsiteX8" fmla="*/ 7209 w 9557"/>
              <a:gd name="connsiteY8" fmla="*/ 6565 h 10000"/>
              <a:gd name="connsiteX9" fmla="*/ 9110 w 9557"/>
              <a:gd name="connsiteY9" fmla="*/ 8547 h 10000"/>
              <a:gd name="connsiteX10" fmla="*/ 9557 w 9557"/>
              <a:gd name="connsiteY10" fmla="*/ 5302 h 10000"/>
              <a:gd name="connsiteX11" fmla="*/ 8828 w 9557"/>
              <a:gd name="connsiteY11" fmla="*/ 2543 h 10000"/>
              <a:gd name="connsiteX12" fmla="*/ 6746 w 9557"/>
              <a:gd name="connsiteY12" fmla="*/ 5382 h 10000"/>
              <a:gd name="connsiteX13" fmla="*/ 7516 w 9557"/>
              <a:gd name="connsiteY13" fmla="*/ 4773 h 10000"/>
              <a:gd name="connsiteX14" fmla="*/ 5580 w 9557"/>
              <a:gd name="connsiteY14" fmla="*/ 2887 h 10000"/>
              <a:gd name="connsiteX15" fmla="*/ 4922 w 9557"/>
              <a:gd name="connsiteY15" fmla="*/ 981 h 10000"/>
              <a:gd name="connsiteX16" fmla="*/ 4670 w 9557"/>
              <a:gd name="connsiteY16" fmla="*/ 851 h 10000"/>
              <a:gd name="connsiteX17" fmla="*/ 3705 w 9557"/>
              <a:gd name="connsiteY17" fmla="*/ 577 h 10000"/>
              <a:gd name="connsiteX18" fmla="*/ 2515 w 9557"/>
              <a:gd name="connsiteY18" fmla="*/ 0 h 10000"/>
              <a:gd name="connsiteX19" fmla="*/ 1795 w 9557"/>
              <a:gd name="connsiteY19" fmla="*/ 1773 h 10000"/>
              <a:gd name="connsiteX20" fmla="*/ 1559 w 9557"/>
              <a:gd name="connsiteY20" fmla="*/ 3469 h 10000"/>
              <a:gd name="connsiteX21" fmla="*/ 1583 w 9557"/>
              <a:gd name="connsiteY21" fmla="*/ 3904 h 10000"/>
              <a:gd name="connsiteX22" fmla="*/ 1776 w 9557"/>
              <a:gd name="connsiteY22" fmla="*/ 3700 h 10000"/>
              <a:gd name="connsiteX23" fmla="*/ 1649 w 9557"/>
              <a:gd name="connsiteY23" fmla="*/ 4416 h 10000"/>
              <a:gd name="connsiteX24" fmla="*/ 1469 w 9557"/>
              <a:gd name="connsiteY24" fmla="*/ 3669 h 10000"/>
              <a:gd name="connsiteX25" fmla="*/ 1673 w 9557"/>
              <a:gd name="connsiteY25" fmla="*/ 4711 h 10000"/>
              <a:gd name="connsiteX26" fmla="*/ 1603 w 9557"/>
              <a:gd name="connsiteY26" fmla="*/ 6556 h 10000"/>
              <a:gd name="connsiteX0" fmla="*/ 141 w 8464"/>
              <a:gd name="connsiteY0" fmla="*/ 6556 h 10000"/>
              <a:gd name="connsiteX1" fmla="*/ 373 w 8464"/>
              <a:gd name="connsiteY1" fmla="*/ 7883 h 10000"/>
              <a:gd name="connsiteX2" fmla="*/ 801 w 8464"/>
              <a:gd name="connsiteY2" fmla="*/ 7881 h 10000"/>
              <a:gd name="connsiteX3" fmla="*/ 175 w 8464"/>
              <a:gd name="connsiteY3" fmla="*/ 6971 h 10000"/>
              <a:gd name="connsiteX4" fmla="*/ 230 w 8464"/>
              <a:gd name="connsiteY4" fmla="*/ 10000 h 10000"/>
              <a:gd name="connsiteX5" fmla="*/ 348 w 8464"/>
              <a:gd name="connsiteY5" fmla="*/ 9289 h 10000"/>
              <a:gd name="connsiteX6" fmla="*/ 2959 w 8464"/>
              <a:gd name="connsiteY6" fmla="*/ 9972 h 10000"/>
              <a:gd name="connsiteX7" fmla="*/ 4700 w 8464"/>
              <a:gd name="connsiteY7" fmla="*/ 9289 h 10000"/>
              <a:gd name="connsiteX8" fmla="*/ 6007 w 8464"/>
              <a:gd name="connsiteY8" fmla="*/ 6565 h 10000"/>
              <a:gd name="connsiteX9" fmla="*/ 7996 w 8464"/>
              <a:gd name="connsiteY9" fmla="*/ 8547 h 10000"/>
              <a:gd name="connsiteX10" fmla="*/ 8464 w 8464"/>
              <a:gd name="connsiteY10" fmla="*/ 5302 h 10000"/>
              <a:gd name="connsiteX11" fmla="*/ 7701 w 8464"/>
              <a:gd name="connsiteY11" fmla="*/ 2543 h 10000"/>
              <a:gd name="connsiteX12" fmla="*/ 5523 w 8464"/>
              <a:gd name="connsiteY12" fmla="*/ 5382 h 10000"/>
              <a:gd name="connsiteX13" fmla="*/ 6328 w 8464"/>
              <a:gd name="connsiteY13" fmla="*/ 4773 h 10000"/>
              <a:gd name="connsiteX14" fmla="*/ 4303 w 8464"/>
              <a:gd name="connsiteY14" fmla="*/ 2887 h 10000"/>
              <a:gd name="connsiteX15" fmla="*/ 3614 w 8464"/>
              <a:gd name="connsiteY15" fmla="*/ 981 h 10000"/>
              <a:gd name="connsiteX16" fmla="*/ 3350 w 8464"/>
              <a:gd name="connsiteY16" fmla="*/ 851 h 10000"/>
              <a:gd name="connsiteX17" fmla="*/ 2341 w 8464"/>
              <a:gd name="connsiteY17" fmla="*/ 577 h 10000"/>
              <a:gd name="connsiteX18" fmla="*/ 1096 w 8464"/>
              <a:gd name="connsiteY18" fmla="*/ 0 h 10000"/>
              <a:gd name="connsiteX19" fmla="*/ 342 w 8464"/>
              <a:gd name="connsiteY19" fmla="*/ 1773 h 10000"/>
              <a:gd name="connsiteX20" fmla="*/ 95 w 8464"/>
              <a:gd name="connsiteY20" fmla="*/ 3469 h 10000"/>
              <a:gd name="connsiteX21" fmla="*/ 120 w 8464"/>
              <a:gd name="connsiteY21" fmla="*/ 3904 h 10000"/>
              <a:gd name="connsiteX22" fmla="*/ 322 w 8464"/>
              <a:gd name="connsiteY22" fmla="*/ 3700 h 10000"/>
              <a:gd name="connsiteX23" fmla="*/ 189 w 8464"/>
              <a:gd name="connsiteY23" fmla="*/ 4416 h 10000"/>
              <a:gd name="connsiteX24" fmla="*/ 1 w 8464"/>
              <a:gd name="connsiteY24" fmla="*/ 3669 h 10000"/>
              <a:gd name="connsiteX25" fmla="*/ 215 w 8464"/>
              <a:gd name="connsiteY25" fmla="*/ 4711 h 10000"/>
              <a:gd name="connsiteX26" fmla="*/ 141 w 8464"/>
              <a:gd name="connsiteY26" fmla="*/ 6556 h 10000"/>
              <a:gd name="connsiteX0" fmla="*/ 167 w 10000"/>
              <a:gd name="connsiteY0" fmla="*/ 6556 h 9972"/>
              <a:gd name="connsiteX1" fmla="*/ 441 w 10000"/>
              <a:gd name="connsiteY1" fmla="*/ 7883 h 9972"/>
              <a:gd name="connsiteX2" fmla="*/ 946 w 10000"/>
              <a:gd name="connsiteY2" fmla="*/ 7881 h 9972"/>
              <a:gd name="connsiteX3" fmla="*/ 207 w 10000"/>
              <a:gd name="connsiteY3" fmla="*/ 6971 h 9972"/>
              <a:gd name="connsiteX4" fmla="*/ 1069 w 10000"/>
              <a:gd name="connsiteY4" fmla="*/ 8621 h 9972"/>
              <a:gd name="connsiteX5" fmla="*/ 411 w 10000"/>
              <a:gd name="connsiteY5" fmla="*/ 9289 h 9972"/>
              <a:gd name="connsiteX6" fmla="*/ 3496 w 10000"/>
              <a:gd name="connsiteY6" fmla="*/ 9972 h 9972"/>
              <a:gd name="connsiteX7" fmla="*/ 5553 w 10000"/>
              <a:gd name="connsiteY7" fmla="*/ 9289 h 9972"/>
              <a:gd name="connsiteX8" fmla="*/ 7097 w 10000"/>
              <a:gd name="connsiteY8" fmla="*/ 6565 h 9972"/>
              <a:gd name="connsiteX9" fmla="*/ 9447 w 10000"/>
              <a:gd name="connsiteY9" fmla="*/ 8547 h 9972"/>
              <a:gd name="connsiteX10" fmla="*/ 10000 w 10000"/>
              <a:gd name="connsiteY10" fmla="*/ 5302 h 9972"/>
              <a:gd name="connsiteX11" fmla="*/ 9099 w 10000"/>
              <a:gd name="connsiteY11" fmla="*/ 2543 h 9972"/>
              <a:gd name="connsiteX12" fmla="*/ 6525 w 10000"/>
              <a:gd name="connsiteY12" fmla="*/ 5382 h 9972"/>
              <a:gd name="connsiteX13" fmla="*/ 7476 w 10000"/>
              <a:gd name="connsiteY13" fmla="*/ 4773 h 9972"/>
              <a:gd name="connsiteX14" fmla="*/ 5084 w 10000"/>
              <a:gd name="connsiteY14" fmla="*/ 2887 h 9972"/>
              <a:gd name="connsiteX15" fmla="*/ 4270 w 10000"/>
              <a:gd name="connsiteY15" fmla="*/ 981 h 9972"/>
              <a:gd name="connsiteX16" fmla="*/ 3958 w 10000"/>
              <a:gd name="connsiteY16" fmla="*/ 851 h 9972"/>
              <a:gd name="connsiteX17" fmla="*/ 2766 w 10000"/>
              <a:gd name="connsiteY17" fmla="*/ 577 h 9972"/>
              <a:gd name="connsiteX18" fmla="*/ 1295 w 10000"/>
              <a:gd name="connsiteY18" fmla="*/ 0 h 9972"/>
              <a:gd name="connsiteX19" fmla="*/ 404 w 10000"/>
              <a:gd name="connsiteY19" fmla="*/ 1773 h 9972"/>
              <a:gd name="connsiteX20" fmla="*/ 112 w 10000"/>
              <a:gd name="connsiteY20" fmla="*/ 3469 h 9972"/>
              <a:gd name="connsiteX21" fmla="*/ 142 w 10000"/>
              <a:gd name="connsiteY21" fmla="*/ 3904 h 9972"/>
              <a:gd name="connsiteX22" fmla="*/ 380 w 10000"/>
              <a:gd name="connsiteY22" fmla="*/ 3700 h 9972"/>
              <a:gd name="connsiteX23" fmla="*/ 223 w 10000"/>
              <a:gd name="connsiteY23" fmla="*/ 4416 h 9972"/>
              <a:gd name="connsiteX24" fmla="*/ 1 w 10000"/>
              <a:gd name="connsiteY24" fmla="*/ 3669 h 9972"/>
              <a:gd name="connsiteX25" fmla="*/ 254 w 10000"/>
              <a:gd name="connsiteY25" fmla="*/ 4711 h 9972"/>
              <a:gd name="connsiteX26" fmla="*/ 167 w 10000"/>
              <a:gd name="connsiteY26" fmla="*/ 6556 h 9972"/>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525 w 10000"/>
              <a:gd name="connsiteY12" fmla="*/ 539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729 w 10000"/>
              <a:gd name="connsiteY13" fmla="*/ 6188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1177 w 10000"/>
              <a:gd name="connsiteY5" fmla="*/ 8724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167" y="6574"/>
                </a:moveTo>
                <a:cubicBezTo>
                  <a:pt x="314" y="8031"/>
                  <a:pt x="292" y="6449"/>
                  <a:pt x="441" y="7905"/>
                </a:cubicBezTo>
                <a:lnTo>
                  <a:pt x="946" y="7903"/>
                </a:lnTo>
                <a:cubicBezTo>
                  <a:pt x="840" y="8635"/>
                  <a:pt x="312" y="6259"/>
                  <a:pt x="207" y="6991"/>
                </a:cubicBezTo>
                <a:cubicBezTo>
                  <a:pt x="229" y="8003"/>
                  <a:pt x="1046" y="7632"/>
                  <a:pt x="1069" y="8645"/>
                </a:cubicBezTo>
                <a:cubicBezTo>
                  <a:pt x="1239" y="7735"/>
                  <a:pt x="1007" y="9636"/>
                  <a:pt x="1177" y="8724"/>
                </a:cubicBezTo>
                <a:lnTo>
                  <a:pt x="3496" y="10000"/>
                </a:lnTo>
                <a:lnTo>
                  <a:pt x="5327" y="7864"/>
                </a:lnTo>
                <a:lnTo>
                  <a:pt x="7097" y="6583"/>
                </a:lnTo>
                <a:lnTo>
                  <a:pt x="9447" y="8571"/>
                </a:lnTo>
                <a:cubicBezTo>
                  <a:pt x="9630" y="7485"/>
                  <a:pt x="9816" y="6403"/>
                  <a:pt x="10000" y="5317"/>
                </a:cubicBezTo>
                <a:cubicBezTo>
                  <a:pt x="9589" y="3042"/>
                  <a:pt x="9511" y="4827"/>
                  <a:pt x="9099" y="2550"/>
                </a:cubicBezTo>
                <a:cubicBezTo>
                  <a:pt x="8241" y="3500"/>
                  <a:pt x="6012" y="6092"/>
                  <a:pt x="6179" y="6389"/>
                </a:cubicBezTo>
                <a:cubicBezTo>
                  <a:pt x="6359" y="6187"/>
                  <a:pt x="6430" y="6826"/>
                  <a:pt x="6313" y="6350"/>
                </a:cubicBezTo>
                <a:lnTo>
                  <a:pt x="5084" y="2895"/>
                </a:lnTo>
                <a:cubicBezTo>
                  <a:pt x="4863" y="1763"/>
                  <a:pt x="4490" y="2115"/>
                  <a:pt x="4270" y="984"/>
                </a:cubicBezTo>
                <a:cubicBezTo>
                  <a:pt x="4106" y="1068"/>
                  <a:pt x="4123" y="770"/>
                  <a:pt x="3958" y="853"/>
                </a:cubicBezTo>
                <a:lnTo>
                  <a:pt x="2766" y="579"/>
                </a:lnTo>
                <a:cubicBezTo>
                  <a:pt x="2598" y="-513"/>
                  <a:pt x="1465" y="1093"/>
                  <a:pt x="1295" y="0"/>
                </a:cubicBezTo>
                <a:cubicBezTo>
                  <a:pt x="1464" y="1359"/>
                  <a:pt x="236" y="419"/>
                  <a:pt x="404" y="1778"/>
                </a:cubicBezTo>
                <a:cubicBezTo>
                  <a:pt x="825" y="4373"/>
                  <a:pt x="-310" y="880"/>
                  <a:pt x="112" y="3479"/>
                </a:cubicBezTo>
                <a:cubicBezTo>
                  <a:pt x="-104" y="3661"/>
                  <a:pt x="388" y="4026"/>
                  <a:pt x="142" y="3915"/>
                </a:cubicBezTo>
                <a:cubicBezTo>
                  <a:pt x="-102" y="3804"/>
                  <a:pt x="195" y="3453"/>
                  <a:pt x="380" y="3710"/>
                </a:cubicBezTo>
                <a:cubicBezTo>
                  <a:pt x="175" y="3609"/>
                  <a:pt x="128" y="4399"/>
                  <a:pt x="223" y="4428"/>
                </a:cubicBezTo>
                <a:cubicBezTo>
                  <a:pt x="321" y="4457"/>
                  <a:pt x="271" y="3360"/>
                  <a:pt x="1" y="3679"/>
                </a:cubicBezTo>
                <a:cubicBezTo>
                  <a:pt x="-4" y="4323"/>
                  <a:pt x="258" y="4080"/>
                  <a:pt x="254" y="4724"/>
                </a:cubicBezTo>
                <a:cubicBezTo>
                  <a:pt x="224" y="5341"/>
                  <a:pt x="195" y="5959"/>
                  <a:pt x="167" y="6574"/>
                </a:cubicBez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cxnSp>
        <p:nvCxnSpPr>
          <p:cNvPr id="52" name="Connecteur droit 51"/>
          <p:cNvCxnSpPr>
            <a:stCxn id="97" idx="15"/>
            <a:endCxn id="103" idx="40"/>
          </p:cNvCxnSpPr>
          <p:nvPr/>
        </p:nvCxnSpPr>
        <p:spPr bwMode="auto">
          <a:xfrm>
            <a:off x="4578350" y="3584575"/>
            <a:ext cx="160338" cy="207963"/>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Connecteur droit 52"/>
          <p:cNvCxnSpPr>
            <a:stCxn id="76" idx="8"/>
            <a:endCxn id="72" idx="5"/>
          </p:cNvCxnSpPr>
          <p:nvPr/>
        </p:nvCxnSpPr>
        <p:spPr>
          <a:xfrm>
            <a:off x="6650985" y="5490144"/>
            <a:ext cx="263633" cy="148359"/>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Connecteur droit 53"/>
          <p:cNvCxnSpPr>
            <a:stCxn id="104" idx="17"/>
          </p:cNvCxnSpPr>
          <p:nvPr/>
        </p:nvCxnSpPr>
        <p:spPr bwMode="auto">
          <a:xfrm>
            <a:off x="4268360" y="3134602"/>
            <a:ext cx="132190" cy="138603"/>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sp>
        <p:nvSpPr>
          <p:cNvPr id="2" name="Espace réservé du titre 1"/>
          <p:cNvSpPr>
            <a:spLocks noGrp="1"/>
          </p:cNvSpPr>
          <p:nvPr userDrawn="1">
            <p:ph type="title"/>
          </p:nvPr>
        </p:nvSpPr>
        <p:spPr>
          <a:xfrm>
            <a:off x="457200" y="274638"/>
            <a:ext cx="8229600" cy="562074"/>
          </a:xfrm>
          <a:prstGeom prst="rect">
            <a:avLst/>
          </a:prstGeom>
        </p:spPr>
        <p:txBody>
          <a:bodyPr vert="horz" lIns="91440" tIns="45720" rIns="91440" bIns="45720" rtlCol="0" anchor="ctr">
            <a:normAutofit/>
          </a:bodyPr>
          <a:lstStyle/>
          <a:p>
            <a:r>
              <a:rPr lang="fr-FR" dirty="0"/>
              <a:t>Cliquez pour modifier le style du titre</a:t>
            </a:r>
          </a:p>
        </p:txBody>
      </p:sp>
      <p:sp>
        <p:nvSpPr>
          <p:cNvPr id="3" name="Espace réservé du texte 2"/>
          <p:cNvSpPr>
            <a:spLocks noGrp="1"/>
          </p:cNvSpPr>
          <p:nvPr userDrawn="1">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userDrawn="1">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2ECADC-9CA4-4FA1-98E1-297E3B9BCDFA}" type="datetime1">
              <a:rPr lang="fr-FR" smtClean="0"/>
              <a:pPr/>
              <a:t>07/06/2023</a:t>
            </a:fld>
            <a:endParaRPr lang="fr-FR"/>
          </a:p>
        </p:txBody>
      </p:sp>
      <p:sp>
        <p:nvSpPr>
          <p:cNvPr id="5" name="Espace réservé du pied de page 4"/>
          <p:cNvSpPr>
            <a:spLocks noGrp="1"/>
          </p:cNvSpPr>
          <p:nvPr userDrawn="1">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userDrawn="1">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A6A39B-2923-4814-8F57-BD84643AD2B4}" type="slidenum">
              <a:rPr lang="fr-FR" smtClean="0"/>
              <a:pPr/>
              <a:t>‹#›</a:t>
            </a:fld>
            <a:endParaRPr lang="fr-FR"/>
          </a:p>
        </p:txBody>
      </p:sp>
      <p:cxnSp>
        <p:nvCxnSpPr>
          <p:cNvPr id="8" name="Connecteur droit 7"/>
          <p:cNvCxnSpPr/>
          <p:nvPr userDrawn="1"/>
        </p:nvCxnSpPr>
        <p:spPr>
          <a:xfrm>
            <a:off x="324000" y="980728"/>
            <a:ext cx="849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64" r:id="rId3"/>
    <p:sldLayoutId id="2147483654" r:id="rId4"/>
    <p:sldLayoutId id="2147483655" r:id="rId5"/>
    <p:sldLayoutId id="2147483663" r:id="rId6"/>
  </p:sldLayoutIdLst>
  <p:hf hdr="0" ftr="0"/>
  <p:txStyles>
    <p:titleStyle>
      <a:lvl1pPr algn="l" defTabSz="914400" rtl="0" eaLnBrk="1" latinLnBrk="0" hangingPunct="1">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5B3BF4-679B-44D8-9B97-1CB2F89D6045}"/>
              </a:ext>
            </a:extLst>
          </p:cNvPr>
          <p:cNvGraphicFramePr>
            <a:graphicFrameLocks noChangeAspect="1"/>
          </p:cNvGraphicFramePr>
          <p:nvPr userDrawn="1">
            <p:custDataLst>
              <p:tags r:id="rId5"/>
            </p:custDataLst>
            <p:extLst>
              <p:ext uri="{D42A27DB-BD31-4B8C-83A1-F6EECF244321}">
                <p14:modId xmlns:p14="http://schemas.microsoft.com/office/powerpoint/2010/main" val="1744169450"/>
              </p:ext>
            </p:extLst>
          </p:nvPr>
        </p:nvGraphicFramePr>
        <p:xfrm>
          <a:off x="1467" y="1588"/>
          <a:ext cx="1466"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6" name="Object 5" hidden="1">
                        <a:extLst>
                          <a:ext uri="{FF2B5EF4-FFF2-40B4-BE49-F238E27FC236}">
                            <a16:creationId xmlns:a16="http://schemas.microsoft.com/office/drawing/2014/main" id="{D15B3BF4-679B-44D8-9B97-1CB2F89D6045}"/>
                          </a:ext>
                        </a:extLst>
                      </p:cNvPr>
                      <p:cNvPicPr/>
                      <p:nvPr/>
                    </p:nvPicPr>
                    <p:blipFill>
                      <a:blip r:embed="rId8"/>
                      <a:stretch>
                        <a:fillRect/>
                      </a:stretch>
                    </p:blipFill>
                    <p:spPr>
                      <a:xfrm>
                        <a:off x="1467" y="1588"/>
                        <a:ext cx="146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0B879C-4C3B-4362-BA35-1D6CA1409771}"/>
              </a:ext>
            </a:extLst>
          </p:cNvPr>
          <p:cNvSpPr/>
          <p:nvPr userDrawn="1">
            <p:custDataLst>
              <p:tags r:id="rId6"/>
            </p:custDataLst>
          </p:nvPr>
        </p:nvSpPr>
        <p:spPr bwMode="auto">
          <a:xfrm>
            <a:off x="2" y="0"/>
            <a:ext cx="146539" cy="158750"/>
          </a:xfrm>
          <a:prstGeom prst="rect">
            <a:avLst/>
          </a:prstGeom>
          <a:solidFill>
            <a:srgbClr val="FFFFFF"/>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633078" rtl="0" eaLnBrk="0" fontAlgn="base" latinLnBrk="0" hangingPunct="0">
              <a:lnSpc>
                <a:spcPct val="100000"/>
              </a:lnSpc>
              <a:spcBef>
                <a:spcPct val="0"/>
              </a:spcBef>
              <a:spcAft>
                <a:spcPct val="0"/>
              </a:spcAft>
              <a:buClrTx/>
              <a:buSzTx/>
              <a:buFontTx/>
              <a:buNone/>
              <a:tabLst/>
            </a:pPr>
            <a:endParaRPr kumimoji="0" lang="en-US" sz="1108" b="0" i="0" u="none" strike="noStrike" cap="none" normalizeH="0" baseline="0" dirty="0">
              <a:ln>
                <a:noFill/>
              </a:ln>
              <a:solidFill>
                <a:schemeClr val="tx1"/>
              </a:solidFill>
              <a:effectLst/>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pic>
        <p:nvPicPr>
          <p:cNvPr id="45" name="Picture 44">
            <a:extLst>
              <a:ext uri="{FF2B5EF4-FFF2-40B4-BE49-F238E27FC236}">
                <a16:creationId xmlns:a16="http://schemas.microsoft.com/office/drawing/2014/main" id="{4582A9D9-5E54-4A35-8253-E752DE894F9F}"/>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0" y="10"/>
            <a:ext cx="9144000" cy="835819"/>
          </a:xfrm>
          <a:prstGeom prst="rect">
            <a:avLst/>
          </a:prstGeom>
        </p:spPr>
      </p:pic>
      <p:sp>
        <p:nvSpPr>
          <p:cNvPr id="2" name="Espace réservé du numéro de diapositive 1"/>
          <p:cNvSpPr>
            <a:spLocks noGrp="1"/>
          </p:cNvSpPr>
          <p:nvPr>
            <p:ph type="sldNum" sz="quarter" idx="4"/>
          </p:nvPr>
        </p:nvSpPr>
        <p:spPr>
          <a:xfrm>
            <a:off x="8445207" y="6553210"/>
            <a:ext cx="614329" cy="273089"/>
          </a:xfrm>
          <a:prstGeom prst="rect">
            <a:avLst/>
          </a:prstGeom>
        </p:spPr>
        <p:txBody>
          <a:bodyPr vert="horz" lIns="91440" tIns="45720" rIns="91440" bIns="45720" rtlCol="0" anchor="ctr"/>
          <a:lstStyle>
            <a:lvl1pPr algn="r">
              <a:defRPr sz="623"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498463" y="108000"/>
            <a:ext cx="7886700" cy="336550"/>
          </a:xfrm>
          <a:prstGeom prst="rect">
            <a:avLst/>
          </a:prstGeom>
        </p:spPr>
        <p:txBody>
          <a:bodyPr vert="horz" lIns="72000" tIns="36000" rIns="72000" bIns="36000" rtlCol="0" anchor="t">
            <a:noAutofit/>
          </a:bodyPr>
          <a:lstStyle/>
          <a:p>
            <a:pPr lvl="0"/>
            <a:r>
              <a:rPr lang="en-US" dirty="0"/>
              <a:t>Click to edit Master title style</a:t>
            </a:r>
          </a:p>
        </p:txBody>
      </p:sp>
      <p:sp>
        <p:nvSpPr>
          <p:cNvPr id="3" name="Text Placeholder 2"/>
          <p:cNvSpPr>
            <a:spLocks noGrp="1"/>
          </p:cNvSpPr>
          <p:nvPr>
            <p:ph type="body" idx="1"/>
          </p:nvPr>
        </p:nvSpPr>
        <p:spPr>
          <a:xfrm>
            <a:off x="498462" y="1080000"/>
            <a:ext cx="8307692"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57" name="Graphic 5">
            <a:extLst>
              <a:ext uri="{FF2B5EF4-FFF2-40B4-BE49-F238E27FC236}">
                <a16:creationId xmlns:a16="http://schemas.microsoft.com/office/drawing/2014/main" id="{0D295B2A-ADDA-4975-89B3-380CBBFDA207}"/>
              </a:ext>
            </a:extLst>
          </p:cNvPr>
          <p:cNvGrpSpPr/>
          <p:nvPr userDrawn="1"/>
        </p:nvGrpSpPr>
        <p:grpSpPr>
          <a:xfrm>
            <a:off x="8443788" y="45494"/>
            <a:ext cx="641588" cy="790334"/>
            <a:chOff x="6304139" y="27730"/>
            <a:chExt cx="855451" cy="790334"/>
          </a:xfrm>
        </p:grpSpPr>
        <p:sp>
          <p:nvSpPr>
            <p:cNvPr id="58" name="Freeform: Shape 57">
              <a:extLst>
                <a:ext uri="{FF2B5EF4-FFF2-40B4-BE49-F238E27FC236}">
                  <a16:creationId xmlns:a16="http://schemas.microsoft.com/office/drawing/2014/main" id="{40E64162-6EC8-4C20-A4EA-A8CA351CB0E0}"/>
                </a:ext>
              </a:extLst>
            </p:cNvPr>
            <p:cNvSpPr/>
            <p:nvPr/>
          </p:nvSpPr>
          <p:spPr>
            <a:xfrm>
              <a:off x="7066282" y="624847"/>
              <a:ext cx="63840" cy="26813"/>
            </a:xfrm>
            <a:custGeom>
              <a:avLst/>
              <a:gdLst>
                <a:gd name="connsiteX0" fmla="*/ 57175 w 63839"/>
                <a:gd name="connsiteY0" fmla="*/ 0 h 26812"/>
                <a:gd name="connsiteX1" fmla="*/ 53089 w 63839"/>
                <a:gd name="connsiteY1" fmla="*/ 0 h 26812"/>
                <a:gd name="connsiteX2" fmla="*/ 0 w 63839"/>
                <a:gd name="connsiteY2" fmla="*/ 13 h 26812"/>
                <a:gd name="connsiteX3" fmla="*/ 0 w 63839"/>
                <a:gd name="connsiteY3" fmla="*/ 26353 h 26812"/>
                <a:gd name="connsiteX4" fmla="*/ 64 w 63839"/>
                <a:gd name="connsiteY4" fmla="*/ 27196 h 26812"/>
                <a:gd name="connsiteX5" fmla="*/ 9270 w 63839"/>
                <a:gd name="connsiteY5" fmla="*/ 18130 h 26812"/>
                <a:gd name="connsiteX6" fmla="*/ 57175 w 63839"/>
                <a:gd name="connsiteY6" fmla="*/ 18143 h 26812"/>
                <a:gd name="connsiteX7" fmla="*/ 64899 w 63839"/>
                <a:gd name="connsiteY7" fmla="*/ 10419 h 26812"/>
                <a:gd name="connsiteX8" fmla="*/ 64899 w 63839"/>
                <a:gd name="connsiteY8" fmla="*/ 7737 h 26812"/>
                <a:gd name="connsiteX9" fmla="*/ 57175 w 63839"/>
                <a:gd name="connsiteY9" fmla="*/ 0 h 2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39" h="26812">
                  <a:moveTo>
                    <a:pt x="57175" y="0"/>
                  </a:moveTo>
                  <a:lnTo>
                    <a:pt x="53089" y="0"/>
                  </a:lnTo>
                  <a:cubicBezTo>
                    <a:pt x="8567" y="0"/>
                    <a:pt x="5465" y="0"/>
                    <a:pt x="0" y="13"/>
                  </a:cubicBezTo>
                  <a:lnTo>
                    <a:pt x="0" y="26353"/>
                  </a:lnTo>
                  <a:cubicBezTo>
                    <a:pt x="77" y="26404"/>
                    <a:pt x="64" y="26800"/>
                    <a:pt x="64" y="27196"/>
                  </a:cubicBezTo>
                  <a:cubicBezTo>
                    <a:pt x="64" y="22855"/>
                    <a:pt x="983" y="18130"/>
                    <a:pt x="9270" y="18130"/>
                  </a:cubicBezTo>
                  <a:lnTo>
                    <a:pt x="57175" y="18143"/>
                  </a:lnTo>
                  <a:cubicBezTo>
                    <a:pt x="61427" y="18143"/>
                    <a:pt x="64899" y="14670"/>
                    <a:pt x="64899" y="10419"/>
                  </a:cubicBezTo>
                  <a:lnTo>
                    <a:pt x="64899" y="7737"/>
                  </a:lnTo>
                  <a:cubicBezTo>
                    <a:pt x="64899" y="3473"/>
                    <a:pt x="61414" y="0"/>
                    <a:pt x="57175" y="0"/>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9" name="Freeform: Shape 58">
              <a:extLst>
                <a:ext uri="{FF2B5EF4-FFF2-40B4-BE49-F238E27FC236}">
                  <a16:creationId xmlns:a16="http://schemas.microsoft.com/office/drawing/2014/main" id="{523CFEAA-F006-4083-85AA-82AC073354EB}"/>
                </a:ext>
              </a:extLst>
            </p:cNvPr>
            <p:cNvSpPr/>
            <p:nvPr/>
          </p:nvSpPr>
          <p:spPr>
            <a:xfrm>
              <a:off x="6961725" y="733030"/>
              <a:ext cx="1277" cy="127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0" name="Freeform: Shape 59">
              <a:extLst>
                <a:ext uri="{FF2B5EF4-FFF2-40B4-BE49-F238E27FC236}">
                  <a16:creationId xmlns:a16="http://schemas.microsoft.com/office/drawing/2014/main" id="{5695DDCA-52D3-4E41-B29D-26D6F5832F46}"/>
                </a:ext>
              </a:extLst>
            </p:cNvPr>
            <p:cNvSpPr/>
            <p:nvPr/>
          </p:nvSpPr>
          <p:spPr>
            <a:xfrm>
              <a:off x="6899482" y="633810"/>
              <a:ext cx="1277" cy="127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1" name="Freeform: Shape 60">
              <a:extLst>
                <a:ext uri="{FF2B5EF4-FFF2-40B4-BE49-F238E27FC236}">
                  <a16:creationId xmlns:a16="http://schemas.microsoft.com/office/drawing/2014/main" id="{F76E0A3A-29D3-4848-B539-6A9F27800C44}"/>
                </a:ext>
              </a:extLst>
            </p:cNvPr>
            <p:cNvSpPr/>
            <p:nvPr/>
          </p:nvSpPr>
          <p:spPr>
            <a:xfrm>
              <a:off x="6919859" y="675689"/>
              <a:ext cx="1277" cy="127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2" name="Freeform: Shape 61">
              <a:extLst>
                <a:ext uri="{FF2B5EF4-FFF2-40B4-BE49-F238E27FC236}">
                  <a16:creationId xmlns:a16="http://schemas.microsoft.com/office/drawing/2014/main" id="{F8BEE663-D71C-4B03-BF72-3E5E200A655E}"/>
                </a:ext>
              </a:extLst>
            </p:cNvPr>
            <p:cNvSpPr/>
            <p:nvPr/>
          </p:nvSpPr>
          <p:spPr>
            <a:xfrm>
              <a:off x="6939522" y="713137"/>
              <a:ext cx="1277" cy="127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3" name="Freeform: Shape 62">
              <a:extLst>
                <a:ext uri="{FF2B5EF4-FFF2-40B4-BE49-F238E27FC236}">
                  <a16:creationId xmlns:a16="http://schemas.microsoft.com/office/drawing/2014/main" id="{933833A5-CCD5-499E-BA9E-F59FD861CC58}"/>
                </a:ext>
              </a:extLst>
            </p:cNvPr>
            <p:cNvSpPr/>
            <p:nvPr/>
          </p:nvSpPr>
          <p:spPr>
            <a:xfrm>
              <a:off x="6367672" y="330393"/>
              <a:ext cx="19152" cy="20429"/>
            </a:xfrm>
            <a:custGeom>
              <a:avLst/>
              <a:gdLst>
                <a:gd name="connsiteX0" fmla="*/ 20275 w 19151"/>
                <a:gd name="connsiteY0" fmla="*/ 21425 h 20428"/>
                <a:gd name="connsiteX1" fmla="*/ 20275 w 19151"/>
                <a:gd name="connsiteY1" fmla="*/ 11185 h 20428"/>
                <a:gd name="connsiteX2" fmla="*/ 9091 w 19151"/>
                <a:gd name="connsiteY2" fmla="*/ 0 h 20428"/>
                <a:gd name="connsiteX3" fmla="*/ 0 w 19151"/>
                <a:gd name="connsiteY3" fmla="*/ 0 h 20428"/>
                <a:gd name="connsiteX4" fmla="*/ 0 w 19151"/>
                <a:gd name="connsiteY4" fmla="*/ 10240 h 20428"/>
                <a:gd name="connsiteX5" fmla="*/ 11185 w 19151"/>
                <a:gd name="connsiteY5" fmla="*/ 21425 h 20428"/>
                <a:gd name="connsiteX6" fmla="*/ 20275 w 19151"/>
                <a:gd name="connsiteY6" fmla="*/ 2142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51" h="20428">
                  <a:moveTo>
                    <a:pt x="20275" y="21425"/>
                  </a:moveTo>
                  <a:lnTo>
                    <a:pt x="20275" y="11185"/>
                  </a:lnTo>
                  <a:cubicBezTo>
                    <a:pt x="20275" y="5031"/>
                    <a:pt x="15245" y="0"/>
                    <a:pt x="9091" y="0"/>
                  </a:cubicBezTo>
                  <a:lnTo>
                    <a:pt x="0" y="0"/>
                  </a:lnTo>
                  <a:lnTo>
                    <a:pt x="0" y="10240"/>
                  </a:lnTo>
                  <a:cubicBezTo>
                    <a:pt x="0" y="16394"/>
                    <a:pt x="5031" y="21425"/>
                    <a:pt x="11185" y="21425"/>
                  </a:cubicBezTo>
                  <a:lnTo>
                    <a:pt x="20275" y="21425"/>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4" name="Freeform: Shape 63">
              <a:extLst>
                <a:ext uri="{FF2B5EF4-FFF2-40B4-BE49-F238E27FC236}">
                  <a16:creationId xmlns:a16="http://schemas.microsoft.com/office/drawing/2014/main" id="{45A0A1B7-C0AD-4807-8D1A-85729FAA7E4D}"/>
                </a:ext>
              </a:extLst>
            </p:cNvPr>
            <p:cNvSpPr/>
            <p:nvPr/>
          </p:nvSpPr>
          <p:spPr>
            <a:xfrm>
              <a:off x="6327964" y="330393"/>
              <a:ext cx="58732" cy="75331"/>
            </a:xfrm>
            <a:custGeom>
              <a:avLst/>
              <a:gdLst>
                <a:gd name="connsiteX0" fmla="*/ 11172 w 58732"/>
                <a:gd name="connsiteY0" fmla="*/ 75905 h 75330"/>
                <a:gd name="connsiteX1" fmla="*/ 48799 w 58732"/>
                <a:gd name="connsiteY1" fmla="*/ 75905 h 75330"/>
                <a:gd name="connsiteX2" fmla="*/ 59984 w 58732"/>
                <a:gd name="connsiteY2" fmla="*/ 64721 h 75330"/>
                <a:gd name="connsiteX3" fmla="*/ 59984 w 58732"/>
                <a:gd name="connsiteY3" fmla="*/ 32213 h 75330"/>
                <a:gd name="connsiteX4" fmla="*/ 59984 w 58732"/>
                <a:gd name="connsiteY4" fmla="*/ 21425 h 75330"/>
                <a:gd name="connsiteX5" fmla="*/ 50893 w 58732"/>
                <a:gd name="connsiteY5" fmla="*/ 21425 h 75330"/>
                <a:gd name="connsiteX6" fmla="*/ 50395 w 58732"/>
                <a:gd name="connsiteY6" fmla="*/ 21425 h 75330"/>
                <a:gd name="connsiteX7" fmla="*/ 49999 w 58732"/>
                <a:gd name="connsiteY7" fmla="*/ 21386 h 75330"/>
                <a:gd name="connsiteX8" fmla="*/ 39708 w 58732"/>
                <a:gd name="connsiteY8" fmla="*/ 10240 h 75330"/>
                <a:gd name="connsiteX9" fmla="*/ 39708 w 58732"/>
                <a:gd name="connsiteY9" fmla="*/ 0 h 75330"/>
                <a:gd name="connsiteX10" fmla="*/ 31830 w 58732"/>
                <a:gd name="connsiteY10" fmla="*/ 0 h 75330"/>
                <a:gd name="connsiteX11" fmla="*/ 20978 w 58732"/>
                <a:gd name="connsiteY11" fmla="*/ 10546 h 75330"/>
                <a:gd name="connsiteX12" fmla="*/ 10342 w 58732"/>
                <a:gd name="connsiteY12" fmla="*/ 21399 h 75330"/>
                <a:gd name="connsiteX13" fmla="*/ 0 w 58732"/>
                <a:gd name="connsiteY13" fmla="*/ 32239 h 75330"/>
                <a:gd name="connsiteX14" fmla="*/ 0 w 58732"/>
                <a:gd name="connsiteY14" fmla="*/ 64695 h 75330"/>
                <a:gd name="connsiteX15" fmla="*/ 11172 w 58732"/>
                <a:gd name="connsiteY15" fmla="*/ 75905 h 7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732" h="75330">
                  <a:moveTo>
                    <a:pt x="11172" y="75905"/>
                  </a:moveTo>
                  <a:lnTo>
                    <a:pt x="48799" y="75905"/>
                  </a:lnTo>
                  <a:cubicBezTo>
                    <a:pt x="54953" y="75905"/>
                    <a:pt x="59984" y="70875"/>
                    <a:pt x="59984" y="64721"/>
                  </a:cubicBezTo>
                  <a:lnTo>
                    <a:pt x="59984" y="32213"/>
                  </a:lnTo>
                  <a:lnTo>
                    <a:pt x="59984" y="21425"/>
                  </a:lnTo>
                  <a:lnTo>
                    <a:pt x="50893" y="21425"/>
                  </a:lnTo>
                  <a:cubicBezTo>
                    <a:pt x="50727" y="21425"/>
                    <a:pt x="50561" y="21425"/>
                    <a:pt x="50395" y="21425"/>
                  </a:cubicBezTo>
                  <a:cubicBezTo>
                    <a:pt x="50267" y="21412"/>
                    <a:pt x="50127" y="21399"/>
                    <a:pt x="49999" y="21386"/>
                  </a:cubicBezTo>
                  <a:cubicBezTo>
                    <a:pt x="44266" y="20927"/>
                    <a:pt x="39708" y="16088"/>
                    <a:pt x="39708" y="10240"/>
                  </a:cubicBezTo>
                  <a:lnTo>
                    <a:pt x="39708" y="0"/>
                  </a:lnTo>
                  <a:lnTo>
                    <a:pt x="31830" y="0"/>
                  </a:lnTo>
                  <a:cubicBezTo>
                    <a:pt x="25957" y="0"/>
                    <a:pt x="21144" y="4686"/>
                    <a:pt x="20978" y="10546"/>
                  </a:cubicBezTo>
                  <a:cubicBezTo>
                    <a:pt x="20812" y="16368"/>
                    <a:pt x="16139" y="21118"/>
                    <a:pt x="10342" y="21399"/>
                  </a:cubicBezTo>
                  <a:cubicBezTo>
                    <a:pt x="4545" y="21680"/>
                    <a:pt x="0" y="26442"/>
                    <a:pt x="0" y="32239"/>
                  </a:cubicBezTo>
                  <a:lnTo>
                    <a:pt x="0" y="64695"/>
                  </a:lnTo>
                  <a:cubicBezTo>
                    <a:pt x="0" y="70875"/>
                    <a:pt x="5031" y="75905"/>
                    <a:pt x="11172" y="75905"/>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5" name="Freeform: Shape 64">
              <a:extLst>
                <a:ext uri="{FF2B5EF4-FFF2-40B4-BE49-F238E27FC236}">
                  <a16:creationId xmlns:a16="http://schemas.microsoft.com/office/drawing/2014/main" id="{79497705-4EA1-41AE-B67C-D8DD5EC3E554}"/>
                </a:ext>
              </a:extLst>
            </p:cNvPr>
            <p:cNvSpPr/>
            <p:nvPr/>
          </p:nvSpPr>
          <p:spPr>
            <a:xfrm>
              <a:off x="6391587" y="253811"/>
              <a:ext cx="144278" cy="191519"/>
            </a:xfrm>
            <a:custGeom>
              <a:avLst/>
              <a:gdLst>
                <a:gd name="connsiteX0" fmla="*/ 31550 w 144277"/>
                <a:gd name="connsiteY0" fmla="*/ 94853 h 191518"/>
                <a:gd name="connsiteX1" fmla="*/ 49144 w 144277"/>
                <a:gd name="connsiteY1" fmla="*/ 94853 h 191518"/>
                <a:gd name="connsiteX2" fmla="*/ 50114 w 144277"/>
                <a:gd name="connsiteY2" fmla="*/ 94815 h 191518"/>
                <a:gd name="connsiteX3" fmla="*/ 52004 w 144277"/>
                <a:gd name="connsiteY3" fmla="*/ 94815 h 191518"/>
                <a:gd name="connsiteX4" fmla="*/ 52131 w 144277"/>
                <a:gd name="connsiteY4" fmla="*/ 94827 h 191518"/>
                <a:gd name="connsiteX5" fmla="*/ 62167 w 144277"/>
                <a:gd name="connsiteY5" fmla="*/ 105655 h 191518"/>
                <a:gd name="connsiteX6" fmla="*/ 62167 w 144277"/>
                <a:gd name="connsiteY6" fmla="*/ 105833 h 191518"/>
                <a:gd name="connsiteX7" fmla="*/ 51774 w 144277"/>
                <a:gd name="connsiteY7" fmla="*/ 116686 h 191518"/>
                <a:gd name="connsiteX8" fmla="*/ 41138 w 144277"/>
                <a:gd name="connsiteY8" fmla="*/ 126696 h 191518"/>
                <a:gd name="connsiteX9" fmla="*/ 30337 w 144277"/>
                <a:gd name="connsiteY9" fmla="*/ 136425 h 191518"/>
                <a:gd name="connsiteX10" fmla="*/ 27668 w 144277"/>
                <a:gd name="connsiteY10" fmla="*/ 136425 h 191518"/>
                <a:gd name="connsiteX11" fmla="*/ 19637 w 144277"/>
                <a:gd name="connsiteY11" fmla="*/ 144456 h 191518"/>
                <a:gd name="connsiteX12" fmla="*/ 19637 w 144277"/>
                <a:gd name="connsiteY12" fmla="*/ 145286 h 191518"/>
                <a:gd name="connsiteX13" fmla="*/ 27668 w 144277"/>
                <a:gd name="connsiteY13" fmla="*/ 153317 h 191518"/>
                <a:gd name="connsiteX14" fmla="*/ 30209 w 144277"/>
                <a:gd name="connsiteY14" fmla="*/ 153317 h 191518"/>
                <a:gd name="connsiteX15" fmla="*/ 41062 w 144277"/>
                <a:gd name="connsiteY15" fmla="*/ 164170 h 191518"/>
                <a:gd name="connsiteX16" fmla="*/ 41062 w 144277"/>
                <a:gd name="connsiteY16" fmla="*/ 164796 h 191518"/>
                <a:gd name="connsiteX17" fmla="*/ 30209 w 144277"/>
                <a:gd name="connsiteY17" fmla="*/ 175648 h 191518"/>
                <a:gd name="connsiteX18" fmla="*/ 8031 w 144277"/>
                <a:gd name="connsiteY18" fmla="*/ 175648 h 191518"/>
                <a:gd name="connsiteX19" fmla="*/ 0 w 144277"/>
                <a:gd name="connsiteY19" fmla="*/ 183679 h 191518"/>
                <a:gd name="connsiteX20" fmla="*/ 0 w 144277"/>
                <a:gd name="connsiteY20" fmla="*/ 184509 h 191518"/>
                <a:gd name="connsiteX21" fmla="*/ 8031 w 144277"/>
                <a:gd name="connsiteY21" fmla="*/ 192540 h 191518"/>
                <a:gd name="connsiteX22" fmla="*/ 52272 w 144277"/>
                <a:gd name="connsiteY22" fmla="*/ 192540 h 191518"/>
                <a:gd name="connsiteX23" fmla="*/ 53319 w 144277"/>
                <a:gd name="connsiteY23" fmla="*/ 192540 h 191518"/>
                <a:gd name="connsiteX24" fmla="*/ 69866 w 144277"/>
                <a:gd name="connsiteY24" fmla="*/ 192540 h 191518"/>
                <a:gd name="connsiteX25" fmla="*/ 80961 w 144277"/>
                <a:gd name="connsiteY25" fmla="*/ 182734 h 191518"/>
                <a:gd name="connsiteX26" fmla="*/ 91738 w 144277"/>
                <a:gd name="connsiteY26" fmla="*/ 173210 h 191518"/>
                <a:gd name="connsiteX27" fmla="*/ 112383 w 144277"/>
                <a:gd name="connsiteY27" fmla="*/ 173210 h 191518"/>
                <a:gd name="connsiteX28" fmla="*/ 123428 w 144277"/>
                <a:gd name="connsiteY28" fmla="*/ 163749 h 191518"/>
                <a:gd name="connsiteX29" fmla="*/ 133821 w 144277"/>
                <a:gd name="connsiteY29" fmla="*/ 154581 h 191518"/>
                <a:gd name="connsiteX30" fmla="*/ 144648 w 144277"/>
                <a:gd name="connsiteY30" fmla="*/ 143409 h 191518"/>
                <a:gd name="connsiteX31" fmla="*/ 144648 w 144277"/>
                <a:gd name="connsiteY31" fmla="*/ 128190 h 191518"/>
                <a:gd name="connsiteX32" fmla="*/ 133884 w 144277"/>
                <a:gd name="connsiteY32" fmla="*/ 117018 h 191518"/>
                <a:gd name="connsiteX33" fmla="*/ 123491 w 144277"/>
                <a:gd name="connsiteY33" fmla="*/ 107327 h 191518"/>
                <a:gd name="connsiteX34" fmla="*/ 112677 w 144277"/>
                <a:gd name="connsiteY34" fmla="*/ 97343 h 191518"/>
                <a:gd name="connsiteX35" fmla="*/ 102118 w 144277"/>
                <a:gd name="connsiteY35" fmla="*/ 86490 h 191518"/>
                <a:gd name="connsiteX36" fmla="*/ 102118 w 144277"/>
                <a:gd name="connsiteY36" fmla="*/ 69164 h 191518"/>
                <a:gd name="connsiteX37" fmla="*/ 91776 w 144277"/>
                <a:gd name="connsiteY37" fmla="*/ 58017 h 191518"/>
                <a:gd name="connsiteX38" fmla="*/ 81727 w 144277"/>
                <a:gd name="connsiteY38" fmla="*/ 47190 h 191518"/>
                <a:gd name="connsiteX39" fmla="*/ 81727 w 144277"/>
                <a:gd name="connsiteY39" fmla="*/ 30158 h 191518"/>
                <a:gd name="connsiteX40" fmla="*/ 70747 w 144277"/>
                <a:gd name="connsiteY40" fmla="*/ 18973 h 191518"/>
                <a:gd name="connsiteX41" fmla="*/ 60188 w 144277"/>
                <a:gd name="connsiteY41" fmla="*/ 9627 h 191518"/>
                <a:gd name="connsiteX42" fmla="*/ 49118 w 144277"/>
                <a:gd name="connsiteY42" fmla="*/ 0 h 191518"/>
                <a:gd name="connsiteX43" fmla="*/ 31550 w 144277"/>
                <a:gd name="connsiteY43" fmla="*/ 0 h 191518"/>
                <a:gd name="connsiteX44" fmla="*/ 20365 w 144277"/>
                <a:gd name="connsiteY44" fmla="*/ 11185 h 191518"/>
                <a:gd name="connsiteX45" fmla="*/ 20365 w 144277"/>
                <a:gd name="connsiteY45" fmla="*/ 83681 h 191518"/>
                <a:gd name="connsiteX46" fmla="*/ 31550 w 144277"/>
                <a:gd name="connsiteY46" fmla="*/ 94853 h 1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44277" h="191518">
                  <a:moveTo>
                    <a:pt x="31550" y="94853"/>
                  </a:moveTo>
                  <a:lnTo>
                    <a:pt x="49144" y="94853"/>
                  </a:lnTo>
                  <a:cubicBezTo>
                    <a:pt x="49476" y="94853"/>
                    <a:pt x="49795" y="94840"/>
                    <a:pt x="50114" y="94815"/>
                  </a:cubicBezTo>
                  <a:cubicBezTo>
                    <a:pt x="50778" y="94751"/>
                    <a:pt x="51340" y="94751"/>
                    <a:pt x="52004" y="94815"/>
                  </a:cubicBezTo>
                  <a:cubicBezTo>
                    <a:pt x="52042" y="94815"/>
                    <a:pt x="52093" y="94827"/>
                    <a:pt x="52131" y="94827"/>
                  </a:cubicBezTo>
                  <a:cubicBezTo>
                    <a:pt x="57813" y="95261"/>
                    <a:pt x="62167" y="99960"/>
                    <a:pt x="62167" y="105655"/>
                  </a:cubicBezTo>
                  <a:lnTo>
                    <a:pt x="62167" y="105833"/>
                  </a:lnTo>
                  <a:cubicBezTo>
                    <a:pt x="62167" y="111643"/>
                    <a:pt x="57583" y="116431"/>
                    <a:pt x="51774" y="116686"/>
                  </a:cubicBezTo>
                  <a:cubicBezTo>
                    <a:pt x="46233" y="116929"/>
                    <a:pt x="41713" y="121244"/>
                    <a:pt x="41138" y="126696"/>
                  </a:cubicBezTo>
                  <a:cubicBezTo>
                    <a:pt x="40551" y="132250"/>
                    <a:pt x="35916" y="136425"/>
                    <a:pt x="30337" y="136425"/>
                  </a:cubicBezTo>
                  <a:lnTo>
                    <a:pt x="27668" y="136425"/>
                  </a:lnTo>
                  <a:cubicBezTo>
                    <a:pt x="23250" y="136425"/>
                    <a:pt x="19637" y="140039"/>
                    <a:pt x="19637" y="144456"/>
                  </a:cubicBezTo>
                  <a:lnTo>
                    <a:pt x="19637" y="145286"/>
                  </a:lnTo>
                  <a:cubicBezTo>
                    <a:pt x="19637" y="149704"/>
                    <a:pt x="23250" y="153317"/>
                    <a:pt x="27668" y="153317"/>
                  </a:cubicBezTo>
                  <a:lnTo>
                    <a:pt x="30209" y="153317"/>
                  </a:lnTo>
                  <a:cubicBezTo>
                    <a:pt x="36184" y="153317"/>
                    <a:pt x="41062" y="158194"/>
                    <a:pt x="41062" y="164170"/>
                  </a:cubicBezTo>
                  <a:lnTo>
                    <a:pt x="41062" y="164796"/>
                  </a:lnTo>
                  <a:cubicBezTo>
                    <a:pt x="41062" y="170771"/>
                    <a:pt x="36184" y="175648"/>
                    <a:pt x="30209" y="175648"/>
                  </a:cubicBezTo>
                  <a:lnTo>
                    <a:pt x="8031" y="175648"/>
                  </a:lnTo>
                  <a:cubicBezTo>
                    <a:pt x="3613" y="175648"/>
                    <a:pt x="0" y="179262"/>
                    <a:pt x="0" y="183679"/>
                  </a:cubicBezTo>
                  <a:lnTo>
                    <a:pt x="0" y="184509"/>
                  </a:lnTo>
                  <a:cubicBezTo>
                    <a:pt x="0" y="188927"/>
                    <a:pt x="3613" y="192540"/>
                    <a:pt x="8031" y="192540"/>
                  </a:cubicBezTo>
                  <a:lnTo>
                    <a:pt x="52272" y="192540"/>
                  </a:lnTo>
                  <a:lnTo>
                    <a:pt x="53319" y="192540"/>
                  </a:lnTo>
                  <a:lnTo>
                    <a:pt x="69866" y="192540"/>
                  </a:lnTo>
                  <a:cubicBezTo>
                    <a:pt x="75548" y="192540"/>
                    <a:pt x="80285" y="188237"/>
                    <a:pt x="80961" y="182734"/>
                  </a:cubicBezTo>
                  <a:cubicBezTo>
                    <a:pt x="81638" y="177270"/>
                    <a:pt x="86222" y="173210"/>
                    <a:pt x="91738" y="173210"/>
                  </a:cubicBezTo>
                  <a:lnTo>
                    <a:pt x="112383" y="173210"/>
                  </a:lnTo>
                  <a:cubicBezTo>
                    <a:pt x="117950" y="173210"/>
                    <a:pt x="122598" y="169086"/>
                    <a:pt x="123428" y="163749"/>
                  </a:cubicBezTo>
                  <a:cubicBezTo>
                    <a:pt x="124245" y="158539"/>
                    <a:pt x="128547" y="154734"/>
                    <a:pt x="133821" y="154581"/>
                  </a:cubicBezTo>
                  <a:cubicBezTo>
                    <a:pt x="139809" y="154390"/>
                    <a:pt x="144648" y="149436"/>
                    <a:pt x="144648" y="143409"/>
                  </a:cubicBezTo>
                  <a:lnTo>
                    <a:pt x="144648" y="128190"/>
                  </a:lnTo>
                  <a:cubicBezTo>
                    <a:pt x="144648" y="122176"/>
                    <a:pt x="139847" y="117235"/>
                    <a:pt x="133884" y="117018"/>
                  </a:cubicBezTo>
                  <a:cubicBezTo>
                    <a:pt x="128458" y="116814"/>
                    <a:pt x="124079" y="112728"/>
                    <a:pt x="123491" y="107327"/>
                  </a:cubicBezTo>
                  <a:cubicBezTo>
                    <a:pt x="122904" y="101824"/>
                    <a:pt x="118282" y="97496"/>
                    <a:pt x="112677" y="97343"/>
                  </a:cubicBezTo>
                  <a:cubicBezTo>
                    <a:pt x="106804" y="97177"/>
                    <a:pt x="102118" y="92363"/>
                    <a:pt x="102118" y="86490"/>
                  </a:cubicBezTo>
                  <a:lnTo>
                    <a:pt x="102118" y="69164"/>
                  </a:lnTo>
                  <a:cubicBezTo>
                    <a:pt x="102118" y="63291"/>
                    <a:pt x="97534" y="58452"/>
                    <a:pt x="91776" y="58017"/>
                  </a:cubicBezTo>
                  <a:cubicBezTo>
                    <a:pt x="86094" y="57583"/>
                    <a:pt x="81727" y="52885"/>
                    <a:pt x="81727" y="47190"/>
                  </a:cubicBezTo>
                  <a:lnTo>
                    <a:pt x="81727" y="30158"/>
                  </a:lnTo>
                  <a:cubicBezTo>
                    <a:pt x="81727" y="24080"/>
                    <a:pt x="76799" y="19088"/>
                    <a:pt x="70747" y="18973"/>
                  </a:cubicBezTo>
                  <a:cubicBezTo>
                    <a:pt x="65372" y="18884"/>
                    <a:pt x="60929" y="14951"/>
                    <a:pt x="60188" y="9627"/>
                  </a:cubicBezTo>
                  <a:cubicBezTo>
                    <a:pt x="59422" y="4201"/>
                    <a:pt x="54736" y="0"/>
                    <a:pt x="49118" y="0"/>
                  </a:cubicBezTo>
                  <a:lnTo>
                    <a:pt x="31550" y="0"/>
                  </a:lnTo>
                  <a:cubicBezTo>
                    <a:pt x="25395" y="0"/>
                    <a:pt x="20365" y="5031"/>
                    <a:pt x="20365" y="11185"/>
                  </a:cubicBezTo>
                  <a:lnTo>
                    <a:pt x="20365" y="83681"/>
                  </a:lnTo>
                  <a:cubicBezTo>
                    <a:pt x="20365" y="89822"/>
                    <a:pt x="25395" y="94853"/>
                    <a:pt x="31550" y="94853"/>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6" name="Freeform: Shape 65">
              <a:extLst>
                <a:ext uri="{FF2B5EF4-FFF2-40B4-BE49-F238E27FC236}">
                  <a16:creationId xmlns:a16="http://schemas.microsoft.com/office/drawing/2014/main" id="{3BE5308F-A954-48AA-B89C-7970D1D82CE3}"/>
                </a:ext>
              </a:extLst>
            </p:cNvPr>
            <p:cNvSpPr/>
            <p:nvPr/>
          </p:nvSpPr>
          <p:spPr>
            <a:xfrm>
              <a:off x="6729643" y="312059"/>
              <a:ext cx="17875" cy="16598"/>
            </a:xfrm>
            <a:custGeom>
              <a:avLst/>
              <a:gdLst>
                <a:gd name="connsiteX0" fmla="*/ 7725 w 17875"/>
                <a:gd name="connsiteY0" fmla="*/ 17275 h 16598"/>
                <a:gd name="connsiteX1" fmla="*/ 10406 w 17875"/>
                <a:gd name="connsiteY1" fmla="*/ 17275 h 16598"/>
                <a:gd name="connsiteX2" fmla="*/ 18130 w 17875"/>
                <a:gd name="connsiteY2" fmla="*/ 9550 h 16598"/>
                <a:gd name="connsiteX3" fmla="*/ 18130 w 17875"/>
                <a:gd name="connsiteY3" fmla="*/ 7725 h 16598"/>
                <a:gd name="connsiteX4" fmla="*/ 10406 w 17875"/>
                <a:gd name="connsiteY4" fmla="*/ 0 h 16598"/>
                <a:gd name="connsiteX5" fmla="*/ 7725 w 17875"/>
                <a:gd name="connsiteY5" fmla="*/ 0 h 16598"/>
                <a:gd name="connsiteX6" fmla="*/ 0 w 17875"/>
                <a:gd name="connsiteY6" fmla="*/ 7725 h 16598"/>
                <a:gd name="connsiteX7" fmla="*/ 0 w 17875"/>
                <a:gd name="connsiteY7" fmla="*/ 9550 h 16598"/>
                <a:gd name="connsiteX8" fmla="*/ 7725 w 17875"/>
                <a:gd name="connsiteY8" fmla="*/ 17275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75" h="16598">
                  <a:moveTo>
                    <a:pt x="7725" y="17275"/>
                  </a:moveTo>
                  <a:lnTo>
                    <a:pt x="10406" y="17275"/>
                  </a:lnTo>
                  <a:cubicBezTo>
                    <a:pt x="14658" y="17275"/>
                    <a:pt x="18130" y="13802"/>
                    <a:pt x="18130" y="9550"/>
                  </a:cubicBezTo>
                  <a:lnTo>
                    <a:pt x="18130" y="7725"/>
                  </a:lnTo>
                  <a:cubicBezTo>
                    <a:pt x="18130" y="3473"/>
                    <a:pt x="14658" y="0"/>
                    <a:pt x="10406" y="0"/>
                  </a:cubicBezTo>
                  <a:lnTo>
                    <a:pt x="7725" y="0"/>
                  </a:lnTo>
                  <a:cubicBezTo>
                    <a:pt x="3473" y="0"/>
                    <a:pt x="0" y="3473"/>
                    <a:pt x="0" y="7725"/>
                  </a:cubicBezTo>
                  <a:lnTo>
                    <a:pt x="0" y="9550"/>
                  </a:lnTo>
                  <a:cubicBezTo>
                    <a:pt x="0" y="13802"/>
                    <a:pt x="3473" y="17275"/>
                    <a:pt x="7725" y="17275"/>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7" name="Freeform: Shape 66">
              <a:extLst>
                <a:ext uri="{FF2B5EF4-FFF2-40B4-BE49-F238E27FC236}">
                  <a16:creationId xmlns:a16="http://schemas.microsoft.com/office/drawing/2014/main" id="{3B0BB013-71F4-4AE7-852E-F3600C30E7D1}"/>
                </a:ext>
              </a:extLst>
            </p:cNvPr>
            <p:cNvSpPr/>
            <p:nvPr/>
          </p:nvSpPr>
          <p:spPr>
            <a:xfrm>
              <a:off x="6962709" y="233293"/>
              <a:ext cx="60009" cy="38304"/>
            </a:xfrm>
            <a:custGeom>
              <a:avLst/>
              <a:gdLst>
                <a:gd name="connsiteX0" fmla="*/ 60380 w 60009"/>
                <a:gd name="connsiteY0" fmla="*/ 0 h 38303"/>
                <a:gd name="connsiteX1" fmla="*/ 9384 w 60009"/>
                <a:gd name="connsiteY1" fmla="*/ 0 h 38303"/>
                <a:gd name="connsiteX2" fmla="*/ 0 w 60009"/>
                <a:gd name="connsiteY2" fmla="*/ 9384 h 38303"/>
                <a:gd name="connsiteX3" fmla="*/ 0 w 60009"/>
                <a:gd name="connsiteY3" fmla="*/ 29494 h 38303"/>
                <a:gd name="connsiteX4" fmla="*/ 9384 w 60009"/>
                <a:gd name="connsiteY4" fmla="*/ 38878 h 38303"/>
                <a:gd name="connsiteX5" fmla="*/ 60380 w 60009"/>
                <a:gd name="connsiteY5" fmla="*/ 38878 h 38303"/>
                <a:gd name="connsiteX6" fmla="*/ 60380 w 60009"/>
                <a:gd name="connsiteY6" fmla="*/ 0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09" h="38303">
                  <a:moveTo>
                    <a:pt x="60380" y="0"/>
                  </a:moveTo>
                  <a:lnTo>
                    <a:pt x="9384" y="0"/>
                  </a:lnTo>
                  <a:cubicBezTo>
                    <a:pt x="4226" y="0"/>
                    <a:pt x="0" y="4226"/>
                    <a:pt x="0" y="9384"/>
                  </a:cubicBezTo>
                  <a:lnTo>
                    <a:pt x="0" y="29494"/>
                  </a:lnTo>
                  <a:cubicBezTo>
                    <a:pt x="0" y="34652"/>
                    <a:pt x="4226" y="38878"/>
                    <a:pt x="9384" y="38878"/>
                  </a:cubicBezTo>
                  <a:lnTo>
                    <a:pt x="60380" y="38878"/>
                  </a:lnTo>
                  <a:lnTo>
                    <a:pt x="60380" y="0"/>
                  </a:lnTo>
                  <a:close/>
                </a:path>
              </a:pathLst>
            </a:custGeom>
            <a:solidFill>
              <a:srgbClr val="B1B550"/>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8" name="Freeform: Shape 67">
              <a:extLst>
                <a:ext uri="{FF2B5EF4-FFF2-40B4-BE49-F238E27FC236}">
                  <a16:creationId xmlns:a16="http://schemas.microsoft.com/office/drawing/2014/main" id="{B9626474-08C5-43E0-87FF-8F97FE605B3C}"/>
                </a:ext>
              </a:extLst>
            </p:cNvPr>
            <p:cNvSpPr/>
            <p:nvPr/>
          </p:nvSpPr>
          <p:spPr>
            <a:xfrm>
              <a:off x="6920881" y="272197"/>
              <a:ext cx="102143" cy="38304"/>
            </a:xfrm>
            <a:custGeom>
              <a:avLst/>
              <a:gdLst>
                <a:gd name="connsiteX0" fmla="*/ 102207 w 102143"/>
                <a:gd name="connsiteY0" fmla="*/ 38878 h 38303"/>
                <a:gd name="connsiteX1" fmla="*/ 9384 w 102143"/>
                <a:gd name="connsiteY1" fmla="*/ 38878 h 38303"/>
                <a:gd name="connsiteX2" fmla="*/ 0 w 102143"/>
                <a:gd name="connsiteY2" fmla="*/ 29494 h 38303"/>
                <a:gd name="connsiteX3" fmla="*/ 0 w 102143"/>
                <a:gd name="connsiteY3" fmla="*/ 9384 h 38303"/>
                <a:gd name="connsiteX4" fmla="*/ 9384 w 102143"/>
                <a:gd name="connsiteY4" fmla="*/ 0 h 38303"/>
                <a:gd name="connsiteX5" fmla="*/ 27911 w 102143"/>
                <a:gd name="connsiteY5" fmla="*/ 0 h 38303"/>
                <a:gd name="connsiteX6" fmla="*/ 40193 w 102143"/>
                <a:gd name="connsiteY6" fmla="*/ 8248 h 38303"/>
                <a:gd name="connsiteX7" fmla="*/ 40193 w 102143"/>
                <a:gd name="connsiteY7" fmla="*/ 10406 h 38303"/>
                <a:gd name="connsiteX8" fmla="*/ 49335 w 102143"/>
                <a:gd name="connsiteY8" fmla="*/ 19548 h 38303"/>
                <a:gd name="connsiteX9" fmla="*/ 52514 w 102143"/>
                <a:gd name="connsiteY9" fmla="*/ 19548 h 38303"/>
                <a:gd name="connsiteX10" fmla="*/ 61656 w 102143"/>
                <a:gd name="connsiteY10" fmla="*/ 10406 h 38303"/>
                <a:gd name="connsiteX11" fmla="*/ 61656 w 102143"/>
                <a:gd name="connsiteY11" fmla="*/ 8248 h 38303"/>
                <a:gd name="connsiteX12" fmla="*/ 56434 w 102143"/>
                <a:gd name="connsiteY12" fmla="*/ 0 h 38303"/>
                <a:gd name="connsiteX13" fmla="*/ 102220 w 102143"/>
                <a:gd name="connsiteY13" fmla="*/ 0 h 38303"/>
                <a:gd name="connsiteX14" fmla="*/ 102220 w 102143"/>
                <a:gd name="connsiteY14" fmla="*/ 38878 h 3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143" h="38303">
                  <a:moveTo>
                    <a:pt x="102207" y="38878"/>
                  </a:moveTo>
                  <a:lnTo>
                    <a:pt x="9384" y="38878"/>
                  </a:lnTo>
                  <a:cubicBezTo>
                    <a:pt x="4226" y="38878"/>
                    <a:pt x="0" y="34652"/>
                    <a:pt x="0" y="29494"/>
                  </a:cubicBezTo>
                  <a:lnTo>
                    <a:pt x="0" y="9384"/>
                  </a:lnTo>
                  <a:cubicBezTo>
                    <a:pt x="0" y="4226"/>
                    <a:pt x="4226" y="0"/>
                    <a:pt x="9384" y="0"/>
                  </a:cubicBezTo>
                  <a:lnTo>
                    <a:pt x="27911" y="0"/>
                  </a:lnTo>
                  <a:cubicBezTo>
                    <a:pt x="35954" y="153"/>
                    <a:pt x="40193" y="4622"/>
                    <a:pt x="40193" y="8248"/>
                  </a:cubicBezTo>
                  <a:lnTo>
                    <a:pt x="40193" y="10406"/>
                  </a:lnTo>
                  <a:cubicBezTo>
                    <a:pt x="40193" y="15436"/>
                    <a:pt x="44305" y="19548"/>
                    <a:pt x="49335" y="19548"/>
                  </a:cubicBezTo>
                  <a:lnTo>
                    <a:pt x="52514" y="19548"/>
                  </a:lnTo>
                  <a:cubicBezTo>
                    <a:pt x="57545" y="19548"/>
                    <a:pt x="61656" y="15436"/>
                    <a:pt x="61656" y="10406"/>
                  </a:cubicBezTo>
                  <a:lnTo>
                    <a:pt x="61656" y="8248"/>
                  </a:lnTo>
                  <a:cubicBezTo>
                    <a:pt x="61656" y="4622"/>
                    <a:pt x="59511" y="1468"/>
                    <a:pt x="56434" y="0"/>
                  </a:cubicBezTo>
                  <a:lnTo>
                    <a:pt x="102220" y="0"/>
                  </a:lnTo>
                  <a:lnTo>
                    <a:pt x="102220" y="38878"/>
                  </a:lnTo>
                  <a:close/>
                </a:path>
              </a:pathLst>
            </a:custGeom>
            <a:solidFill>
              <a:srgbClr val="B1B550"/>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9" name="Freeform: Shape 68">
              <a:extLst>
                <a:ext uri="{FF2B5EF4-FFF2-40B4-BE49-F238E27FC236}">
                  <a16:creationId xmlns:a16="http://schemas.microsoft.com/office/drawing/2014/main" id="{C2D79B2A-AFFE-42BA-A42D-7BA09E0C911E}"/>
                </a:ext>
              </a:extLst>
            </p:cNvPr>
            <p:cNvSpPr/>
            <p:nvPr/>
          </p:nvSpPr>
          <p:spPr>
            <a:xfrm>
              <a:off x="6932383" y="310973"/>
              <a:ext cx="90652" cy="37027"/>
            </a:xfrm>
            <a:custGeom>
              <a:avLst/>
              <a:gdLst>
                <a:gd name="connsiteX0" fmla="*/ 90718 w 90652"/>
                <a:gd name="connsiteY0" fmla="*/ 8452 h 37026"/>
                <a:gd name="connsiteX1" fmla="*/ 90718 w 90652"/>
                <a:gd name="connsiteY1" fmla="*/ 10176 h 37026"/>
                <a:gd name="connsiteX2" fmla="*/ 90718 w 90652"/>
                <a:gd name="connsiteY2" fmla="*/ 11274 h 37026"/>
                <a:gd name="connsiteX3" fmla="*/ 82610 w 90652"/>
                <a:gd name="connsiteY3" fmla="*/ 19382 h 37026"/>
                <a:gd name="connsiteX4" fmla="*/ 70532 w 90652"/>
                <a:gd name="connsiteY4" fmla="*/ 19382 h 37026"/>
                <a:gd name="connsiteX5" fmla="*/ 70532 w 90652"/>
                <a:gd name="connsiteY5" fmla="*/ 29532 h 37026"/>
                <a:gd name="connsiteX6" fmla="*/ 62424 w 90652"/>
                <a:gd name="connsiteY6" fmla="*/ 37640 h 37026"/>
                <a:gd name="connsiteX7" fmla="*/ 30504 w 90652"/>
                <a:gd name="connsiteY7" fmla="*/ 37640 h 37026"/>
                <a:gd name="connsiteX8" fmla="*/ 30504 w 90652"/>
                <a:gd name="connsiteY8" fmla="*/ 27489 h 37026"/>
                <a:gd name="connsiteX9" fmla="*/ 22397 w 90652"/>
                <a:gd name="connsiteY9" fmla="*/ 19382 h 37026"/>
                <a:gd name="connsiteX10" fmla="*/ 985 w 90652"/>
                <a:gd name="connsiteY10" fmla="*/ 19382 h 37026"/>
                <a:gd name="connsiteX11" fmla="*/ 9093 w 90652"/>
                <a:gd name="connsiteY11" fmla="*/ 11274 h 37026"/>
                <a:gd name="connsiteX12" fmla="*/ 9093 w 90652"/>
                <a:gd name="connsiteY12" fmla="*/ 8452 h 37026"/>
                <a:gd name="connsiteX13" fmla="*/ 985 w 90652"/>
                <a:gd name="connsiteY13" fmla="*/ 345 h 37026"/>
                <a:gd name="connsiteX14" fmla="*/ 12936 w 90652"/>
                <a:gd name="connsiteY14" fmla="*/ 255 h 37026"/>
                <a:gd name="connsiteX15" fmla="*/ 12936 w 90652"/>
                <a:gd name="connsiteY15" fmla="*/ 0 h 37026"/>
                <a:gd name="connsiteX16" fmla="*/ 62424 w 90652"/>
                <a:gd name="connsiteY16" fmla="*/ 0 h 37026"/>
                <a:gd name="connsiteX17" fmla="*/ 90718 w 90652"/>
                <a:gd name="connsiteY17" fmla="*/ 0 h 37026"/>
                <a:gd name="connsiteX18" fmla="*/ 90718 w 90652"/>
                <a:gd name="connsiteY18" fmla="*/ 8452 h 3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652" h="37026">
                  <a:moveTo>
                    <a:pt x="90718" y="8452"/>
                  </a:moveTo>
                  <a:lnTo>
                    <a:pt x="90718" y="10176"/>
                  </a:lnTo>
                  <a:lnTo>
                    <a:pt x="90718" y="11274"/>
                  </a:lnTo>
                  <a:cubicBezTo>
                    <a:pt x="90718" y="15730"/>
                    <a:pt x="87066" y="19382"/>
                    <a:pt x="82610" y="19382"/>
                  </a:cubicBezTo>
                  <a:lnTo>
                    <a:pt x="70532" y="19382"/>
                  </a:lnTo>
                  <a:lnTo>
                    <a:pt x="70532" y="29532"/>
                  </a:lnTo>
                  <a:cubicBezTo>
                    <a:pt x="70532" y="33988"/>
                    <a:pt x="66880" y="37640"/>
                    <a:pt x="62424" y="37640"/>
                  </a:cubicBezTo>
                  <a:lnTo>
                    <a:pt x="30504" y="37640"/>
                  </a:lnTo>
                  <a:lnTo>
                    <a:pt x="30504" y="27489"/>
                  </a:lnTo>
                  <a:cubicBezTo>
                    <a:pt x="30504" y="23033"/>
                    <a:pt x="26853" y="19382"/>
                    <a:pt x="22397" y="19382"/>
                  </a:cubicBezTo>
                  <a:lnTo>
                    <a:pt x="985" y="19382"/>
                  </a:lnTo>
                  <a:cubicBezTo>
                    <a:pt x="5441" y="19382"/>
                    <a:pt x="9093" y="15743"/>
                    <a:pt x="9093" y="11274"/>
                  </a:cubicBezTo>
                  <a:lnTo>
                    <a:pt x="9093" y="8452"/>
                  </a:lnTo>
                  <a:cubicBezTo>
                    <a:pt x="9093" y="3996"/>
                    <a:pt x="5441" y="345"/>
                    <a:pt x="985" y="345"/>
                  </a:cubicBezTo>
                  <a:cubicBezTo>
                    <a:pt x="-2462" y="345"/>
                    <a:pt x="3526" y="306"/>
                    <a:pt x="12936" y="255"/>
                  </a:cubicBezTo>
                  <a:lnTo>
                    <a:pt x="12936" y="0"/>
                  </a:lnTo>
                  <a:lnTo>
                    <a:pt x="62424" y="0"/>
                  </a:lnTo>
                  <a:lnTo>
                    <a:pt x="90718" y="0"/>
                  </a:lnTo>
                  <a:lnTo>
                    <a:pt x="90718" y="8452"/>
                  </a:lnTo>
                  <a:close/>
                </a:path>
              </a:pathLst>
            </a:custGeom>
            <a:solidFill>
              <a:srgbClr val="B1B550"/>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0" name="Freeform: Shape 69">
              <a:extLst>
                <a:ext uri="{FF2B5EF4-FFF2-40B4-BE49-F238E27FC236}">
                  <a16:creationId xmlns:a16="http://schemas.microsoft.com/office/drawing/2014/main" id="{F06CB915-CD5B-4E7C-B1B0-1C2CFB6C3F6A}"/>
                </a:ext>
              </a:extLst>
            </p:cNvPr>
            <p:cNvSpPr/>
            <p:nvPr/>
          </p:nvSpPr>
          <p:spPr>
            <a:xfrm>
              <a:off x="6895907" y="330342"/>
              <a:ext cx="66393" cy="17875"/>
            </a:xfrm>
            <a:custGeom>
              <a:avLst/>
              <a:gdLst>
                <a:gd name="connsiteX0" fmla="*/ 66457 w 66393"/>
                <a:gd name="connsiteY0" fmla="*/ 18258 h 17875"/>
                <a:gd name="connsiteX1" fmla="*/ 66457 w 66393"/>
                <a:gd name="connsiteY1" fmla="*/ 8108 h 17875"/>
                <a:gd name="connsiteX2" fmla="*/ 58349 w 66393"/>
                <a:gd name="connsiteY2" fmla="*/ 0 h 17875"/>
                <a:gd name="connsiteX3" fmla="*/ 12015 w 66393"/>
                <a:gd name="connsiteY3" fmla="*/ 0 h 17875"/>
                <a:gd name="connsiteX4" fmla="*/ 3907 w 66393"/>
                <a:gd name="connsiteY4" fmla="*/ 8108 h 17875"/>
                <a:gd name="connsiteX5" fmla="*/ 3907 w 66393"/>
                <a:gd name="connsiteY5" fmla="*/ 9908 h 17875"/>
                <a:gd name="connsiteX6" fmla="*/ 0 w 66393"/>
                <a:gd name="connsiteY6" fmla="*/ 18258 h 17875"/>
                <a:gd name="connsiteX7" fmla="*/ 66457 w 66393"/>
                <a:gd name="connsiteY7" fmla="*/ 18258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93" h="17875">
                  <a:moveTo>
                    <a:pt x="66457" y="18258"/>
                  </a:moveTo>
                  <a:lnTo>
                    <a:pt x="66457" y="8108"/>
                  </a:lnTo>
                  <a:cubicBezTo>
                    <a:pt x="66457" y="3652"/>
                    <a:pt x="62805" y="0"/>
                    <a:pt x="58349" y="0"/>
                  </a:cubicBezTo>
                  <a:lnTo>
                    <a:pt x="12015" y="0"/>
                  </a:lnTo>
                  <a:cubicBezTo>
                    <a:pt x="7559" y="0"/>
                    <a:pt x="3907" y="3652"/>
                    <a:pt x="3907" y="8108"/>
                  </a:cubicBezTo>
                  <a:lnTo>
                    <a:pt x="3907" y="9908"/>
                  </a:lnTo>
                  <a:cubicBezTo>
                    <a:pt x="3907" y="13253"/>
                    <a:pt x="2400" y="16254"/>
                    <a:pt x="0" y="18258"/>
                  </a:cubicBezTo>
                  <a:lnTo>
                    <a:pt x="66457" y="18258"/>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1" name="Freeform: Shape 70">
              <a:extLst>
                <a:ext uri="{FF2B5EF4-FFF2-40B4-BE49-F238E27FC236}">
                  <a16:creationId xmlns:a16="http://schemas.microsoft.com/office/drawing/2014/main" id="{D3AA35E7-C748-4D97-AD73-965CDD080501}"/>
                </a:ext>
              </a:extLst>
            </p:cNvPr>
            <p:cNvSpPr/>
            <p:nvPr/>
          </p:nvSpPr>
          <p:spPr>
            <a:xfrm>
              <a:off x="6748476" y="426778"/>
              <a:ext cx="149385" cy="62563"/>
            </a:xfrm>
            <a:custGeom>
              <a:avLst/>
              <a:gdLst>
                <a:gd name="connsiteX0" fmla="*/ 149806 w 149384"/>
                <a:gd name="connsiteY0" fmla="*/ 28000 h 62562"/>
                <a:gd name="connsiteX1" fmla="*/ 149806 w 149384"/>
                <a:gd name="connsiteY1" fmla="*/ 40742 h 62562"/>
                <a:gd name="connsiteX2" fmla="*/ 140422 w 149384"/>
                <a:gd name="connsiteY2" fmla="*/ 40653 h 62562"/>
                <a:gd name="connsiteX3" fmla="*/ 139579 w 149384"/>
                <a:gd name="connsiteY3" fmla="*/ 40653 h 62562"/>
                <a:gd name="connsiteX4" fmla="*/ 128726 w 149384"/>
                <a:gd name="connsiteY4" fmla="*/ 51506 h 62562"/>
                <a:gd name="connsiteX5" fmla="*/ 128726 w 149384"/>
                <a:gd name="connsiteY5" fmla="*/ 53395 h 62562"/>
                <a:gd name="connsiteX6" fmla="*/ 119342 w 149384"/>
                <a:gd name="connsiteY6" fmla="*/ 62780 h 62562"/>
                <a:gd name="connsiteX7" fmla="*/ 43309 w 149384"/>
                <a:gd name="connsiteY7" fmla="*/ 62780 h 62562"/>
                <a:gd name="connsiteX8" fmla="*/ 43219 w 149384"/>
                <a:gd name="connsiteY8" fmla="*/ 53395 h 62562"/>
                <a:gd name="connsiteX9" fmla="*/ 43219 w 149384"/>
                <a:gd name="connsiteY9" fmla="*/ 51506 h 62562"/>
                <a:gd name="connsiteX10" fmla="*/ 32367 w 149384"/>
                <a:gd name="connsiteY10" fmla="*/ 40653 h 62562"/>
                <a:gd name="connsiteX11" fmla="*/ 30120 w 149384"/>
                <a:gd name="connsiteY11" fmla="*/ 40653 h 62562"/>
                <a:gd name="connsiteX12" fmla="*/ 20761 w 149384"/>
                <a:gd name="connsiteY12" fmla="*/ 32022 h 62562"/>
                <a:gd name="connsiteX13" fmla="*/ 9933 w 149384"/>
                <a:gd name="connsiteY13" fmla="*/ 22037 h 62562"/>
                <a:gd name="connsiteX14" fmla="*/ 9384 w 149384"/>
                <a:gd name="connsiteY14" fmla="*/ 22037 h 62562"/>
                <a:gd name="connsiteX15" fmla="*/ 0 w 149384"/>
                <a:gd name="connsiteY15" fmla="*/ 12653 h 62562"/>
                <a:gd name="connsiteX16" fmla="*/ 0 w 149384"/>
                <a:gd name="connsiteY16" fmla="*/ 9384 h 62562"/>
                <a:gd name="connsiteX17" fmla="*/ 9384 w 149384"/>
                <a:gd name="connsiteY17" fmla="*/ 0 h 62562"/>
                <a:gd name="connsiteX18" fmla="*/ 54021 w 149384"/>
                <a:gd name="connsiteY18" fmla="*/ 0 h 62562"/>
                <a:gd name="connsiteX19" fmla="*/ 60660 w 149384"/>
                <a:gd name="connsiteY19" fmla="*/ 0 h 62562"/>
                <a:gd name="connsiteX20" fmla="*/ 76122 w 149384"/>
                <a:gd name="connsiteY20" fmla="*/ 0 h 62562"/>
                <a:gd name="connsiteX21" fmla="*/ 85481 w 149384"/>
                <a:gd name="connsiteY21" fmla="*/ 8631 h 62562"/>
                <a:gd name="connsiteX22" fmla="*/ 96308 w 149384"/>
                <a:gd name="connsiteY22" fmla="*/ 18616 h 62562"/>
                <a:gd name="connsiteX23" fmla="*/ 140434 w 149384"/>
                <a:gd name="connsiteY23" fmla="*/ 18616 h 62562"/>
                <a:gd name="connsiteX24" fmla="*/ 149806 w 149384"/>
                <a:gd name="connsiteY24" fmla="*/ 28000 h 6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384" h="62562">
                  <a:moveTo>
                    <a:pt x="149806" y="28000"/>
                  </a:moveTo>
                  <a:lnTo>
                    <a:pt x="149806" y="40742"/>
                  </a:lnTo>
                  <a:lnTo>
                    <a:pt x="140422" y="40653"/>
                  </a:lnTo>
                  <a:lnTo>
                    <a:pt x="139579" y="40653"/>
                  </a:lnTo>
                  <a:cubicBezTo>
                    <a:pt x="133604" y="40653"/>
                    <a:pt x="128726" y="45530"/>
                    <a:pt x="128726" y="51506"/>
                  </a:cubicBezTo>
                  <a:lnTo>
                    <a:pt x="128726" y="53395"/>
                  </a:lnTo>
                  <a:cubicBezTo>
                    <a:pt x="128726" y="58554"/>
                    <a:pt x="124500" y="62780"/>
                    <a:pt x="119342" y="62780"/>
                  </a:cubicBezTo>
                  <a:lnTo>
                    <a:pt x="43309" y="62780"/>
                  </a:lnTo>
                  <a:lnTo>
                    <a:pt x="43219" y="53395"/>
                  </a:lnTo>
                  <a:lnTo>
                    <a:pt x="43219" y="51506"/>
                  </a:lnTo>
                  <a:cubicBezTo>
                    <a:pt x="43219" y="45530"/>
                    <a:pt x="38342" y="40653"/>
                    <a:pt x="32367" y="40653"/>
                  </a:cubicBezTo>
                  <a:lnTo>
                    <a:pt x="30120" y="40653"/>
                  </a:lnTo>
                  <a:cubicBezTo>
                    <a:pt x="25204" y="40653"/>
                    <a:pt x="21144" y="36835"/>
                    <a:pt x="20761" y="32022"/>
                  </a:cubicBezTo>
                  <a:cubicBezTo>
                    <a:pt x="20301" y="26366"/>
                    <a:pt x="15615" y="22037"/>
                    <a:pt x="9933" y="22037"/>
                  </a:cubicBezTo>
                  <a:lnTo>
                    <a:pt x="9384" y="22037"/>
                  </a:lnTo>
                  <a:cubicBezTo>
                    <a:pt x="4226" y="22037"/>
                    <a:pt x="0" y="17811"/>
                    <a:pt x="0" y="12653"/>
                  </a:cubicBezTo>
                  <a:lnTo>
                    <a:pt x="0" y="9384"/>
                  </a:lnTo>
                  <a:cubicBezTo>
                    <a:pt x="0" y="4226"/>
                    <a:pt x="4226" y="0"/>
                    <a:pt x="9384" y="0"/>
                  </a:cubicBezTo>
                  <a:lnTo>
                    <a:pt x="54021" y="0"/>
                  </a:lnTo>
                  <a:lnTo>
                    <a:pt x="60660" y="0"/>
                  </a:lnTo>
                  <a:lnTo>
                    <a:pt x="76122" y="0"/>
                  </a:lnTo>
                  <a:cubicBezTo>
                    <a:pt x="81025" y="0"/>
                    <a:pt x="85098" y="3818"/>
                    <a:pt x="85481" y="8631"/>
                  </a:cubicBezTo>
                  <a:cubicBezTo>
                    <a:pt x="85941" y="14287"/>
                    <a:pt x="90627" y="18616"/>
                    <a:pt x="96308" y="18616"/>
                  </a:cubicBezTo>
                  <a:lnTo>
                    <a:pt x="140434" y="18616"/>
                  </a:lnTo>
                  <a:cubicBezTo>
                    <a:pt x="145580" y="18616"/>
                    <a:pt x="149806" y="22842"/>
                    <a:pt x="149806" y="28000"/>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2" name="Freeform: Shape 71">
              <a:extLst>
                <a:ext uri="{FF2B5EF4-FFF2-40B4-BE49-F238E27FC236}">
                  <a16:creationId xmlns:a16="http://schemas.microsoft.com/office/drawing/2014/main" id="{69B2C2BF-F62A-49B6-89AB-7017305180AA}"/>
                </a:ext>
              </a:extLst>
            </p:cNvPr>
            <p:cNvSpPr/>
            <p:nvPr/>
          </p:nvSpPr>
          <p:spPr>
            <a:xfrm>
              <a:off x="6856020" y="467572"/>
              <a:ext cx="104697" cy="37027"/>
            </a:xfrm>
            <a:custGeom>
              <a:avLst/>
              <a:gdLst>
                <a:gd name="connsiteX0" fmla="*/ 0 w 104696"/>
                <a:gd name="connsiteY0" fmla="*/ 21999 h 37026"/>
                <a:gd name="connsiteX1" fmla="*/ 0 w 104696"/>
                <a:gd name="connsiteY1" fmla="*/ 37550 h 37026"/>
                <a:gd name="connsiteX2" fmla="*/ 32354 w 104696"/>
                <a:gd name="connsiteY2" fmla="*/ 37550 h 37026"/>
                <a:gd name="connsiteX3" fmla="*/ 38993 w 104696"/>
                <a:gd name="connsiteY3" fmla="*/ 37550 h 37026"/>
                <a:gd name="connsiteX4" fmla="*/ 54455 w 104696"/>
                <a:gd name="connsiteY4" fmla="*/ 37550 h 37026"/>
                <a:gd name="connsiteX5" fmla="*/ 63814 w 104696"/>
                <a:gd name="connsiteY5" fmla="*/ 28919 h 37026"/>
                <a:gd name="connsiteX6" fmla="*/ 74641 w 104696"/>
                <a:gd name="connsiteY6" fmla="*/ 18935 h 37026"/>
                <a:gd name="connsiteX7" fmla="*/ 104735 w 104696"/>
                <a:gd name="connsiteY7" fmla="*/ 18935 h 37026"/>
                <a:gd name="connsiteX8" fmla="*/ 104735 w 104696"/>
                <a:gd name="connsiteY8" fmla="*/ 204 h 37026"/>
                <a:gd name="connsiteX9" fmla="*/ 71066 w 104696"/>
                <a:gd name="connsiteY9" fmla="*/ 204 h 37026"/>
                <a:gd name="connsiteX10" fmla="*/ 29979 w 104696"/>
                <a:gd name="connsiteY10" fmla="*/ 0 h 37026"/>
                <a:gd name="connsiteX11" fmla="*/ 21169 w 104696"/>
                <a:gd name="connsiteY11" fmla="*/ 10725 h 37026"/>
                <a:gd name="connsiteX12" fmla="*/ 21169 w 104696"/>
                <a:gd name="connsiteY12" fmla="*/ 12615 h 37026"/>
                <a:gd name="connsiteX13" fmla="*/ 11785 w 104696"/>
                <a:gd name="connsiteY13" fmla="*/ 21999 h 37026"/>
                <a:gd name="connsiteX14" fmla="*/ 0 w 104696"/>
                <a:gd name="connsiteY14" fmla="*/ 21999 h 3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696" h="37026">
                  <a:moveTo>
                    <a:pt x="0" y="21999"/>
                  </a:moveTo>
                  <a:lnTo>
                    <a:pt x="0" y="37550"/>
                  </a:lnTo>
                  <a:lnTo>
                    <a:pt x="32354" y="37550"/>
                  </a:lnTo>
                  <a:lnTo>
                    <a:pt x="38993" y="37550"/>
                  </a:lnTo>
                  <a:lnTo>
                    <a:pt x="54455" y="37550"/>
                  </a:lnTo>
                  <a:cubicBezTo>
                    <a:pt x="59358" y="37550"/>
                    <a:pt x="63431" y="33733"/>
                    <a:pt x="63814" y="28919"/>
                  </a:cubicBezTo>
                  <a:cubicBezTo>
                    <a:pt x="64274" y="23263"/>
                    <a:pt x="68960" y="18935"/>
                    <a:pt x="74641" y="18935"/>
                  </a:cubicBezTo>
                  <a:lnTo>
                    <a:pt x="104735" y="18935"/>
                  </a:lnTo>
                  <a:lnTo>
                    <a:pt x="104735" y="204"/>
                  </a:lnTo>
                  <a:lnTo>
                    <a:pt x="71066" y="204"/>
                  </a:lnTo>
                  <a:lnTo>
                    <a:pt x="29979" y="0"/>
                  </a:lnTo>
                  <a:cubicBezTo>
                    <a:pt x="25268" y="1187"/>
                    <a:pt x="21169" y="5656"/>
                    <a:pt x="21169" y="10725"/>
                  </a:cubicBezTo>
                  <a:lnTo>
                    <a:pt x="21169" y="12615"/>
                  </a:lnTo>
                  <a:cubicBezTo>
                    <a:pt x="21169" y="17773"/>
                    <a:pt x="16943" y="21999"/>
                    <a:pt x="11785" y="21999"/>
                  </a:cubicBezTo>
                  <a:lnTo>
                    <a:pt x="0" y="21999"/>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3" name="Freeform: Shape 72">
              <a:extLst>
                <a:ext uri="{FF2B5EF4-FFF2-40B4-BE49-F238E27FC236}">
                  <a16:creationId xmlns:a16="http://schemas.microsoft.com/office/drawing/2014/main" id="{9E0AC86B-32EE-4191-AAA9-238A18E5A4D7}"/>
                </a:ext>
              </a:extLst>
            </p:cNvPr>
            <p:cNvSpPr/>
            <p:nvPr/>
          </p:nvSpPr>
          <p:spPr>
            <a:xfrm>
              <a:off x="6791325" y="348626"/>
              <a:ext cx="210671" cy="118742"/>
            </a:xfrm>
            <a:custGeom>
              <a:avLst/>
              <a:gdLst>
                <a:gd name="connsiteX0" fmla="*/ 190842 w 210670"/>
                <a:gd name="connsiteY0" fmla="*/ 111043 h 118741"/>
                <a:gd name="connsiteX1" fmla="*/ 182735 w 210670"/>
                <a:gd name="connsiteY1" fmla="*/ 119150 h 118741"/>
                <a:gd name="connsiteX2" fmla="*/ 135761 w 210670"/>
                <a:gd name="connsiteY2" fmla="*/ 119150 h 118741"/>
                <a:gd name="connsiteX3" fmla="*/ 106957 w 210670"/>
                <a:gd name="connsiteY3" fmla="*/ 118908 h 118741"/>
                <a:gd name="connsiteX4" fmla="*/ 106957 w 210670"/>
                <a:gd name="connsiteY4" fmla="*/ 106165 h 118741"/>
                <a:gd name="connsiteX5" fmla="*/ 97572 w 210670"/>
                <a:gd name="connsiteY5" fmla="*/ 96781 h 118741"/>
                <a:gd name="connsiteX6" fmla="*/ 53447 w 210670"/>
                <a:gd name="connsiteY6" fmla="*/ 96781 h 118741"/>
                <a:gd name="connsiteX7" fmla="*/ 42619 w 210670"/>
                <a:gd name="connsiteY7" fmla="*/ 86796 h 118741"/>
                <a:gd name="connsiteX8" fmla="*/ 33260 w 210670"/>
                <a:gd name="connsiteY8" fmla="*/ 78165 h 118741"/>
                <a:gd name="connsiteX9" fmla="*/ 17786 w 210670"/>
                <a:gd name="connsiteY9" fmla="*/ 78165 h 118741"/>
                <a:gd name="connsiteX10" fmla="*/ 11146 w 210670"/>
                <a:gd name="connsiteY10" fmla="*/ 78165 h 118741"/>
                <a:gd name="connsiteX11" fmla="*/ 0 w 210670"/>
                <a:gd name="connsiteY11" fmla="*/ 78165 h 118741"/>
                <a:gd name="connsiteX12" fmla="*/ 0 w 210670"/>
                <a:gd name="connsiteY12" fmla="*/ 8108 h 118741"/>
                <a:gd name="connsiteX13" fmla="*/ 8108 w 210670"/>
                <a:gd name="connsiteY13" fmla="*/ 0 h 118741"/>
                <a:gd name="connsiteX14" fmla="*/ 190472 w 210670"/>
                <a:gd name="connsiteY14" fmla="*/ 0 h 118741"/>
                <a:gd name="connsiteX15" fmla="*/ 190472 w 210670"/>
                <a:gd name="connsiteY15" fmla="*/ 45352 h 118741"/>
                <a:gd name="connsiteX16" fmla="*/ 190472 w 210670"/>
                <a:gd name="connsiteY16" fmla="*/ 52374 h 118741"/>
                <a:gd name="connsiteX17" fmla="*/ 198580 w 210670"/>
                <a:gd name="connsiteY17" fmla="*/ 60482 h 118741"/>
                <a:gd name="connsiteX18" fmla="*/ 211220 w 210670"/>
                <a:gd name="connsiteY18" fmla="*/ 60482 h 118741"/>
                <a:gd name="connsiteX19" fmla="*/ 211539 w 210670"/>
                <a:gd name="connsiteY19" fmla="*/ 97853 h 118741"/>
                <a:gd name="connsiteX20" fmla="*/ 200571 w 210670"/>
                <a:gd name="connsiteY20" fmla="*/ 97853 h 118741"/>
                <a:gd name="connsiteX21" fmla="*/ 190855 w 210670"/>
                <a:gd name="connsiteY21" fmla="*/ 106919 h 118741"/>
                <a:gd name="connsiteX22" fmla="*/ 190842 w 210670"/>
                <a:gd name="connsiteY22" fmla="*/ 111043 h 11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0670" h="118741">
                  <a:moveTo>
                    <a:pt x="190842" y="111043"/>
                  </a:moveTo>
                  <a:cubicBezTo>
                    <a:pt x="190817" y="115499"/>
                    <a:pt x="187191" y="119150"/>
                    <a:pt x="182735" y="119150"/>
                  </a:cubicBezTo>
                  <a:lnTo>
                    <a:pt x="135761" y="119150"/>
                  </a:lnTo>
                  <a:lnTo>
                    <a:pt x="106957" y="118908"/>
                  </a:lnTo>
                  <a:lnTo>
                    <a:pt x="106957" y="106165"/>
                  </a:lnTo>
                  <a:cubicBezTo>
                    <a:pt x="106957" y="101007"/>
                    <a:pt x="102731" y="96781"/>
                    <a:pt x="97572" y="96781"/>
                  </a:cubicBezTo>
                  <a:lnTo>
                    <a:pt x="53447" y="96781"/>
                  </a:lnTo>
                  <a:cubicBezTo>
                    <a:pt x="47778" y="96781"/>
                    <a:pt x="43079" y="92452"/>
                    <a:pt x="42619" y="86796"/>
                  </a:cubicBezTo>
                  <a:cubicBezTo>
                    <a:pt x="42236" y="81983"/>
                    <a:pt x="38176" y="78165"/>
                    <a:pt x="33260" y="78165"/>
                  </a:cubicBezTo>
                  <a:lnTo>
                    <a:pt x="17786" y="78165"/>
                  </a:lnTo>
                  <a:lnTo>
                    <a:pt x="11146" y="78165"/>
                  </a:lnTo>
                  <a:lnTo>
                    <a:pt x="0" y="78165"/>
                  </a:lnTo>
                  <a:lnTo>
                    <a:pt x="0" y="8108"/>
                  </a:lnTo>
                  <a:cubicBezTo>
                    <a:pt x="0" y="3652"/>
                    <a:pt x="3652" y="0"/>
                    <a:pt x="8108" y="0"/>
                  </a:cubicBezTo>
                  <a:lnTo>
                    <a:pt x="190472" y="0"/>
                  </a:lnTo>
                  <a:lnTo>
                    <a:pt x="190472" y="45352"/>
                  </a:lnTo>
                  <a:lnTo>
                    <a:pt x="190472" y="52374"/>
                  </a:lnTo>
                  <a:cubicBezTo>
                    <a:pt x="190472" y="56830"/>
                    <a:pt x="194124" y="60482"/>
                    <a:pt x="198580" y="60482"/>
                  </a:cubicBezTo>
                  <a:lnTo>
                    <a:pt x="211220" y="60482"/>
                  </a:lnTo>
                  <a:lnTo>
                    <a:pt x="211539" y="97853"/>
                  </a:lnTo>
                  <a:lnTo>
                    <a:pt x="200571" y="97853"/>
                  </a:lnTo>
                  <a:cubicBezTo>
                    <a:pt x="195413" y="97853"/>
                    <a:pt x="190880" y="101748"/>
                    <a:pt x="190855" y="106919"/>
                  </a:cubicBezTo>
                  <a:lnTo>
                    <a:pt x="190842" y="111043"/>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4" name="Freeform: Shape 73">
              <a:extLst>
                <a:ext uri="{FF2B5EF4-FFF2-40B4-BE49-F238E27FC236}">
                  <a16:creationId xmlns:a16="http://schemas.microsoft.com/office/drawing/2014/main" id="{F62B7724-50FA-45BD-9E47-3D3996092E29}"/>
                </a:ext>
              </a:extLst>
            </p:cNvPr>
            <p:cNvSpPr/>
            <p:nvPr/>
          </p:nvSpPr>
          <p:spPr>
            <a:xfrm>
              <a:off x="6642387" y="348447"/>
              <a:ext cx="148108" cy="157045"/>
            </a:xfrm>
            <a:custGeom>
              <a:avLst/>
              <a:gdLst>
                <a:gd name="connsiteX0" fmla="*/ 21731 w 148107"/>
                <a:gd name="connsiteY0" fmla="*/ 49795 h 157045"/>
                <a:gd name="connsiteX1" fmla="*/ 21731 w 148107"/>
                <a:gd name="connsiteY1" fmla="*/ 22037 h 157045"/>
                <a:gd name="connsiteX2" fmla="*/ 29468 w 148107"/>
                <a:gd name="connsiteY2" fmla="*/ 21999 h 157045"/>
                <a:gd name="connsiteX3" fmla="*/ 33031 w 148107"/>
                <a:gd name="connsiteY3" fmla="*/ 21999 h 157045"/>
                <a:gd name="connsiteX4" fmla="*/ 43270 w 148107"/>
                <a:gd name="connsiteY4" fmla="*/ 11759 h 157045"/>
                <a:gd name="connsiteX5" fmla="*/ 43270 w 148107"/>
                <a:gd name="connsiteY5" fmla="*/ 9346 h 157045"/>
                <a:gd name="connsiteX6" fmla="*/ 37512 w 148107"/>
                <a:gd name="connsiteY6" fmla="*/ 153 h 157045"/>
                <a:gd name="connsiteX7" fmla="*/ 117542 w 148107"/>
                <a:gd name="connsiteY7" fmla="*/ 0 h 157045"/>
                <a:gd name="connsiteX8" fmla="*/ 127117 w 148107"/>
                <a:gd name="connsiteY8" fmla="*/ 9346 h 157045"/>
                <a:gd name="connsiteX9" fmla="*/ 127117 w 148107"/>
                <a:gd name="connsiteY9" fmla="*/ 11759 h 157045"/>
                <a:gd name="connsiteX10" fmla="*/ 137357 w 148107"/>
                <a:gd name="connsiteY10" fmla="*/ 21999 h 157045"/>
                <a:gd name="connsiteX11" fmla="*/ 140920 w 148107"/>
                <a:gd name="connsiteY11" fmla="*/ 21999 h 157045"/>
                <a:gd name="connsiteX12" fmla="*/ 149091 w 148107"/>
                <a:gd name="connsiteY12" fmla="*/ 17913 h 157045"/>
                <a:gd name="connsiteX13" fmla="*/ 149091 w 148107"/>
                <a:gd name="connsiteY13" fmla="*/ 78318 h 157045"/>
                <a:gd name="connsiteX14" fmla="*/ 115460 w 148107"/>
                <a:gd name="connsiteY14" fmla="*/ 78318 h 157045"/>
                <a:gd name="connsiteX15" fmla="*/ 106076 w 148107"/>
                <a:gd name="connsiteY15" fmla="*/ 87703 h 157045"/>
                <a:gd name="connsiteX16" fmla="*/ 106076 w 148107"/>
                <a:gd name="connsiteY16" fmla="*/ 90971 h 157045"/>
                <a:gd name="connsiteX17" fmla="*/ 115460 w 148107"/>
                <a:gd name="connsiteY17" fmla="*/ 100356 h 157045"/>
                <a:gd name="connsiteX18" fmla="*/ 116009 w 148107"/>
                <a:gd name="connsiteY18" fmla="*/ 100356 h 157045"/>
                <a:gd name="connsiteX19" fmla="*/ 126837 w 148107"/>
                <a:gd name="connsiteY19" fmla="*/ 110340 h 157045"/>
                <a:gd name="connsiteX20" fmla="*/ 136195 w 148107"/>
                <a:gd name="connsiteY20" fmla="*/ 118971 h 157045"/>
                <a:gd name="connsiteX21" fmla="*/ 138443 w 148107"/>
                <a:gd name="connsiteY21" fmla="*/ 118971 h 157045"/>
                <a:gd name="connsiteX22" fmla="*/ 149091 w 148107"/>
                <a:gd name="connsiteY22" fmla="*/ 127717 h 157045"/>
                <a:gd name="connsiteX23" fmla="*/ 149091 w 148107"/>
                <a:gd name="connsiteY23" fmla="*/ 147980 h 157045"/>
                <a:gd name="connsiteX24" fmla="*/ 139707 w 148107"/>
                <a:gd name="connsiteY24" fmla="*/ 157365 h 157045"/>
                <a:gd name="connsiteX25" fmla="*/ 99628 w 148107"/>
                <a:gd name="connsiteY25" fmla="*/ 157365 h 157045"/>
                <a:gd name="connsiteX26" fmla="*/ 98568 w 148107"/>
                <a:gd name="connsiteY26" fmla="*/ 157416 h 157045"/>
                <a:gd name="connsiteX27" fmla="*/ 96615 w 148107"/>
                <a:gd name="connsiteY27" fmla="*/ 157505 h 157045"/>
                <a:gd name="connsiteX28" fmla="*/ 21820 w 148107"/>
                <a:gd name="connsiteY28" fmla="*/ 157505 h 157045"/>
                <a:gd name="connsiteX29" fmla="*/ 21820 w 148107"/>
                <a:gd name="connsiteY29" fmla="*/ 149040 h 157045"/>
                <a:gd name="connsiteX30" fmla="*/ 10968 w 148107"/>
                <a:gd name="connsiteY30" fmla="*/ 138187 h 157045"/>
                <a:gd name="connsiteX31" fmla="*/ 9384 w 148107"/>
                <a:gd name="connsiteY31" fmla="*/ 138187 h 157045"/>
                <a:gd name="connsiteX32" fmla="*/ 0 w 148107"/>
                <a:gd name="connsiteY32" fmla="*/ 128803 h 157045"/>
                <a:gd name="connsiteX33" fmla="*/ 0 w 148107"/>
                <a:gd name="connsiteY33" fmla="*/ 70032 h 157045"/>
                <a:gd name="connsiteX34" fmla="*/ 9384 w 148107"/>
                <a:gd name="connsiteY34" fmla="*/ 60648 h 157045"/>
                <a:gd name="connsiteX35" fmla="*/ 10878 w 148107"/>
                <a:gd name="connsiteY35" fmla="*/ 60648 h 157045"/>
                <a:gd name="connsiteX36" fmla="*/ 21731 w 148107"/>
                <a:gd name="connsiteY36" fmla="*/ 49795 h 15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8107" h="157045">
                  <a:moveTo>
                    <a:pt x="21731" y="49795"/>
                  </a:moveTo>
                  <a:lnTo>
                    <a:pt x="21731" y="22037"/>
                  </a:lnTo>
                  <a:lnTo>
                    <a:pt x="29468" y="21999"/>
                  </a:lnTo>
                  <a:lnTo>
                    <a:pt x="33031" y="21999"/>
                  </a:lnTo>
                  <a:cubicBezTo>
                    <a:pt x="38661" y="21999"/>
                    <a:pt x="43270" y="17390"/>
                    <a:pt x="43270" y="11759"/>
                  </a:cubicBezTo>
                  <a:lnTo>
                    <a:pt x="43270" y="9346"/>
                  </a:lnTo>
                  <a:cubicBezTo>
                    <a:pt x="43270" y="5324"/>
                    <a:pt x="40908" y="1826"/>
                    <a:pt x="37512" y="153"/>
                  </a:cubicBezTo>
                  <a:cubicBezTo>
                    <a:pt x="61988" y="153"/>
                    <a:pt x="93282" y="0"/>
                    <a:pt x="117542" y="0"/>
                  </a:cubicBezTo>
                  <a:cubicBezTo>
                    <a:pt x="125968" y="204"/>
                    <a:pt x="127117" y="5197"/>
                    <a:pt x="127117" y="9346"/>
                  </a:cubicBezTo>
                  <a:lnTo>
                    <a:pt x="127117" y="11759"/>
                  </a:lnTo>
                  <a:cubicBezTo>
                    <a:pt x="127117" y="17390"/>
                    <a:pt x="131727" y="21999"/>
                    <a:pt x="137357" y="21999"/>
                  </a:cubicBezTo>
                  <a:lnTo>
                    <a:pt x="140920" y="21999"/>
                  </a:lnTo>
                  <a:cubicBezTo>
                    <a:pt x="144252" y="21999"/>
                    <a:pt x="147214" y="20390"/>
                    <a:pt x="149091" y="17913"/>
                  </a:cubicBezTo>
                  <a:lnTo>
                    <a:pt x="149091" y="78318"/>
                  </a:lnTo>
                  <a:lnTo>
                    <a:pt x="115460" y="78318"/>
                  </a:lnTo>
                  <a:cubicBezTo>
                    <a:pt x="110302" y="78318"/>
                    <a:pt x="106076" y="82545"/>
                    <a:pt x="106076" y="87703"/>
                  </a:cubicBezTo>
                  <a:lnTo>
                    <a:pt x="106076" y="90971"/>
                  </a:lnTo>
                  <a:cubicBezTo>
                    <a:pt x="106076" y="96130"/>
                    <a:pt x="110302" y="100356"/>
                    <a:pt x="115460" y="100356"/>
                  </a:cubicBezTo>
                  <a:lnTo>
                    <a:pt x="116009" y="100356"/>
                  </a:lnTo>
                  <a:cubicBezTo>
                    <a:pt x="121691" y="100356"/>
                    <a:pt x="126377" y="104684"/>
                    <a:pt x="126837" y="110340"/>
                  </a:cubicBezTo>
                  <a:cubicBezTo>
                    <a:pt x="127220" y="115154"/>
                    <a:pt x="131280" y="118971"/>
                    <a:pt x="136195" y="118971"/>
                  </a:cubicBezTo>
                  <a:lnTo>
                    <a:pt x="138443" y="118971"/>
                  </a:lnTo>
                  <a:cubicBezTo>
                    <a:pt x="143703" y="118971"/>
                    <a:pt x="148108" y="122738"/>
                    <a:pt x="149091" y="127717"/>
                  </a:cubicBezTo>
                  <a:lnTo>
                    <a:pt x="149091" y="147980"/>
                  </a:lnTo>
                  <a:cubicBezTo>
                    <a:pt x="149091" y="153138"/>
                    <a:pt x="144865" y="157365"/>
                    <a:pt x="139707" y="157365"/>
                  </a:cubicBezTo>
                  <a:lnTo>
                    <a:pt x="99628" y="157365"/>
                  </a:lnTo>
                  <a:cubicBezTo>
                    <a:pt x="99258" y="157365"/>
                    <a:pt x="98939" y="157377"/>
                    <a:pt x="98568" y="157416"/>
                  </a:cubicBezTo>
                  <a:cubicBezTo>
                    <a:pt x="97930" y="157479"/>
                    <a:pt x="97279" y="157505"/>
                    <a:pt x="96615" y="157505"/>
                  </a:cubicBezTo>
                  <a:lnTo>
                    <a:pt x="21820" y="157505"/>
                  </a:lnTo>
                  <a:lnTo>
                    <a:pt x="21820" y="149040"/>
                  </a:lnTo>
                  <a:cubicBezTo>
                    <a:pt x="21820" y="143064"/>
                    <a:pt x="16943" y="138187"/>
                    <a:pt x="10968" y="138187"/>
                  </a:cubicBezTo>
                  <a:lnTo>
                    <a:pt x="9384" y="138187"/>
                  </a:lnTo>
                  <a:cubicBezTo>
                    <a:pt x="4226" y="138187"/>
                    <a:pt x="0" y="133961"/>
                    <a:pt x="0" y="128803"/>
                  </a:cubicBezTo>
                  <a:lnTo>
                    <a:pt x="0" y="70032"/>
                  </a:lnTo>
                  <a:cubicBezTo>
                    <a:pt x="0" y="64874"/>
                    <a:pt x="4226" y="60648"/>
                    <a:pt x="9384" y="60648"/>
                  </a:cubicBezTo>
                  <a:lnTo>
                    <a:pt x="10878" y="60648"/>
                  </a:lnTo>
                  <a:cubicBezTo>
                    <a:pt x="16854" y="60648"/>
                    <a:pt x="21731" y="55770"/>
                    <a:pt x="21731" y="49795"/>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5" name="Freeform: Shape 74">
              <a:extLst>
                <a:ext uri="{FF2B5EF4-FFF2-40B4-BE49-F238E27FC236}">
                  <a16:creationId xmlns:a16="http://schemas.microsoft.com/office/drawing/2014/main" id="{50D0BFDB-252A-46D0-9617-B63F233A9397}"/>
                </a:ext>
              </a:extLst>
            </p:cNvPr>
            <p:cNvSpPr/>
            <p:nvPr/>
          </p:nvSpPr>
          <p:spPr>
            <a:xfrm>
              <a:off x="6665676" y="272389"/>
              <a:ext cx="39581" cy="75331"/>
            </a:xfrm>
            <a:custGeom>
              <a:avLst/>
              <a:gdLst>
                <a:gd name="connsiteX0" fmla="*/ 40845 w 39580"/>
                <a:gd name="connsiteY0" fmla="*/ 76173 h 75330"/>
                <a:gd name="connsiteX1" fmla="*/ 40845 w 39580"/>
                <a:gd name="connsiteY1" fmla="*/ 7725 h 75330"/>
                <a:gd name="connsiteX2" fmla="*/ 33120 w 39580"/>
                <a:gd name="connsiteY2" fmla="*/ 0 h 75330"/>
                <a:gd name="connsiteX3" fmla="*/ 30439 w 39580"/>
                <a:gd name="connsiteY3" fmla="*/ 0 h 75330"/>
                <a:gd name="connsiteX4" fmla="*/ 22714 w 39580"/>
                <a:gd name="connsiteY4" fmla="*/ 7725 h 75330"/>
                <a:gd name="connsiteX5" fmla="*/ 22714 w 39580"/>
                <a:gd name="connsiteY5" fmla="*/ 8963 h 75330"/>
                <a:gd name="connsiteX6" fmla="*/ 11861 w 39580"/>
                <a:gd name="connsiteY6" fmla="*/ 19816 h 75330"/>
                <a:gd name="connsiteX7" fmla="*/ 10240 w 39580"/>
                <a:gd name="connsiteY7" fmla="*/ 19816 h 75330"/>
                <a:gd name="connsiteX8" fmla="*/ 0 w 39580"/>
                <a:gd name="connsiteY8" fmla="*/ 30056 h 75330"/>
                <a:gd name="connsiteX9" fmla="*/ 0 w 39580"/>
                <a:gd name="connsiteY9" fmla="*/ 61784 h 75330"/>
                <a:gd name="connsiteX10" fmla="*/ 0 w 39580"/>
                <a:gd name="connsiteY10" fmla="*/ 62078 h 75330"/>
                <a:gd name="connsiteX11" fmla="*/ 0 w 39580"/>
                <a:gd name="connsiteY11" fmla="*/ 62754 h 75330"/>
                <a:gd name="connsiteX12" fmla="*/ 0 w 39580"/>
                <a:gd name="connsiteY12" fmla="*/ 63048 h 75330"/>
                <a:gd name="connsiteX13" fmla="*/ 0 w 39580"/>
                <a:gd name="connsiteY13" fmla="*/ 65461 h 75330"/>
                <a:gd name="connsiteX14" fmla="*/ 10240 w 39580"/>
                <a:gd name="connsiteY14" fmla="*/ 75701 h 75330"/>
                <a:gd name="connsiteX15" fmla="*/ 12615 w 39580"/>
                <a:gd name="connsiteY15" fmla="*/ 75701 h 75330"/>
                <a:gd name="connsiteX16" fmla="*/ 15947 w 39580"/>
                <a:gd name="connsiteY16" fmla="*/ 76212 h 75330"/>
                <a:gd name="connsiteX17" fmla="*/ 40845 w 39580"/>
                <a:gd name="connsiteY17" fmla="*/ 76173 h 7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580" h="75330">
                  <a:moveTo>
                    <a:pt x="40845" y="76173"/>
                  </a:moveTo>
                  <a:lnTo>
                    <a:pt x="40845" y="7725"/>
                  </a:lnTo>
                  <a:cubicBezTo>
                    <a:pt x="40845" y="3473"/>
                    <a:pt x="37372" y="0"/>
                    <a:pt x="33120" y="0"/>
                  </a:cubicBezTo>
                  <a:lnTo>
                    <a:pt x="30439" y="0"/>
                  </a:lnTo>
                  <a:cubicBezTo>
                    <a:pt x="26187" y="0"/>
                    <a:pt x="22714" y="3473"/>
                    <a:pt x="22714" y="7725"/>
                  </a:cubicBezTo>
                  <a:lnTo>
                    <a:pt x="22714" y="8963"/>
                  </a:lnTo>
                  <a:cubicBezTo>
                    <a:pt x="22714" y="14938"/>
                    <a:pt x="17837" y="19816"/>
                    <a:pt x="11861" y="19816"/>
                  </a:cubicBezTo>
                  <a:lnTo>
                    <a:pt x="10240" y="19816"/>
                  </a:lnTo>
                  <a:cubicBezTo>
                    <a:pt x="4609" y="19816"/>
                    <a:pt x="0" y="24425"/>
                    <a:pt x="0" y="30056"/>
                  </a:cubicBezTo>
                  <a:lnTo>
                    <a:pt x="0" y="61784"/>
                  </a:lnTo>
                  <a:cubicBezTo>
                    <a:pt x="0" y="61886"/>
                    <a:pt x="0" y="61988"/>
                    <a:pt x="0" y="62078"/>
                  </a:cubicBezTo>
                  <a:cubicBezTo>
                    <a:pt x="13" y="62320"/>
                    <a:pt x="13" y="62524"/>
                    <a:pt x="0" y="62754"/>
                  </a:cubicBezTo>
                  <a:cubicBezTo>
                    <a:pt x="0" y="62856"/>
                    <a:pt x="0" y="62946"/>
                    <a:pt x="0" y="63048"/>
                  </a:cubicBezTo>
                  <a:lnTo>
                    <a:pt x="0" y="65461"/>
                  </a:lnTo>
                  <a:cubicBezTo>
                    <a:pt x="0" y="71092"/>
                    <a:pt x="4609" y="75701"/>
                    <a:pt x="10240" y="75701"/>
                  </a:cubicBezTo>
                  <a:lnTo>
                    <a:pt x="12615" y="75701"/>
                  </a:lnTo>
                  <a:cubicBezTo>
                    <a:pt x="13777" y="75701"/>
                    <a:pt x="14900" y="75880"/>
                    <a:pt x="15947" y="76212"/>
                  </a:cubicBezTo>
                  <a:cubicBezTo>
                    <a:pt x="23748" y="76212"/>
                    <a:pt x="32188" y="76199"/>
                    <a:pt x="40845" y="76173"/>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6" name="Freeform: Shape 75">
              <a:extLst>
                <a:ext uri="{FF2B5EF4-FFF2-40B4-BE49-F238E27FC236}">
                  <a16:creationId xmlns:a16="http://schemas.microsoft.com/office/drawing/2014/main" id="{544D7EA0-6666-464D-ABF2-2D4C94D3D320}"/>
                </a:ext>
              </a:extLst>
            </p:cNvPr>
            <p:cNvSpPr/>
            <p:nvPr/>
          </p:nvSpPr>
          <p:spPr>
            <a:xfrm>
              <a:off x="6687534" y="604853"/>
              <a:ext cx="17875" cy="35750"/>
            </a:xfrm>
            <a:custGeom>
              <a:avLst/>
              <a:gdLst>
                <a:gd name="connsiteX0" fmla="*/ 7725 w 17875"/>
                <a:gd name="connsiteY0" fmla="*/ 36784 h 35750"/>
                <a:gd name="connsiteX1" fmla="*/ 10406 w 17875"/>
                <a:gd name="connsiteY1" fmla="*/ 36784 h 35750"/>
                <a:gd name="connsiteX2" fmla="*/ 18130 w 17875"/>
                <a:gd name="connsiteY2" fmla="*/ 29060 h 35750"/>
                <a:gd name="connsiteX3" fmla="*/ 18130 w 17875"/>
                <a:gd name="connsiteY3" fmla="*/ 7725 h 35750"/>
                <a:gd name="connsiteX4" fmla="*/ 10406 w 17875"/>
                <a:gd name="connsiteY4" fmla="*/ 0 h 35750"/>
                <a:gd name="connsiteX5" fmla="*/ 7725 w 17875"/>
                <a:gd name="connsiteY5" fmla="*/ 0 h 35750"/>
                <a:gd name="connsiteX6" fmla="*/ 0 w 17875"/>
                <a:gd name="connsiteY6" fmla="*/ 7725 h 35750"/>
                <a:gd name="connsiteX7" fmla="*/ 0 w 17875"/>
                <a:gd name="connsiteY7" fmla="*/ 29060 h 35750"/>
                <a:gd name="connsiteX8" fmla="*/ 7725 w 17875"/>
                <a:gd name="connsiteY8" fmla="*/ 36784 h 3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75" h="35750">
                  <a:moveTo>
                    <a:pt x="7725" y="36784"/>
                  </a:moveTo>
                  <a:lnTo>
                    <a:pt x="10406" y="36784"/>
                  </a:lnTo>
                  <a:cubicBezTo>
                    <a:pt x="14658" y="36784"/>
                    <a:pt x="18130" y="33311"/>
                    <a:pt x="18130" y="29060"/>
                  </a:cubicBezTo>
                  <a:lnTo>
                    <a:pt x="18130" y="7725"/>
                  </a:lnTo>
                  <a:cubicBezTo>
                    <a:pt x="18130" y="3473"/>
                    <a:pt x="14658" y="0"/>
                    <a:pt x="10406" y="0"/>
                  </a:cubicBezTo>
                  <a:lnTo>
                    <a:pt x="7725" y="0"/>
                  </a:lnTo>
                  <a:cubicBezTo>
                    <a:pt x="3473" y="0"/>
                    <a:pt x="0" y="3473"/>
                    <a:pt x="0" y="7725"/>
                  </a:cubicBezTo>
                  <a:lnTo>
                    <a:pt x="0" y="29060"/>
                  </a:lnTo>
                  <a:cubicBezTo>
                    <a:pt x="0" y="33299"/>
                    <a:pt x="3473" y="36784"/>
                    <a:pt x="7725" y="36784"/>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7" name="Freeform: Shape 76">
              <a:extLst>
                <a:ext uri="{FF2B5EF4-FFF2-40B4-BE49-F238E27FC236}">
                  <a16:creationId xmlns:a16="http://schemas.microsoft.com/office/drawing/2014/main" id="{231FD3B3-C47F-41D0-A249-4687513BB3EA}"/>
                </a:ext>
              </a:extLst>
            </p:cNvPr>
            <p:cNvSpPr/>
            <p:nvPr/>
          </p:nvSpPr>
          <p:spPr>
            <a:xfrm>
              <a:off x="6580743" y="370229"/>
              <a:ext cx="82992" cy="57456"/>
            </a:xfrm>
            <a:custGeom>
              <a:avLst/>
              <a:gdLst>
                <a:gd name="connsiteX0" fmla="*/ 44407 w 82991"/>
                <a:gd name="connsiteY0" fmla="*/ 0 h 57455"/>
                <a:gd name="connsiteX1" fmla="*/ 33222 w 82991"/>
                <a:gd name="connsiteY1" fmla="*/ 11185 h 57455"/>
                <a:gd name="connsiteX2" fmla="*/ 33222 w 82991"/>
                <a:gd name="connsiteY2" fmla="*/ 19650 h 57455"/>
                <a:gd name="connsiteX3" fmla="*/ 11185 w 82991"/>
                <a:gd name="connsiteY3" fmla="*/ 19650 h 57455"/>
                <a:gd name="connsiteX4" fmla="*/ 0 w 82991"/>
                <a:gd name="connsiteY4" fmla="*/ 30835 h 57455"/>
                <a:gd name="connsiteX5" fmla="*/ 0 w 82991"/>
                <a:gd name="connsiteY5" fmla="*/ 38036 h 57455"/>
                <a:gd name="connsiteX6" fmla="*/ 31154 w 82991"/>
                <a:gd name="connsiteY6" fmla="*/ 38036 h 57455"/>
                <a:gd name="connsiteX7" fmla="*/ 42338 w 82991"/>
                <a:gd name="connsiteY7" fmla="*/ 49221 h 57455"/>
                <a:gd name="connsiteX8" fmla="*/ 52680 w 82991"/>
                <a:gd name="connsiteY8" fmla="*/ 58311 h 57455"/>
                <a:gd name="connsiteX9" fmla="*/ 61644 w 82991"/>
                <a:gd name="connsiteY9" fmla="*/ 58235 h 57455"/>
                <a:gd name="connsiteX10" fmla="*/ 61644 w 82991"/>
                <a:gd name="connsiteY10" fmla="*/ 48276 h 57455"/>
                <a:gd name="connsiteX11" fmla="*/ 71028 w 82991"/>
                <a:gd name="connsiteY11" fmla="*/ 38891 h 57455"/>
                <a:gd name="connsiteX12" fmla="*/ 72522 w 82991"/>
                <a:gd name="connsiteY12" fmla="*/ 38891 h 57455"/>
                <a:gd name="connsiteX13" fmla="*/ 83375 w 82991"/>
                <a:gd name="connsiteY13" fmla="*/ 28039 h 57455"/>
                <a:gd name="connsiteX14" fmla="*/ 83375 w 82991"/>
                <a:gd name="connsiteY14" fmla="*/ 281 h 57455"/>
                <a:gd name="connsiteX15" fmla="*/ 44407 w 82991"/>
                <a:gd name="connsiteY15" fmla="*/ 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991" h="57455">
                  <a:moveTo>
                    <a:pt x="44407" y="0"/>
                  </a:moveTo>
                  <a:cubicBezTo>
                    <a:pt x="38253" y="-38"/>
                    <a:pt x="33222" y="5031"/>
                    <a:pt x="33222" y="11185"/>
                  </a:cubicBezTo>
                  <a:lnTo>
                    <a:pt x="33222" y="19650"/>
                  </a:lnTo>
                  <a:lnTo>
                    <a:pt x="11185" y="19650"/>
                  </a:lnTo>
                  <a:cubicBezTo>
                    <a:pt x="5031" y="19650"/>
                    <a:pt x="0" y="24681"/>
                    <a:pt x="0" y="30835"/>
                  </a:cubicBezTo>
                  <a:lnTo>
                    <a:pt x="0" y="38036"/>
                  </a:lnTo>
                  <a:lnTo>
                    <a:pt x="31154" y="38036"/>
                  </a:lnTo>
                  <a:cubicBezTo>
                    <a:pt x="37308" y="38036"/>
                    <a:pt x="42338" y="43066"/>
                    <a:pt x="42338" y="49221"/>
                  </a:cubicBezTo>
                  <a:cubicBezTo>
                    <a:pt x="41917" y="54430"/>
                    <a:pt x="45569" y="57252"/>
                    <a:pt x="52680" y="58311"/>
                  </a:cubicBezTo>
                  <a:lnTo>
                    <a:pt x="61644" y="58235"/>
                  </a:lnTo>
                  <a:lnTo>
                    <a:pt x="61644" y="48276"/>
                  </a:lnTo>
                  <a:cubicBezTo>
                    <a:pt x="61644" y="43117"/>
                    <a:pt x="65870" y="38891"/>
                    <a:pt x="71028" y="38891"/>
                  </a:cubicBezTo>
                  <a:lnTo>
                    <a:pt x="72522" y="38891"/>
                  </a:lnTo>
                  <a:cubicBezTo>
                    <a:pt x="78497" y="38891"/>
                    <a:pt x="83375" y="34014"/>
                    <a:pt x="83375" y="28039"/>
                  </a:cubicBezTo>
                  <a:lnTo>
                    <a:pt x="83375" y="281"/>
                  </a:lnTo>
                  <a:lnTo>
                    <a:pt x="44407"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8" name="Freeform: Shape 77">
              <a:extLst>
                <a:ext uri="{FF2B5EF4-FFF2-40B4-BE49-F238E27FC236}">
                  <a16:creationId xmlns:a16="http://schemas.microsoft.com/office/drawing/2014/main" id="{52CE1D78-5BF5-4C7F-BC3B-15E6797D9068}"/>
                </a:ext>
              </a:extLst>
            </p:cNvPr>
            <p:cNvSpPr/>
            <p:nvPr/>
          </p:nvSpPr>
          <p:spPr>
            <a:xfrm>
              <a:off x="6558323" y="408252"/>
              <a:ext cx="82992" cy="58732"/>
            </a:xfrm>
            <a:custGeom>
              <a:avLst/>
              <a:gdLst>
                <a:gd name="connsiteX0" fmla="*/ 84064 w 82991"/>
                <a:gd name="connsiteY0" fmla="*/ 59984 h 58732"/>
                <a:gd name="connsiteX1" fmla="*/ 84064 w 82991"/>
                <a:gd name="connsiteY1" fmla="*/ 20199 h 58732"/>
                <a:gd name="connsiteX2" fmla="*/ 75101 w 82991"/>
                <a:gd name="connsiteY2" fmla="*/ 20275 h 58732"/>
                <a:gd name="connsiteX3" fmla="*/ 64759 w 82991"/>
                <a:gd name="connsiteY3" fmla="*/ 11185 h 58732"/>
                <a:gd name="connsiteX4" fmla="*/ 53574 w 82991"/>
                <a:gd name="connsiteY4" fmla="*/ 0 h 58732"/>
                <a:gd name="connsiteX5" fmla="*/ 22548 w 82991"/>
                <a:gd name="connsiteY5" fmla="*/ 0 h 58732"/>
                <a:gd name="connsiteX6" fmla="*/ 22548 w 82991"/>
                <a:gd name="connsiteY6" fmla="*/ 9308 h 58732"/>
                <a:gd name="connsiteX7" fmla="*/ 11274 w 82991"/>
                <a:gd name="connsiteY7" fmla="*/ 21233 h 58732"/>
                <a:gd name="connsiteX8" fmla="*/ 0 w 82991"/>
                <a:gd name="connsiteY8" fmla="*/ 21233 h 58732"/>
                <a:gd name="connsiteX9" fmla="*/ 51 w 82991"/>
                <a:gd name="connsiteY9" fmla="*/ 28524 h 58732"/>
                <a:gd name="connsiteX10" fmla="*/ 11236 w 82991"/>
                <a:gd name="connsiteY10" fmla="*/ 39708 h 58732"/>
                <a:gd name="connsiteX11" fmla="*/ 30222 w 82991"/>
                <a:gd name="connsiteY11" fmla="*/ 39708 h 58732"/>
                <a:gd name="connsiteX12" fmla="*/ 42683 w 82991"/>
                <a:gd name="connsiteY12" fmla="*/ 48799 h 58732"/>
                <a:gd name="connsiteX13" fmla="*/ 53868 w 82991"/>
                <a:gd name="connsiteY13" fmla="*/ 59984 h 58732"/>
                <a:gd name="connsiteX14" fmla="*/ 84064 w 82991"/>
                <a:gd name="connsiteY14" fmla="*/ 59984 h 5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991" h="58732">
                  <a:moveTo>
                    <a:pt x="84064" y="59984"/>
                  </a:moveTo>
                  <a:lnTo>
                    <a:pt x="84064" y="20199"/>
                  </a:lnTo>
                  <a:lnTo>
                    <a:pt x="75101" y="20275"/>
                  </a:lnTo>
                  <a:cubicBezTo>
                    <a:pt x="68002" y="19216"/>
                    <a:pt x="64338" y="16394"/>
                    <a:pt x="64759" y="11185"/>
                  </a:cubicBezTo>
                  <a:cubicBezTo>
                    <a:pt x="64759" y="5031"/>
                    <a:pt x="59728" y="0"/>
                    <a:pt x="53574" y="0"/>
                  </a:cubicBezTo>
                  <a:lnTo>
                    <a:pt x="22548" y="0"/>
                  </a:lnTo>
                  <a:lnTo>
                    <a:pt x="22548" y="9308"/>
                  </a:lnTo>
                  <a:cubicBezTo>
                    <a:pt x="22548" y="15462"/>
                    <a:pt x="17428" y="21233"/>
                    <a:pt x="11274" y="21233"/>
                  </a:cubicBezTo>
                  <a:lnTo>
                    <a:pt x="0" y="21233"/>
                  </a:lnTo>
                  <a:lnTo>
                    <a:pt x="51" y="28524"/>
                  </a:lnTo>
                  <a:cubicBezTo>
                    <a:pt x="89" y="34678"/>
                    <a:pt x="5082" y="39708"/>
                    <a:pt x="11236" y="39708"/>
                  </a:cubicBezTo>
                  <a:lnTo>
                    <a:pt x="30222" y="39708"/>
                  </a:lnTo>
                  <a:cubicBezTo>
                    <a:pt x="41253" y="39300"/>
                    <a:pt x="42939" y="43564"/>
                    <a:pt x="42683" y="48799"/>
                  </a:cubicBezTo>
                  <a:cubicBezTo>
                    <a:pt x="42683" y="54953"/>
                    <a:pt x="47714" y="59984"/>
                    <a:pt x="53868" y="59984"/>
                  </a:cubicBezTo>
                  <a:lnTo>
                    <a:pt x="84064" y="59984"/>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79" name="Freeform: Shape 78">
              <a:extLst>
                <a:ext uri="{FF2B5EF4-FFF2-40B4-BE49-F238E27FC236}">
                  <a16:creationId xmlns:a16="http://schemas.microsoft.com/office/drawing/2014/main" id="{A9B1AF51-3D91-402D-8859-B906C68F51F0}"/>
                </a:ext>
              </a:extLst>
            </p:cNvPr>
            <p:cNvSpPr/>
            <p:nvPr/>
          </p:nvSpPr>
          <p:spPr>
            <a:xfrm>
              <a:off x="6622009" y="447335"/>
              <a:ext cx="19152" cy="20429"/>
            </a:xfrm>
            <a:custGeom>
              <a:avLst/>
              <a:gdLst>
                <a:gd name="connsiteX0" fmla="*/ 20378 w 19151"/>
                <a:gd name="connsiteY0" fmla="*/ 0 h 20428"/>
                <a:gd name="connsiteX1" fmla="*/ 7725 w 19151"/>
                <a:gd name="connsiteY1" fmla="*/ 0 h 20428"/>
                <a:gd name="connsiteX2" fmla="*/ 0 w 19151"/>
                <a:gd name="connsiteY2" fmla="*/ 7725 h 20428"/>
                <a:gd name="connsiteX3" fmla="*/ 0 w 19151"/>
                <a:gd name="connsiteY3" fmla="*/ 20914 h 20428"/>
                <a:gd name="connsiteX4" fmla="*/ 20378 w 19151"/>
                <a:gd name="connsiteY4" fmla="*/ 20914 h 20428"/>
                <a:gd name="connsiteX5" fmla="*/ 20378 w 19151"/>
                <a:gd name="connsiteY5" fmla="*/ 0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51" h="20428">
                  <a:moveTo>
                    <a:pt x="20378" y="0"/>
                  </a:moveTo>
                  <a:lnTo>
                    <a:pt x="7725" y="0"/>
                  </a:lnTo>
                  <a:cubicBezTo>
                    <a:pt x="3473" y="0"/>
                    <a:pt x="0" y="3473"/>
                    <a:pt x="0" y="7725"/>
                  </a:cubicBezTo>
                  <a:lnTo>
                    <a:pt x="0" y="20914"/>
                  </a:lnTo>
                  <a:lnTo>
                    <a:pt x="20378" y="20914"/>
                  </a:lnTo>
                  <a:lnTo>
                    <a:pt x="20378"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0" name="Freeform: Shape 79">
              <a:extLst>
                <a:ext uri="{FF2B5EF4-FFF2-40B4-BE49-F238E27FC236}">
                  <a16:creationId xmlns:a16="http://schemas.microsoft.com/office/drawing/2014/main" id="{CDACB8D3-65B6-4FE0-AC72-A9B84E117E20}"/>
                </a:ext>
              </a:extLst>
            </p:cNvPr>
            <p:cNvSpPr/>
            <p:nvPr/>
          </p:nvSpPr>
          <p:spPr>
            <a:xfrm>
              <a:off x="6411377" y="429370"/>
              <a:ext cx="251528" cy="192796"/>
            </a:xfrm>
            <a:custGeom>
              <a:avLst/>
              <a:gdLst>
                <a:gd name="connsiteX0" fmla="*/ 126734 w 251528"/>
                <a:gd name="connsiteY0" fmla="*/ 15385 h 192795"/>
                <a:gd name="connsiteX1" fmla="*/ 126734 w 251528"/>
                <a:gd name="connsiteY1" fmla="*/ 27591 h 192795"/>
                <a:gd name="connsiteX2" fmla="*/ 115882 w 251528"/>
                <a:gd name="connsiteY2" fmla="*/ 38444 h 192795"/>
                <a:gd name="connsiteX3" fmla="*/ 74820 w 251528"/>
                <a:gd name="connsiteY3" fmla="*/ 38444 h 192795"/>
                <a:gd name="connsiteX4" fmla="*/ 63725 w 251528"/>
                <a:gd name="connsiteY4" fmla="*/ 48224 h 192795"/>
                <a:gd name="connsiteX5" fmla="*/ 52949 w 251528"/>
                <a:gd name="connsiteY5" fmla="*/ 57711 h 192795"/>
                <a:gd name="connsiteX6" fmla="*/ 7725 w 251528"/>
                <a:gd name="connsiteY6" fmla="*/ 57711 h 192795"/>
                <a:gd name="connsiteX7" fmla="*/ 0 w 251528"/>
                <a:gd name="connsiteY7" fmla="*/ 65436 h 192795"/>
                <a:gd name="connsiteX8" fmla="*/ 0 w 251528"/>
                <a:gd name="connsiteY8" fmla="*/ 68117 h 192795"/>
                <a:gd name="connsiteX9" fmla="*/ 7725 w 251528"/>
                <a:gd name="connsiteY9" fmla="*/ 75841 h 192795"/>
                <a:gd name="connsiteX10" fmla="*/ 29877 w 251528"/>
                <a:gd name="connsiteY10" fmla="*/ 75841 h 192795"/>
                <a:gd name="connsiteX11" fmla="*/ 40730 w 251528"/>
                <a:gd name="connsiteY11" fmla="*/ 86579 h 192795"/>
                <a:gd name="connsiteX12" fmla="*/ 48454 w 251528"/>
                <a:gd name="connsiteY12" fmla="*/ 94214 h 192795"/>
                <a:gd name="connsiteX13" fmla="*/ 73824 w 251528"/>
                <a:gd name="connsiteY13" fmla="*/ 94214 h 192795"/>
                <a:gd name="connsiteX14" fmla="*/ 84677 w 251528"/>
                <a:gd name="connsiteY14" fmla="*/ 105067 h 192795"/>
                <a:gd name="connsiteX15" fmla="*/ 84677 w 251528"/>
                <a:gd name="connsiteY15" fmla="*/ 123951 h 192795"/>
                <a:gd name="connsiteX16" fmla="*/ 73824 w 251528"/>
                <a:gd name="connsiteY16" fmla="*/ 134804 h 192795"/>
                <a:gd name="connsiteX17" fmla="*/ 71883 w 251528"/>
                <a:gd name="connsiteY17" fmla="*/ 134804 h 192795"/>
                <a:gd name="connsiteX18" fmla="*/ 64159 w 251528"/>
                <a:gd name="connsiteY18" fmla="*/ 142528 h 192795"/>
                <a:gd name="connsiteX19" fmla="*/ 64159 w 251528"/>
                <a:gd name="connsiteY19" fmla="*/ 163659 h 192795"/>
                <a:gd name="connsiteX20" fmla="*/ 53306 w 251528"/>
                <a:gd name="connsiteY20" fmla="*/ 174512 h 192795"/>
                <a:gd name="connsiteX21" fmla="*/ 118448 w 251528"/>
                <a:gd name="connsiteY21" fmla="*/ 174512 h 192795"/>
                <a:gd name="connsiteX22" fmla="*/ 126173 w 251528"/>
                <a:gd name="connsiteY22" fmla="*/ 182236 h 192795"/>
                <a:gd name="connsiteX23" fmla="*/ 126173 w 251528"/>
                <a:gd name="connsiteY23" fmla="*/ 185033 h 192795"/>
                <a:gd name="connsiteX24" fmla="*/ 126211 w 251528"/>
                <a:gd name="connsiteY24" fmla="*/ 185033 h 192795"/>
                <a:gd name="connsiteX25" fmla="*/ 126211 w 251528"/>
                <a:gd name="connsiteY25" fmla="*/ 185122 h 192795"/>
                <a:gd name="connsiteX26" fmla="*/ 133936 w 251528"/>
                <a:gd name="connsiteY26" fmla="*/ 192847 h 192795"/>
                <a:gd name="connsiteX27" fmla="*/ 169047 w 251528"/>
                <a:gd name="connsiteY27" fmla="*/ 192847 h 192795"/>
                <a:gd name="connsiteX28" fmla="*/ 169047 w 251528"/>
                <a:gd name="connsiteY28" fmla="*/ 182658 h 192795"/>
                <a:gd name="connsiteX29" fmla="*/ 176772 w 251528"/>
                <a:gd name="connsiteY29" fmla="*/ 174933 h 192795"/>
                <a:gd name="connsiteX30" fmla="*/ 236654 w 251528"/>
                <a:gd name="connsiteY30" fmla="*/ 174933 h 192795"/>
                <a:gd name="connsiteX31" fmla="*/ 239348 w 251528"/>
                <a:gd name="connsiteY31" fmla="*/ 174869 h 192795"/>
                <a:gd name="connsiteX32" fmla="*/ 244927 w 251528"/>
                <a:gd name="connsiteY32" fmla="*/ 174678 h 192795"/>
                <a:gd name="connsiteX33" fmla="*/ 252652 w 251528"/>
                <a:gd name="connsiteY33" fmla="*/ 166953 h 192795"/>
                <a:gd name="connsiteX34" fmla="*/ 252690 w 251528"/>
                <a:gd name="connsiteY34" fmla="*/ 115984 h 192795"/>
                <a:gd name="connsiteX35" fmla="*/ 239858 w 251528"/>
                <a:gd name="connsiteY35" fmla="*/ 115984 h 192795"/>
                <a:gd name="connsiteX36" fmla="*/ 232134 w 251528"/>
                <a:gd name="connsiteY36" fmla="*/ 108259 h 192795"/>
                <a:gd name="connsiteX37" fmla="*/ 232134 w 251528"/>
                <a:gd name="connsiteY37" fmla="*/ 84447 h 192795"/>
                <a:gd name="connsiteX38" fmla="*/ 239858 w 251528"/>
                <a:gd name="connsiteY38" fmla="*/ 76722 h 192795"/>
                <a:gd name="connsiteX39" fmla="*/ 252741 w 251528"/>
                <a:gd name="connsiteY39" fmla="*/ 76722 h 192795"/>
                <a:gd name="connsiteX40" fmla="*/ 252754 w 251528"/>
                <a:gd name="connsiteY40" fmla="*/ 66483 h 192795"/>
                <a:gd name="connsiteX41" fmla="*/ 242016 w 251528"/>
                <a:gd name="connsiteY41" fmla="*/ 57251 h 192795"/>
                <a:gd name="connsiteX42" fmla="*/ 240433 w 251528"/>
                <a:gd name="connsiteY42" fmla="*/ 57251 h 192795"/>
                <a:gd name="connsiteX43" fmla="*/ 231048 w 251528"/>
                <a:gd name="connsiteY43" fmla="*/ 47867 h 192795"/>
                <a:gd name="connsiteX44" fmla="*/ 231048 w 251528"/>
                <a:gd name="connsiteY44" fmla="*/ 38840 h 192795"/>
                <a:gd name="connsiteX45" fmla="*/ 200852 w 251528"/>
                <a:gd name="connsiteY45" fmla="*/ 38840 h 192795"/>
                <a:gd name="connsiteX46" fmla="*/ 189974 w 251528"/>
                <a:gd name="connsiteY46" fmla="*/ 30260 h 192795"/>
                <a:gd name="connsiteX47" fmla="*/ 189680 w 251528"/>
                <a:gd name="connsiteY47" fmla="*/ 27349 h 192795"/>
                <a:gd name="connsiteX48" fmla="*/ 177385 w 251528"/>
                <a:gd name="connsiteY48" fmla="*/ 18552 h 192795"/>
                <a:gd name="connsiteX49" fmla="*/ 177027 w 251528"/>
                <a:gd name="connsiteY49" fmla="*/ 18552 h 192795"/>
                <a:gd name="connsiteX50" fmla="*/ 158220 w 251528"/>
                <a:gd name="connsiteY50" fmla="*/ 18552 h 192795"/>
                <a:gd name="connsiteX51" fmla="*/ 150393 w 251528"/>
                <a:gd name="connsiteY51" fmla="*/ 15347 h 192795"/>
                <a:gd name="connsiteX52" fmla="*/ 150393 w 251528"/>
                <a:gd name="connsiteY52" fmla="*/ 15347 h 192795"/>
                <a:gd name="connsiteX53" fmla="*/ 149474 w 251528"/>
                <a:gd name="connsiteY53" fmla="*/ 14338 h 192795"/>
                <a:gd name="connsiteX54" fmla="*/ 149410 w 251528"/>
                <a:gd name="connsiteY54" fmla="*/ 14249 h 192795"/>
                <a:gd name="connsiteX55" fmla="*/ 149398 w 251528"/>
                <a:gd name="connsiteY55" fmla="*/ 14236 h 192795"/>
                <a:gd name="connsiteX56" fmla="*/ 149385 w 251528"/>
                <a:gd name="connsiteY56" fmla="*/ 14223 h 192795"/>
                <a:gd name="connsiteX57" fmla="*/ 148772 w 251528"/>
                <a:gd name="connsiteY57" fmla="*/ 13355 h 192795"/>
                <a:gd name="connsiteX58" fmla="*/ 148772 w 251528"/>
                <a:gd name="connsiteY58" fmla="*/ 13355 h 192795"/>
                <a:gd name="connsiteX59" fmla="*/ 148631 w 251528"/>
                <a:gd name="connsiteY59" fmla="*/ 13125 h 192795"/>
                <a:gd name="connsiteX60" fmla="*/ 148631 w 251528"/>
                <a:gd name="connsiteY60" fmla="*/ 13113 h 192795"/>
                <a:gd name="connsiteX61" fmla="*/ 148580 w 251528"/>
                <a:gd name="connsiteY61" fmla="*/ 13023 h 192795"/>
                <a:gd name="connsiteX62" fmla="*/ 148568 w 251528"/>
                <a:gd name="connsiteY62" fmla="*/ 12998 h 192795"/>
                <a:gd name="connsiteX63" fmla="*/ 148504 w 251528"/>
                <a:gd name="connsiteY63" fmla="*/ 12883 h 192795"/>
                <a:gd name="connsiteX64" fmla="*/ 148504 w 251528"/>
                <a:gd name="connsiteY64" fmla="*/ 12883 h 192795"/>
                <a:gd name="connsiteX65" fmla="*/ 148440 w 251528"/>
                <a:gd name="connsiteY65" fmla="*/ 12768 h 192795"/>
                <a:gd name="connsiteX66" fmla="*/ 148440 w 251528"/>
                <a:gd name="connsiteY66" fmla="*/ 12768 h 192795"/>
                <a:gd name="connsiteX67" fmla="*/ 148389 w 251528"/>
                <a:gd name="connsiteY67" fmla="*/ 12666 h 192795"/>
                <a:gd name="connsiteX68" fmla="*/ 148376 w 251528"/>
                <a:gd name="connsiteY68" fmla="*/ 12653 h 192795"/>
                <a:gd name="connsiteX69" fmla="*/ 148312 w 251528"/>
                <a:gd name="connsiteY69" fmla="*/ 12538 h 192795"/>
                <a:gd name="connsiteX70" fmla="*/ 148312 w 251528"/>
                <a:gd name="connsiteY70" fmla="*/ 12525 h 192795"/>
                <a:gd name="connsiteX71" fmla="*/ 148299 w 251528"/>
                <a:gd name="connsiteY71" fmla="*/ 12487 h 192795"/>
                <a:gd name="connsiteX72" fmla="*/ 148248 w 251528"/>
                <a:gd name="connsiteY72" fmla="*/ 12385 h 192795"/>
                <a:gd name="connsiteX73" fmla="*/ 148197 w 251528"/>
                <a:gd name="connsiteY73" fmla="*/ 12283 h 192795"/>
                <a:gd name="connsiteX74" fmla="*/ 148133 w 251528"/>
                <a:gd name="connsiteY74" fmla="*/ 12155 h 192795"/>
                <a:gd name="connsiteX75" fmla="*/ 148121 w 251528"/>
                <a:gd name="connsiteY75" fmla="*/ 12142 h 192795"/>
                <a:gd name="connsiteX76" fmla="*/ 148070 w 251528"/>
                <a:gd name="connsiteY76" fmla="*/ 12040 h 192795"/>
                <a:gd name="connsiteX77" fmla="*/ 148070 w 251528"/>
                <a:gd name="connsiteY77" fmla="*/ 12040 h 192795"/>
                <a:gd name="connsiteX78" fmla="*/ 148019 w 251528"/>
                <a:gd name="connsiteY78" fmla="*/ 11925 h 192795"/>
                <a:gd name="connsiteX79" fmla="*/ 148019 w 251528"/>
                <a:gd name="connsiteY79" fmla="*/ 11925 h 192795"/>
                <a:gd name="connsiteX80" fmla="*/ 147968 w 251528"/>
                <a:gd name="connsiteY80" fmla="*/ 11798 h 192795"/>
                <a:gd name="connsiteX81" fmla="*/ 147942 w 251528"/>
                <a:gd name="connsiteY81" fmla="*/ 11734 h 192795"/>
                <a:gd name="connsiteX82" fmla="*/ 147891 w 251528"/>
                <a:gd name="connsiteY82" fmla="*/ 11606 h 192795"/>
                <a:gd name="connsiteX83" fmla="*/ 147878 w 251528"/>
                <a:gd name="connsiteY83" fmla="*/ 11581 h 192795"/>
                <a:gd name="connsiteX84" fmla="*/ 147802 w 251528"/>
                <a:gd name="connsiteY84" fmla="*/ 11389 h 192795"/>
                <a:gd name="connsiteX85" fmla="*/ 147776 w 251528"/>
                <a:gd name="connsiteY85" fmla="*/ 11338 h 192795"/>
                <a:gd name="connsiteX86" fmla="*/ 147061 w 251528"/>
                <a:gd name="connsiteY86" fmla="*/ 7405 h 192795"/>
                <a:gd name="connsiteX87" fmla="*/ 147061 w 251528"/>
                <a:gd name="connsiteY87" fmla="*/ 0 h 192795"/>
                <a:gd name="connsiteX88" fmla="*/ 137983 w 251528"/>
                <a:gd name="connsiteY88" fmla="*/ 0 h 192795"/>
                <a:gd name="connsiteX89" fmla="*/ 126798 w 251528"/>
                <a:gd name="connsiteY89" fmla="*/ 11185 h 192795"/>
                <a:gd name="connsiteX90" fmla="*/ 126734 w 251528"/>
                <a:gd name="connsiteY90" fmla="*/ 15385 h 192795"/>
                <a:gd name="connsiteX91" fmla="*/ 126734 w 251528"/>
                <a:gd name="connsiteY91" fmla="*/ 15385 h 19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51528" h="192795">
                  <a:moveTo>
                    <a:pt x="126734" y="15385"/>
                  </a:moveTo>
                  <a:lnTo>
                    <a:pt x="126734" y="27591"/>
                  </a:lnTo>
                  <a:cubicBezTo>
                    <a:pt x="126734" y="33567"/>
                    <a:pt x="121857" y="38444"/>
                    <a:pt x="115882" y="38444"/>
                  </a:cubicBezTo>
                  <a:lnTo>
                    <a:pt x="74820" y="38444"/>
                  </a:lnTo>
                  <a:cubicBezTo>
                    <a:pt x="69151" y="38444"/>
                    <a:pt x="64427" y="42721"/>
                    <a:pt x="63725" y="48224"/>
                  </a:cubicBezTo>
                  <a:cubicBezTo>
                    <a:pt x="63035" y="53676"/>
                    <a:pt x="58452" y="57711"/>
                    <a:pt x="52949" y="57711"/>
                  </a:cubicBezTo>
                  <a:lnTo>
                    <a:pt x="7725" y="57711"/>
                  </a:lnTo>
                  <a:cubicBezTo>
                    <a:pt x="3473" y="57711"/>
                    <a:pt x="0" y="61184"/>
                    <a:pt x="0" y="65436"/>
                  </a:cubicBezTo>
                  <a:lnTo>
                    <a:pt x="0" y="68117"/>
                  </a:lnTo>
                  <a:cubicBezTo>
                    <a:pt x="0" y="72369"/>
                    <a:pt x="3473" y="75841"/>
                    <a:pt x="7725" y="75841"/>
                  </a:cubicBezTo>
                  <a:lnTo>
                    <a:pt x="29877" y="75841"/>
                  </a:lnTo>
                  <a:cubicBezTo>
                    <a:pt x="35814" y="75841"/>
                    <a:pt x="40666" y="80642"/>
                    <a:pt x="40730" y="86579"/>
                  </a:cubicBezTo>
                  <a:cubicBezTo>
                    <a:pt x="40781" y="90793"/>
                    <a:pt x="44228" y="94214"/>
                    <a:pt x="48454" y="94214"/>
                  </a:cubicBezTo>
                  <a:lnTo>
                    <a:pt x="73824" y="94214"/>
                  </a:lnTo>
                  <a:cubicBezTo>
                    <a:pt x="79800" y="94214"/>
                    <a:pt x="84677" y="99092"/>
                    <a:pt x="84677" y="105067"/>
                  </a:cubicBezTo>
                  <a:lnTo>
                    <a:pt x="84677" y="123951"/>
                  </a:lnTo>
                  <a:cubicBezTo>
                    <a:pt x="84677" y="129926"/>
                    <a:pt x="79800" y="134804"/>
                    <a:pt x="73824" y="134804"/>
                  </a:cubicBezTo>
                  <a:lnTo>
                    <a:pt x="71883" y="134804"/>
                  </a:lnTo>
                  <a:cubicBezTo>
                    <a:pt x="67632" y="134804"/>
                    <a:pt x="64159" y="138277"/>
                    <a:pt x="64159" y="142528"/>
                  </a:cubicBezTo>
                  <a:lnTo>
                    <a:pt x="64159" y="163659"/>
                  </a:lnTo>
                  <a:cubicBezTo>
                    <a:pt x="64159" y="169635"/>
                    <a:pt x="59281" y="174512"/>
                    <a:pt x="53306" y="174512"/>
                  </a:cubicBezTo>
                  <a:lnTo>
                    <a:pt x="118448" y="174512"/>
                  </a:lnTo>
                  <a:cubicBezTo>
                    <a:pt x="122700" y="174512"/>
                    <a:pt x="126173" y="177985"/>
                    <a:pt x="126173" y="182236"/>
                  </a:cubicBezTo>
                  <a:lnTo>
                    <a:pt x="126173" y="185033"/>
                  </a:lnTo>
                  <a:lnTo>
                    <a:pt x="126211" y="185033"/>
                  </a:lnTo>
                  <a:lnTo>
                    <a:pt x="126211" y="185122"/>
                  </a:lnTo>
                  <a:cubicBezTo>
                    <a:pt x="126211" y="189374"/>
                    <a:pt x="129684" y="192847"/>
                    <a:pt x="133936" y="192847"/>
                  </a:cubicBezTo>
                  <a:lnTo>
                    <a:pt x="169047" y="192847"/>
                  </a:lnTo>
                  <a:lnTo>
                    <a:pt x="169047" y="182658"/>
                  </a:lnTo>
                  <a:cubicBezTo>
                    <a:pt x="169047" y="178406"/>
                    <a:pt x="172520" y="174933"/>
                    <a:pt x="176772" y="174933"/>
                  </a:cubicBezTo>
                  <a:lnTo>
                    <a:pt x="236654" y="174933"/>
                  </a:lnTo>
                  <a:lnTo>
                    <a:pt x="239348" y="174869"/>
                  </a:lnTo>
                  <a:lnTo>
                    <a:pt x="244927" y="174678"/>
                  </a:lnTo>
                  <a:cubicBezTo>
                    <a:pt x="249166" y="174537"/>
                    <a:pt x="252652" y="171205"/>
                    <a:pt x="252652" y="166953"/>
                  </a:cubicBezTo>
                  <a:cubicBezTo>
                    <a:pt x="252652" y="149972"/>
                    <a:pt x="252664" y="132965"/>
                    <a:pt x="252690" y="115984"/>
                  </a:cubicBezTo>
                  <a:lnTo>
                    <a:pt x="239858" y="115984"/>
                  </a:lnTo>
                  <a:cubicBezTo>
                    <a:pt x="235607" y="115984"/>
                    <a:pt x="232134" y="112511"/>
                    <a:pt x="232134" y="108259"/>
                  </a:cubicBezTo>
                  <a:lnTo>
                    <a:pt x="232134" y="84447"/>
                  </a:lnTo>
                  <a:cubicBezTo>
                    <a:pt x="232134" y="80195"/>
                    <a:pt x="235607" y="76722"/>
                    <a:pt x="239858" y="76722"/>
                  </a:cubicBezTo>
                  <a:lnTo>
                    <a:pt x="252741" y="76722"/>
                  </a:lnTo>
                  <a:lnTo>
                    <a:pt x="252754" y="66483"/>
                  </a:lnTo>
                  <a:cubicBezTo>
                    <a:pt x="251962" y="61260"/>
                    <a:pt x="247442" y="57251"/>
                    <a:pt x="242016" y="57251"/>
                  </a:cubicBezTo>
                  <a:lnTo>
                    <a:pt x="240433" y="57251"/>
                  </a:lnTo>
                  <a:cubicBezTo>
                    <a:pt x="235275" y="57251"/>
                    <a:pt x="231048" y="53025"/>
                    <a:pt x="231048" y="47867"/>
                  </a:cubicBezTo>
                  <a:lnTo>
                    <a:pt x="231048" y="38840"/>
                  </a:lnTo>
                  <a:lnTo>
                    <a:pt x="200852" y="38840"/>
                  </a:lnTo>
                  <a:cubicBezTo>
                    <a:pt x="195592" y="38840"/>
                    <a:pt x="191161" y="35163"/>
                    <a:pt x="189974" y="30260"/>
                  </a:cubicBezTo>
                  <a:cubicBezTo>
                    <a:pt x="189731" y="29264"/>
                    <a:pt x="189642" y="28383"/>
                    <a:pt x="189680" y="27349"/>
                  </a:cubicBezTo>
                  <a:cubicBezTo>
                    <a:pt x="189846" y="22280"/>
                    <a:pt x="188046" y="18207"/>
                    <a:pt x="177385" y="18552"/>
                  </a:cubicBezTo>
                  <a:cubicBezTo>
                    <a:pt x="177257" y="18552"/>
                    <a:pt x="177155" y="18552"/>
                    <a:pt x="177027" y="18552"/>
                  </a:cubicBezTo>
                  <a:lnTo>
                    <a:pt x="158220" y="18552"/>
                  </a:lnTo>
                  <a:cubicBezTo>
                    <a:pt x="155181" y="18552"/>
                    <a:pt x="152423" y="17326"/>
                    <a:pt x="150393" y="15347"/>
                  </a:cubicBezTo>
                  <a:lnTo>
                    <a:pt x="150393" y="15347"/>
                  </a:lnTo>
                  <a:cubicBezTo>
                    <a:pt x="150074" y="15028"/>
                    <a:pt x="149768" y="14696"/>
                    <a:pt x="149474" y="14338"/>
                  </a:cubicBezTo>
                  <a:lnTo>
                    <a:pt x="149410" y="14249"/>
                  </a:lnTo>
                  <a:lnTo>
                    <a:pt x="149398" y="14236"/>
                  </a:lnTo>
                  <a:lnTo>
                    <a:pt x="149385" y="14223"/>
                  </a:lnTo>
                  <a:cubicBezTo>
                    <a:pt x="149168" y="13943"/>
                    <a:pt x="148963" y="13649"/>
                    <a:pt x="148772" y="13355"/>
                  </a:cubicBezTo>
                  <a:lnTo>
                    <a:pt x="148772" y="13355"/>
                  </a:lnTo>
                  <a:cubicBezTo>
                    <a:pt x="148721" y="13279"/>
                    <a:pt x="148683" y="13202"/>
                    <a:pt x="148631" y="13125"/>
                  </a:cubicBezTo>
                  <a:lnTo>
                    <a:pt x="148631" y="13113"/>
                  </a:lnTo>
                  <a:lnTo>
                    <a:pt x="148580" y="13023"/>
                  </a:lnTo>
                  <a:lnTo>
                    <a:pt x="148568" y="12998"/>
                  </a:lnTo>
                  <a:lnTo>
                    <a:pt x="148504" y="12883"/>
                  </a:lnTo>
                  <a:lnTo>
                    <a:pt x="148504" y="12883"/>
                  </a:lnTo>
                  <a:lnTo>
                    <a:pt x="148440" y="12768"/>
                  </a:lnTo>
                  <a:lnTo>
                    <a:pt x="148440" y="12768"/>
                  </a:lnTo>
                  <a:lnTo>
                    <a:pt x="148389" y="12666"/>
                  </a:lnTo>
                  <a:lnTo>
                    <a:pt x="148376" y="12653"/>
                  </a:lnTo>
                  <a:lnTo>
                    <a:pt x="148312" y="12538"/>
                  </a:lnTo>
                  <a:lnTo>
                    <a:pt x="148312" y="12525"/>
                  </a:lnTo>
                  <a:lnTo>
                    <a:pt x="148299" y="12487"/>
                  </a:lnTo>
                  <a:lnTo>
                    <a:pt x="148248" y="12385"/>
                  </a:lnTo>
                  <a:lnTo>
                    <a:pt x="148197" y="12283"/>
                  </a:lnTo>
                  <a:lnTo>
                    <a:pt x="148133" y="12155"/>
                  </a:lnTo>
                  <a:lnTo>
                    <a:pt x="148121" y="12142"/>
                  </a:lnTo>
                  <a:lnTo>
                    <a:pt x="148070" y="12040"/>
                  </a:lnTo>
                  <a:lnTo>
                    <a:pt x="148070" y="12040"/>
                  </a:lnTo>
                  <a:lnTo>
                    <a:pt x="148019" y="11925"/>
                  </a:lnTo>
                  <a:lnTo>
                    <a:pt x="148019" y="11925"/>
                  </a:lnTo>
                  <a:lnTo>
                    <a:pt x="147968" y="11798"/>
                  </a:lnTo>
                  <a:lnTo>
                    <a:pt x="147942" y="11734"/>
                  </a:lnTo>
                  <a:lnTo>
                    <a:pt x="147891" y="11606"/>
                  </a:lnTo>
                  <a:lnTo>
                    <a:pt x="147878" y="11581"/>
                  </a:lnTo>
                  <a:lnTo>
                    <a:pt x="147802" y="11389"/>
                  </a:lnTo>
                  <a:lnTo>
                    <a:pt x="147776" y="11338"/>
                  </a:lnTo>
                  <a:cubicBezTo>
                    <a:pt x="147316" y="10112"/>
                    <a:pt x="147061" y="8784"/>
                    <a:pt x="147061" y="7405"/>
                  </a:cubicBezTo>
                  <a:lnTo>
                    <a:pt x="147061" y="0"/>
                  </a:lnTo>
                  <a:lnTo>
                    <a:pt x="137983" y="0"/>
                  </a:lnTo>
                  <a:cubicBezTo>
                    <a:pt x="131829" y="0"/>
                    <a:pt x="126798" y="5031"/>
                    <a:pt x="126798" y="11185"/>
                  </a:cubicBezTo>
                  <a:lnTo>
                    <a:pt x="126734" y="15385"/>
                  </a:lnTo>
                  <a:lnTo>
                    <a:pt x="126734" y="15385"/>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1" name="Freeform: Shape 80">
              <a:extLst>
                <a:ext uri="{FF2B5EF4-FFF2-40B4-BE49-F238E27FC236}">
                  <a16:creationId xmlns:a16="http://schemas.microsoft.com/office/drawing/2014/main" id="{8D52DE8D-2B7C-4B26-97E5-66C1A5442CA7}"/>
                </a:ext>
              </a:extLst>
            </p:cNvPr>
            <p:cNvSpPr/>
            <p:nvPr/>
          </p:nvSpPr>
          <p:spPr>
            <a:xfrm>
              <a:off x="6559702" y="681984"/>
              <a:ext cx="17875" cy="16598"/>
            </a:xfrm>
            <a:custGeom>
              <a:avLst/>
              <a:gdLst>
                <a:gd name="connsiteX0" fmla="*/ 7725 w 17875"/>
                <a:gd name="connsiteY0" fmla="*/ 17275 h 16598"/>
                <a:gd name="connsiteX1" fmla="*/ 10406 w 17875"/>
                <a:gd name="connsiteY1" fmla="*/ 17275 h 16598"/>
                <a:gd name="connsiteX2" fmla="*/ 18130 w 17875"/>
                <a:gd name="connsiteY2" fmla="*/ 9550 h 16598"/>
                <a:gd name="connsiteX3" fmla="*/ 18130 w 17875"/>
                <a:gd name="connsiteY3" fmla="*/ 7725 h 16598"/>
                <a:gd name="connsiteX4" fmla="*/ 10406 w 17875"/>
                <a:gd name="connsiteY4" fmla="*/ 0 h 16598"/>
                <a:gd name="connsiteX5" fmla="*/ 7725 w 17875"/>
                <a:gd name="connsiteY5" fmla="*/ 0 h 16598"/>
                <a:gd name="connsiteX6" fmla="*/ 0 w 17875"/>
                <a:gd name="connsiteY6" fmla="*/ 7725 h 16598"/>
                <a:gd name="connsiteX7" fmla="*/ 0 w 17875"/>
                <a:gd name="connsiteY7" fmla="*/ 9550 h 16598"/>
                <a:gd name="connsiteX8" fmla="*/ 7725 w 17875"/>
                <a:gd name="connsiteY8" fmla="*/ 17275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75" h="16598">
                  <a:moveTo>
                    <a:pt x="7725" y="17275"/>
                  </a:moveTo>
                  <a:lnTo>
                    <a:pt x="10406" y="17275"/>
                  </a:lnTo>
                  <a:cubicBezTo>
                    <a:pt x="14658" y="17275"/>
                    <a:pt x="18130" y="13802"/>
                    <a:pt x="18130" y="9550"/>
                  </a:cubicBezTo>
                  <a:lnTo>
                    <a:pt x="18130" y="7725"/>
                  </a:lnTo>
                  <a:cubicBezTo>
                    <a:pt x="18130" y="3473"/>
                    <a:pt x="14658" y="0"/>
                    <a:pt x="10406" y="0"/>
                  </a:cubicBezTo>
                  <a:lnTo>
                    <a:pt x="7725" y="0"/>
                  </a:lnTo>
                  <a:cubicBezTo>
                    <a:pt x="3473" y="0"/>
                    <a:pt x="0" y="3473"/>
                    <a:pt x="0" y="7725"/>
                  </a:cubicBezTo>
                  <a:lnTo>
                    <a:pt x="0" y="9550"/>
                  </a:lnTo>
                  <a:cubicBezTo>
                    <a:pt x="0" y="13802"/>
                    <a:pt x="3473" y="17275"/>
                    <a:pt x="7725" y="17275"/>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2" name="Freeform: Shape 81">
              <a:extLst>
                <a:ext uri="{FF2B5EF4-FFF2-40B4-BE49-F238E27FC236}">
                  <a16:creationId xmlns:a16="http://schemas.microsoft.com/office/drawing/2014/main" id="{C3BA766C-E72D-4D0C-A3E3-F0BE47FAAEB9}"/>
                </a:ext>
              </a:extLst>
            </p:cNvPr>
            <p:cNvSpPr/>
            <p:nvPr/>
          </p:nvSpPr>
          <p:spPr>
            <a:xfrm>
              <a:off x="6687534" y="663789"/>
              <a:ext cx="39581" cy="54902"/>
            </a:xfrm>
            <a:custGeom>
              <a:avLst/>
              <a:gdLst>
                <a:gd name="connsiteX0" fmla="*/ 7725 w 39580"/>
                <a:gd name="connsiteY0" fmla="*/ 56000 h 54902"/>
                <a:gd name="connsiteX1" fmla="*/ 10406 w 39580"/>
                <a:gd name="connsiteY1" fmla="*/ 56000 h 54902"/>
                <a:gd name="connsiteX2" fmla="*/ 18130 w 39580"/>
                <a:gd name="connsiteY2" fmla="*/ 48275 h 54902"/>
                <a:gd name="connsiteX3" fmla="*/ 18130 w 39580"/>
                <a:gd name="connsiteY3" fmla="*/ 28983 h 54902"/>
                <a:gd name="connsiteX4" fmla="*/ 28983 w 39580"/>
                <a:gd name="connsiteY4" fmla="*/ 18130 h 54902"/>
                <a:gd name="connsiteX5" fmla="*/ 32443 w 39580"/>
                <a:gd name="connsiteY5" fmla="*/ 18130 h 54902"/>
                <a:gd name="connsiteX6" fmla="*/ 40168 w 39580"/>
                <a:gd name="connsiteY6" fmla="*/ 10406 h 54902"/>
                <a:gd name="connsiteX7" fmla="*/ 40168 w 39580"/>
                <a:gd name="connsiteY7" fmla="*/ 7725 h 54902"/>
                <a:gd name="connsiteX8" fmla="*/ 32443 w 39580"/>
                <a:gd name="connsiteY8" fmla="*/ 0 h 54902"/>
                <a:gd name="connsiteX9" fmla="*/ 10406 w 39580"/>
                <a:gd name="connsiteY9" fmla="*/ 0 h 54902"/>
                <a:gd name="connsiteX10" fmla="*/ 7725 w 39580"/>
                <a:gd name="connsiteY10" fmla="*/ 0 h 54902"/>
                <a:gd name="connsiteX11" fmla="*/ 7533 w 39580"/>
                <a:gd name="connsiteY11" fmla="*/ 0 h 54902"/>
                <a:gd name="connsiteX12" fmla="*/ 7533 w 39580"/>
                <a:gd name="connsiteY12" fmla="*/ 0 h 54902"/>
                <a:gd name="connsiteX13" fmla="*/ 7342 w 39580"/>
                <a:gd name="connsiteY13" fmla="*/ 13 h 54902"/>
                <a:gd name="connsiteX14" fmla="*/ 7342 w 39580"/>
                <a:gd name="connsiteY14" fmla="*/ 13 h 54902"/>
                <a:gd name="connsiteX15" fmla="*/ 7150 w 39580"/>
                <a:gd name="connsiteY15" fmla="*/ 26 h 54902"/>
                <a:gd name="connsiteX16" fmla="*/ 7150 w 39580"/>
                <a:gd name="connsiteY16" fmla="*/ 26 h 54902"/>
                <a:gd name="connsiteX17" fmla="*/ 6959 w 39580"/>
                <a:gd name="connsiteY17" fmla="*/ 38 h 54902"/>
                <a:gd name="connsiteX18" fmla="*/ 6959 w 39580"/>
                <a:gd name="connsiteY18" fmla="*/ 38 h 54902"/>
                <a:gd name="connsiteX19" fmla="*/ 6767 w 39580"/>
                <a:gd name="connsiteY19" fmla="*/ 64 h 54902"/>
                <a:gd name="connsiteX20" fmla="*/ 6767 w 39580"/>
                <a:gd name="connsiteY20" fmla="*/ 64 h 54902"/>
                <a:gd name="connsiteX21" fmla="*/ 6575 w 39580"/>
                <a:gd name="connsiteY21" fmla="*/ 89 h 54902"/>
                <a:gd name="connsiteX22" fmla="*/ 6575 w 39580"/>
                <a:gd name="connsiteY22" fmla="*/ 89 h 54902"/>
                <a:gd name="connsiteX23" fmla="*/ 6384 w 39580"/>
                <a:gd name="connsiteY23" fmla="*/ 115 h 54902"/>
                <a:gd name="connsiteX24" fmla="*/ 6384 w 39580"/>
                <a:gd name="connsiteY24" fmla="*/ 115 h 54902"/>
                <a:gd name="connsiteX25" fmla="*/ 6192 w 39580"/>
                <a:gd name="connsiteY25" fmla="*/ 153 h 54902"/>
                <a:gd name="connsiteX26" fmla="*/ 6192 w 39580"/>
                <a:gd name="connsiteY26" fmla="*/ 153 h 54902"/>
                <a:gd name="connsiteX27" fmla="*/ 6001 w 39580"/>
                <a:gd name="connsiteY27" fmla="*/ 192 h 54902"/>
                <a:gd name="connsiteX28" fmla="*/ 6001 w 39580"/>
                <a:gd name="connsiteY28" fmla="*/ 192 h 54902"/>
                <a:gd name="connsiteX29" fmla="*/ 5809 w 39580"/>
                <a:gd name="connsiteY29" fmla="*/ 243 h 54902"/>
                <a:gd name="connsiteX30" fmla="*/ 5809 w 39580"/>
                <a:gd name="connsiteY30" fmla="*/ 243 h 54902"/>
                <a:gd name="connsiteX31" fmla="*/ 5631 w 39580"/>
                <a:gd name="connsiteY31" fmla="*/ 294 h 54902"/>
                <a:gd name="connsiteX32" fmla="*/ 5631 w 39580"/>
                <a:gd name="connsiteY32" fmla="*/ 294 h 54902"/>
                <a:gd name="connsiteX33" fmla="*/ 5452 w 39580"/>
                <a:gd name="connsiteY33" fmla="*/ 345 h 54902"/>
                <a:gd name="connsiteX34" fmla="*/ 5452 w 39580"/>
                <a:gd name="connsiteY34" fmla="*/ 345 h 54902"/>
                <a:gd name="connsiteX35" fmla="*/ 5273 w 39580"/>
                <a:gd name="connsiteY35" fmla="*/ 409 h 54902"/>
                <a:gd name="connsiteX36" fmla="*/ 5273 w 39580"/>
                <a:gd name="connsiteY36" fmla="*/ 409 h 54902"/>
                <a:gd name="connsiteX37" fmla="*/ 5094 w 39580"/>
                <a:gd name="connsiteY37" fmla="*/ 472 h 54902"/>
                <a:gd name="connsiteX38" fmla="*/ 5094 w 39580"/>
                <a:gd name="connsiteY38" fmla="*/ 472 h 54902"/>
                <a:gd name="connsiteX39" fmla="*/ 4916 w 39580"/>
                <a:gd name="connsiteY39" fmla="*/ 536 h 54902"/>
                <a:gd name="connsiteX40" fmla="*/ 4916 w 39580"/>
                <a:gd name="connsiteY40" fmla="*/ 536 h 54902"/>
                <a:gd name="connsiteX41" fmla="*/ 4737 w 39580"/>
                <a:gd name="connsiteY41" fmla="*/ 613 h 54902"/>
                <a:gd name="connsiteX42" fmla="*/ 4737 w 39580"/>
                <a:gd name="connsiteY42" fmla="*/ 613 h 54902"/>
                <a:gd name="connsiteX43" fmla="*/ 4571 w 39580"/>
                <a:gd name="connsiteY43" fmla="*/ 689 h 54902"/>
                <a:gd name="connsiteX44" fmla="*/ 4571 w 39580"/>
                <a:gd name="connsiteY44" fmla="*/ 689 h 54902"/>
                <a:gd name="connsiteX45" fmla="*/ 4405 w 39580"/>
                <a:gd name="connsiteY45" fmla="*/ 766 h 54902"/>
                <a:gd name="connsiteX46" fmla="*/ 4405 w 39580"/>
                <a:gd name="connsiteY46" fmla="*/ 766 h 54902"/>
                <a:gd name="connsiteX47" fmla="*/ 4239 w 39580"/>
                <a:gd name="connsiteY47" fmla="*/ 855 h 54902"/>
                <a:gd name="connsiteX48" fmla="*/ 4239 w 39580"/>
                <a:gd name="connsiteY48" fmla="*/ 855 h 54902"/>
                <a:gd name="connsiteX49" fmla="*/ 4073 w 39580"/>
                <a:gd name="connsiteY49" fmla="*/ 945 h 54902"/>
                <a:gd name="connsiteX50" fmla="*/ 4073 w 39580"/>
                <a:gd name="connsiteY50" fmla="*/ 945 h 54902"/>
                <a:gd name="connsiteX51" fmla="*/ 3907 w 39580"/>
                <a:gd name="connsiteY51" fmla="*/ 1034 h 54902"/>
                <a:gd name="connsiteX52" fmla="*/ 3907 w 39580"/>
                <a:gd name="connsiteY52" fmla="*/ 1034 h 54902"/>
                <a:gd name="connsiteX53" fmla="*/ 3741 w 39580"/>
                <a:gd name="connsiteY53" fmla="*/ 1124 h 54902"/>
                <a:gd name="connsiteX54" fmla="*/ 3741 w 39580"/>
                <a:gd name="connsiteY54" fmla="*/ 1124 h 54902"/>
                <a:gd name="connsiteX55" fmla="*/ 3588 w 39580"/>
                <a:gd name="connsiteY55" fmla="*/ 1226 h 54902"/>
                <a:gd name="connsiteX56" fmla="*/ 3588 w 39580"/>
                <a:gd name="connsiteY56" fmla="*/ 1226 h 54902"/>
                <a:gd name="connsiteX57" fmla="*/ 3435 w 39580"/>
                <a:gd name="connsiteY57" fmla="*/ 1328 h 54902"/>
                <a:gd name="connsiteX58" fmla="*/ 3435 w 39580"/>
                <a:gd name="connsiteY58" fmla="*/ 1328 h 54902"/>
                <a:gd name="connsiteX59" fmla="*/ 3281 w 39580"/>
                <a:gd name="connsiteY59" fmla="*/ 1430 h 54902"/>
                <a:gd name="connsiteX60" fmla="*/ 3281 w 39580"/>
                <a:gd name="connsiteY60" fmla="*/ 1430 h 54902"/>
                <a:gd name="connsiteX61" fmla="*/ 3128 w 39580"/>
                <a:gd name="connsiteY61" fmla="*/ 1545 h 54902"/>
                <a:gd name="connsiteX62" fmla="*/ 3128 w 39580"/>
                <a:gd name="connsiteY62" fmla="*/ 1545 h 54902"/>
                <a:gd name="connsiteX63" fmla="*/ 2975 w 39580"/>
                <a:gd name="connsiteY63" fmla="*/ 1660 h 54902"/>
                <a:gd name="connsiteX64" fmla="*/ 2975 w 39580"/>
                <a:gd name="connsiteY64" fmla="*/ 1660 h 54902"/>
                <a:gd name="connsiteX65" fmla="*/ 2834 w 39580"/>
                <a:gd name="connsiteY65" fmla="*/ 1775 h 54902"/>
                <a:gd name="connsiteX66" fmla="*/ 2834 w 39580"/>
                <a:gd name="connsiteY66" fmla="*/ 1775 h 54902"/>
                <a:gd name="connsiteX67" fmla="*/ 2694 w 39580"/>
                <a:gd name="connsiteY67" fmla="*/ 1890 h 54902"/>
                <a:gd name="connsiteX68" fmla="*/ 2694 w 39580"/>
                <a:gd name="connsiteY68" fmla="*/ 1890 h 54902"/>
                <a:gd name="connsiteX69" fmla="*/ 2554 w 39580"/>
                <a:gd name="connsiteY69" fmla="*/ 2017 h 54902"/>
                <a:gd name="connsiteX70" fmla="*/ 2554 w 39580"/>
                <a:gd name="connsiteY70" fmla="*/ 2017 h 54902"/>
                <a:gd name="connsiteX71" fmla="*/ 2413 w 39580"/>
                <a:gd name="connsiteY71" fmla="*/ 2145 h 54902"/>
                <a:gd name="connsiteX72" fmla="*/ 2413 w 39580"/>
                <a:gd name="connsiteY72" fmla="*/ 2145 h 54902"/>
                <a:gd name="connsiteX73" fmla="*/ 2285 w 39580"/>
                <a:gd name="connsiteY73" fmla="*/ 2273 h 54902"/>
                <a:gd name="connsiteX74" fmla="*/ 2285 w 39580"/>
                <a:gd name="connsiteY74" fmla="*/ 2273 h 54902"/>
                <a:gd name="connsiteX75" fmla="*/ 2158 w 39580"/>
                <a:gd name="connsiteY75" fmla="*/ 2400 h 54902"/>
                <a:gd name="connsiteX76" fmla="*/ 2158 w 39580"/>
                <a:gd name="connsiteY76" fmla="*/ 2400 h 54902"/>
                <a:gd name="connsiteX77" fmla="*/ 2030 w 39580"/>
                <a:gd name="connsiteY77" fmla="*/ 2541 h 54902"/>
                <a:gd name="connsiteX78" fmla="*/ 2030 w 39580"/>
                <a:gd name="connsiteY78" fmla="*/ 2541 h 54902"/>
                <a:gd name="connsiteX79" fmla="*/ 1902 w 39580"/>
                <a:gd name="connsiteY79" fmla="*/ 2681 h 54902"/>
                <a:gd name="connsiteX80" fmla="*/ 1902 w 39580"/>
                <a:gd name="connsiteY80" fmla="*/ 2681 h 54902"/>
                <a:gd name="connsiteX81" fmla="*/ 1788 w 39580"/>
                <a:gd name="connsiteY81" fmla="*/ 2822 h 54902"/>
                <a:gd name="connsiteX82" fmla="*/ 1788 w 39580"/>
                <a:gd name="connsiteY82" fmla="*/ 2822 h 54902"/>
                <a:gd name="connsiteX83" fmla="*/ 1673 w 39580"/>
                <a:gd name="connsiteY83" fmla="*/ 2962 h 54902"/>
                <a:gd name="connsiteX84" fmla="*/ 1673 w 39580"/>
                <a:gd name="connsiteY84" fmla="*/ 2962 h 54902"/>
                <a:gd name="connsiteX85" fmla="*/ 1558 w 39580"/>
                <a:gd name="connsiteY85" fmla="*/ 3103 h 54902"/>
                <a:gd name="connsiteX86" fmla="*/ 1558 w 39580"/>
                <a:gd name="connsiteY86" fmla="*/ 3103 h 54902"/>
                <a:gd name="connsiteX87" fmla="*/ 1443 w 39580"/>
                <a:gd name="connsiteY87" fmla="*/ 3256 h 54902"/>
                <a:gd name="connsiteX88" fmla="*/ 1443 w 39580"/>
                <a:gd name="connsiteY88" fmla="*/ 3256 h 54902"/>
                <a:gd name="connsiteX89" fmla="*/ 1341 w 39580"/>
                <a:gd name="connsiteY89" fmla="*/ 3409 h 54902"/>
                <a:gd name="connsiteX90" fmla="*/ 1341 w 39580"/>
                <a:gd name="connsiteY90" fmla="*/ 3409 h 54902"/>
                <a:gd name="connsiteX91" fmla="*/ 1238 w 39580"/>
                <a:gd name="connsiteY91" fmla="*/ 3562 h 54902"/>
                <a:gd name="connsiteX92" fmla="*/ 1238 w 39580"/>
                <a:gd name="connsiteY92" fmla="*/ 3562 h 54902"/>
                <a:gd name="connsiteX93" fmla="*/ 1136 w 39580"/>
                <a:gd name="connsiteY93" fmla="*/ 3715 h 54902"/>
                <a:gd name="connsiteX94" fmla="*/ 1136 w 39580"/>
                <a:gd name="connsiteY94" fmla="*/ 3715 h 54902"/>
                <a:gd name="connsiteX95" fmla="*/ 1047 w 39580"/>
                <a:gd name="connsiteY95" fmla="*/ 3881 h 54902"/>
                <a:gd name="connsiteX96" fmla="*/ 1047 w 39580"/>
                <a:gd name="connsiteY96" fmla="*/ 3881 h 54902"/>
                <a:gd name="connsiteX97" fmla="*/ 958 w 39580"/>
                <a:gd name="connsiteY97" fmla="*/ 4047 h 54902"/>
                <a:gd name="connsiteX98" fmla="*/ 958 w 39580"/>
                <a:gd name="connsiteY98" fmla="*/ 4047 h 54902"/>
                <a:gd name="connsiteX99" fmla="*/ 868 w 39580"/>
                <a:gd name="connsiteY99" fmla="*/ 4213 h 54902"/>
                <a:gd name="connsiteX100" fmla="*/ 868 w 39580"/>
                <a:gd name="connsiteY100" fmla="*/ 4213 h 54902"/>
                <a:gd name="connsiteX101" fmla="*/ 779 w 39580"/>
                <a:gd name="connsiteY101" fmla="*/ 4379 h 54902"/>
                <a:gd name="connsiteX102" fmla="*/ 779 w 39580"/>
                <a:gd name="connsiteY102" fmla="*/ 4379 h 54902"/>
                <a:gd name="connsiteX103" fmla="*/ 702 w 39580"/>
                <a:gd name="connsiteY103" fmla="*/ 4545 h 54902"/>
                <a:gd name="connsiteX104" fmla="*/ 702 w 39580"/>
                <a:gd name="connsiteY104" fmla="*/ 4545 h 54902"/>
                <a:gd name="connsiteX105" fmla="*/ 626 w 39580"/>
                <a:gd name="connsiteY105" fmla="*/ 4711 h 54902"/>
                <a:gd name="connsiteX106" fmla="*/ 626 w 39580"/>
                <a:gd name="connsiteY106" fmla="*/ 4711 h 54902"/>
                <a:gd name="connsiteX107" fmla="*/ 549 w 39580"/>
                <a:gd name="connsiteY107" fmla="*/ 4890 h 54902"/>
                <a:gd name="connsiteX108" fmla="*/ 549 w 39580"/>
                <a:gd name="connsiteY108" fmla="*/ 4890 h 54902"/>
                <a:gd name="connsiteX109" fmla="*/ 485 w 39580"/>
                <a:gd name="connsiteY109" fmla="*/ 5069 h 54902"/>
                <a:gd name="connsiteX110" fmla="*/ 485 w 39580"/>
                <a:gd name="connsiteY110" fmla="*/ 5069 h 54902"/>
                <a:gd name="connsiteX111" fmla="*/ 421 w 39580"/>
                <a:gd name="connsiteY111" fmla="*/ 5248 h 54902"/>
                <a:gd name="connsiteX112" fmla="*/ 421 w 39580"/>
                <a:gd name="connsiteY112" fmla="*/ 5248 h 54902"/>
                <a:gd name="connsiteX113" fmla="*/ 358 w 39580"/>
                <a:gd name="connsiteY113" fmla="*/ 5426 h 54902"/>
                <a:gd name="connsiteX114" fmla="*/ 358 w 39580"/>
                <a:gd name="connsiteY114" fmla="*/ 5426 h 54902"/>
                <a:gd name="connsiteX115" fmla="*/ 306 w 39580"/>
                <a:gd name="connsiteY115" fmla="*/ 5605 h 54902"/>
                <a:gd name="connsiteX116" fmla="*/ 306 w 39580"/>
                <a:gd name="connsiteY116" fmla="*/ 5605 h 54902"/>
                <a:gd name="connsiteX117" fmla="*/ 255 w 39580"/>
                <a:gd name="connsiteY117" fmla="*/ 5784 h 54902"/>
                <a:gd name="connsiteX118" fmla="*/ 255 w 39580"/>
                <a:gd name="connsiteY118" fmla="*/ 5784 h 54902"/>
                <a:gd name="connsiteX119" fmla="*/ 204 w 39580"/>
                <a:gd name="connsiteY119" fmla="*/ 5963 h 54902"/>
                <a:gd name="connsiteX120" fmla="*/ 204 w 39580"/>
                <a:gd name="connsiteY120" fmla="*/ 5963 h 54902"/>
                <a:gd name="connsiteX121" fmla="*/ 166 w 39580"/>
                <a:gd name="connsiteY121" fmla="*/ 6154 h 54902"/>
                <a:gd name="connsiteX122" fmla="*/ 166 w 39580"/>
                <a:gd name="connsiteY122" fmla="*/ 6154 h 54902"/>
                <a:gd name="connsiteX123" fmla="*/ 128 w 39580"/>
                <a:gd name="connsiteY123" fmla="*/ 6346 h 54902"/>
                <a:gd name="connsiteX124" fmla="*/ 128 w 39580"/>
                <a:gd name="connsiteY124" fmla="*/ 6346 h 54902"/>
                <a:gd name="connsiteX125" fmla="*/ 89 w 39580"/>
                <a:gd name="connsiteY125" fmla="*/ 6537 h 54902"/>
                <a:gd name="connsiteX126" fmla="*/ 89 w 39580"/>
                <a:gd name="connsiteY126" fmla="*/ 6537 h 54902"/>
                <a:gd name="connsiteX127" fmla="*/ 64 w 39580"/>
                <a:gd name="connsiteY127" fmla="*/ 6729 h 54902"/>
                <a:gd name="connsiteX128" fmla="*/ 64 w 39580"/>
                <a:gd name="connsiteY128" fmla="*/ 6729 h 54902"/>
                <a:gd name="connsiteX129" fmla="*/ 38 w 39580"/>
                <a:gd name="connsiteY129" fmla="*/ 6920 h 54902"/>
                <a:gd name="connsiteX130" fmla="*/ 38 w 39580"/>
                <a:gd name="connsiteY130" fmla="*/ 6920 h 54902"/>
                <a:gd name="connsiteX131" fmla="*/ 26 w 39580"/>
                <a:gd name="connsiteY131" fmla="*/ 7112 h 54902"/>
                <a:gd name="connsiteX132" fmla="*/ 26 w 39580"/>
                <a:gd name="connsiteY132" fmla="*/ 7112 h 54902"/>
                <a:gd name="connsiteX133" fmla="*/ 13 w 39580"/>
                <a:gd name="connsiteY133" fmla="*/ 7303 h 54902"/>
                <a:gd name="connsiteX134" fmla="*/ 13 w 39580"/>
                <a:gd name="connsiteY134" fmla="*/ 7303 h 54902"/>
                <a:gd name="connsiteX135" fmla="*/ 13 w 39580"/>
                <a:gd name="connsiteY135" fmla="*/ 7367 h 54902"/>
                <a:gd name="connsiteX136" fmla="*/ 0 w 39580"/>
                <a:gd name="connsiteY136" fmla="*/ 7622 h 54902"/>
                <a:gd name="connsiteX137" fmla="*/ 0 w 39580"/>
                <a:gd name="connsiteY137" fmla="*/ 7686 h 54902"/>
                <a:gd name="connsiteX138" fmla="*/ 0 w 39580"/>
                <a:gd name="connsiteY138" fmla="*/ 7686 h 54902"/>
                <a:gd name="connsiteX139" fmla="*/ 0 w 39580"/>
                <a:gd name="connsiteY139" fmla="*/ 10368 h 54902"/>
                <a:gd name="connsiteX140" fmla="*/ 0 w 39580"/>
                <a:gd name="connsiteY140" fmla="*/ 48237 h 54902"/>
                <a:gd name="connsiteX141" fmla="*/ 7725 w 39580"/>
                <a:gd name="connsiteY141" fmla="*/ 56000 h 54902"/>
                <a:gd name="connsiteX142" fmla="*/ 7725 w 39580"/>
                <a:gd name="connsiteY142" fmla="*/ 56000 h 54902"/>
                <a:gd name="connsiteX143" fmla="*/ 7725 w 39580"/>
                <a:gd name="connsiteY143" fmla="*/ 0 h 54902"/>
                <a:gd name="connsiteX144" fmla="*/ 7725 w 39580"/>
                <a:gd name="connsiteY144" fmla="*/ 0 h 54902"/>
                <a:gd name="connsiteX145" fmla="*/ 7725 w 39580"/>
                <a:gd name="connsiteY145" fmla="*/ 0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39580" h="54902">
                  <a:moveTo>
                    <a:pt x="7725" y="56000"/>
                  </a:moveTo>
                  <a:lnTo>
                    <a:pt x="10406" y="56000"/>
                  </a:lnTo>
                  <a:cubicBezTo>
                    <a:pt x="14658" y="56000"/>
                    <a:pt x="18130" y="52527"/>
                    <a:pt x="18130" y="48275"/>
                  </a:cubicBezTo>
                  <a:lnTo>
                    <a:pt x="18130" y="28983"/>
                  </a:lnTo>
                  <a:cubicBezTo>
                    <a:pt x="18130" y="23008"/>
                    <a:pt x="23008" y="18130"/>
                    <a:pt x="28983" y="18130"/>
                  </a:cubicBezTo>
                  <a:lnTo>
                    <a:pt x="32443" y="18130"/>
                  </a:lnTo>
                  <a:cubicBezTo>
                    <a:pt x="36695" y="18130"/>
                    <a:pt x="40168" y="14658"/>
                    <a:pt x="40168" y="10406"/>
                  </a:cubicBezTo>
                  <a:lnTo>
                    <a:pt x="40168" y="7725"/>
                  </a:lnTo>
                  <a:cubicBezTo>
                    <a:pt x="40168" y="3473"/>
                    <a:pt x="36695" y="0"/>
                    <a:pt x="32443" y="0"/>
                  </a:cubicBezTo>
                  <a:lnTo>
                    <a:pt x="10406" y="0"/>
                  </a:lnTo>
                  <a:lnTo>
                    <a:pt x="7725" y="0"/>
                  </a:lnTo>
                  <a:lnTo>
                    <a:pt x="7533" y="0"/>
                  </a:lnTo>
                  <a:lnTo>
                    <a:pt x="7533" y="0"/>
                  </a:lnTo>
                  <a:lnTo>
                    <a:pt x="7342" y="13"/>
                  </a:lnTo>
                  <a:lnTo>
                    <a:pt x="7342" y="13"/>
                  </a:lnTo>
                  <a:lnTo>
                    <a:pt x="7150" y="26"/>
                  </a:lnTo>
                  <a:lnTo>
                    <a:pt x="7150" y="26"/>
                  </a:lnTo>
                  <a:lnTo>
                    <a:pt x="6959" y="38"/>
                  </a:lnTo>
                  <a:lnTo>
                    <a:pt x="6959" y="38"/>
                  </a:lnTo>
                  <a:lnTo>
                    <a:pt x="6767" y="64"/>
                  </a:lnTo>
                  <a:lnTo>
                    <a:pt x="6767" y="64"/>
                  </a:lnTo>
                  <a:lnTo>
                    <a:pt x="6575" y="89"/>
                  </a:lnTo>
                  <a:lnTo>
                    <a:pt x="6575" y="89"/>
                  </a:lnTo>
                  <a:lnTo>
                    <a:pt x="6384" y="115"/>
                  </a:lnTo>
                  <a:lnTo>
                    <a:pt x="6384" y="115"/>
                  </a:lnTo>
                  <a:cubicBezTo>
                    <a:pt x="6320" y="128"/>
                    <a:pt x="6256" y="140"/>
                    <a:pt x="6192" y="153"/>
                  </a:cubicBezTo>
                  <a:lnTo>
                    <a:pt x="6192" y="153"/>
                  </a:lnTo>
                  <a:lnTo>
                    <a:pt x="6001" y="192"/>
                  </a:lnTo>
                  <a:lnTo>
                    <a:pt x="6001" y="192"/>
                  </a:lnTo>
                  <a:lnTo>
                    <a:pt x="5809" y="243"/>
                  </a:lnTo>
                  <a:lnTo>
                    <a:pt x="5809" y="243"/>
                  </a:lnTo>
                  <a:lnTo>
                    <a:pt x="5631" y="294"/>
                  </a:lnTo>
                  <a:lnTo>
                    <a:pt x="5631" y="294"/>
                  </a:lnTo>
                  <a:lnTo>
                    <a:pt x="5452" y="345"/>
                  </a:lnTo>
                  <a:lnTo>
                    <a:pt x="5452" y="345"/>
                  </a:lnTo>
                  <a:lnTo>
                    <a:pt x="5273" y="409"/>
                  </a:lnTo>
                  <a:lnTo>
                    <a:pt x="5273" y="409"/>
                  </a:lnTo>
                  <a:lnTo>
                    <a:pt x="5094" y="472"/>
                  </a:lnTo>
                  <a:lnTo>
                    <a:pt x="5094" y="472"/>
                  </a:lnTo>
                  <a:lnTo>
                    <a:pt x="4916" y="536"/>
                  </a:lnTo>
                  <a:lnTo>
                    <a:pt x="4916" y="536"/>
                  </a:lnTo>
                  <a:lnTo>
                    <a:pt x="4737" y="613"/>
                  </a:lnTo>
                  <a:lnTo>
                    <a:pt x="4737" y="613"/>
                  </a:lnTo>
                  <a:lnTo>
                    <a:pt x="4571" y="689"/>
                  </a:lnTo>
                  <a:lnTo>
                    <a:pt x="4571" y="689"/>
                  </a:lnTo>
                  <a:lnTo>
                    <a:pt x="4405" y="766"/>
                  </a:lnTo>
                  <a:lnTo>
                    <a:pt x="4405" y="766"/>
                  </a:lnTo>
                  <a:lnTo>
                    <a:pt x="4239" y="855"/>
                  </a:lnTo>
                  <a:lnTo>
                    <a:pt x="4239" y="855"/>
                  </a:lnTo>
                  <a:cubicBezTo>
                    <a:pt x="4188" y="881"/>
                    <a:pt x="4124" y="907"/>
                    <a:pt x="4073" y="945"/>
                  </a:cubicBezTo>
                  <a:lnTo>
                    <a:pt x="4073" y="945"/>
                  </a:lnTo>
                  <a:lnTo>
                    <a:pt x="3907" y="1034"/>
                  </a:lnTo>
                  <a:lnTo>
                    <a:pt x="3907" y="1034"/>
                  </a:lnTo>
                  <a:cubicBezTo>
                    <a:pt x="3856" y="1060"/>
                    <a:pt x="3805" y="1098"/>
                    <a:pt x="3741" y="1124"/>
                  </a:cubicBezTo>
                  <a:lnTo>
                    <a:pt x="3741" y="1124"/>
                  </a:lnTo>
                  <a:lnTo>
                    <a:pt x="3588" y="1226"/>
                  </a:lnTo>
                  <a:lnTo>
                    <a:pt x="3588" y="1226"/>
                  </a:lnTo>
                  <a:lnTo>
                    <a:pt x="3435" y="1328"/>
                  </a:lnTo>
                  <a:lnTo>
                    <a:pt x="3435" y="1328"/>
                  </a:lnTo>
                  <a:lnTo>
                    <a:pt x="3281" y="1430"/>
                  </a:lnTo>
                  <a:lnTo>
                    <a:pt x="3281" y="1430"/>
                  </a:lnTo>
                  <a:lnTo>
                    <a:pt x="3128" y="1545"/>
                  </a:lnTo>
                  <a:lnTo>
                    <a:pt x="3128" y="1545"/>
                  </a:lnTo>
                  <a:lnTo>
                    <a:pt x="2975" y="1660"/>
                  </a:lnTo>
                  <a:lnTo>
                    <a:pt x="2975" y="1660"/>
                  </a:lnTo>
                  <a:cubicBezTo>
                    <a:pt x="2924" y="1698"/>
                    <a:pt x="2873" y="1736"/>
                    <a:pt x="2834" y="1775"/>
                  </a:cubicBezTo>
                  <a:lnTo>
                    <a:pt x="2834" y="1775"/>
                  </a:lnTo>
                  <a:lnTo>
                    <a:pt x="2694" y="1890"/>
                  </a:lnTo>
                  <a:lnTo>
                    <a:pt x="2694" y="1890"/>
                  </a:lnTo>
                  <a:lnTo>
                    <a:pt x="2554" y="2017"/>
                  </a:lnTo>
                  <a:lnTo>
                    <a:pt x="2554" y="2017"/>
                  </a:lnTo>
                  <a:lnTo>
                    <a:pt x="2413" y="2145"/>
                  </a:lnTo>
                  <a:lnTo>
                    <a:pt x="2413" y="2145"/>
                  </a:lnTo>
                  <a:lnTo>
                    <a:pt x="2285" y="2273"/>
                  </a:lnTo>
                  <a:lnTo>
                    <a:pt x="2285" y="2273"/>
                  </a:lnTo>
                  <a:lnTo>
                    <a:pt x="2158" y="2400"/>
                  </a:lnTo>
                  <a:lnTo>
                    <a:pt x="2158" y="2400"/>
                  </a:lnTo>
                  <a:lnTo>
                    <a:pt x="2030" y="2541"/>
                  </a:lnTo>
                  <a:lnTo>
                    <a:pt x="2030" y="2541"/>
                  </a:lnTo>
                  <a:lnTo>
                    <a:pt x="1902" y="2681"/>
                  </a:lnTo>
                  <a:lnTo>
                    <a:pt x="1902" y="2681"/>
                  </a:lnTo>
                  <a:lnTo>
                    <a:pt x="1788" y="2822"/>
                  </a:lnTo>
                  <a:lnTo>
                    <a:pt x="1788" y="2822"/>
                  </a:lnTo>
                  <a:cubicBezTo>
                    <a:pt x="1749" y="2873"/>
                    <a:pt x="1711" y="2924"/>
                    <a:pt x="1673" y="2962"/>
                  </a:cubicBezTo>
                  <a:lnTo>
                    <a:pt x="1673" y="2962"/>
                  </a:lnTo>
                  <a:cubicBezTo>
                    <a:pt x="1634" y="3013"/>
                    <a:pt x="1596" y="3064"/>
                    <a:pt x="1558" y="3103"/>
                  </a:cubicBezTo>
                  <a:lnTo>
                    <a:pt x="1558" y="3103"/>
                  </a:lnTo>
                  <a:lnTo>
                    <a:pt x="1443" y="3256"/>
                  </a:lnTo>
                  <a:lnTo>
                    <a:pt x="1443" y="3256"/>
                  </a:lnTo>
                  <a:lnTo>
                    <a:pt x="1341" y="3409"/>
                  </a:lnTo>
                  <a:lnTo>
                    <a:pt x="1341" y="3409"/>
                  </a:lnTo>
                  <a:lnTo>
                    <a:pt x="1238" y="3562"/>
                  </a:lnTo>
                  <a:lnTo>
                    <a:pt x="1238" y="3562"/>
                  </a:lnTo>
                  <a:lnTo>
                    <a:pt x="1136" y="3715"/>
                  </a:lnTo>
                  <a:lnTo>
                    <a:pt x="1136" y="3715"/>
                  </a:lnTo>
                  <a:lnTo>
                    <a:pt x="1047" y="3881"/>
                  </a:lnTo>
                  <a:lnTo>
                    <a:pt x="1047" y="3881"/>
                  </a:lnTo>
                  <a:lnTo>
                    <a:pt x="958" y="4047"/>
                  </a:lnTo>
                  <a:lnTo>
                    <a:pt x="958" y="4047"/>
                  </a:lnTo>
                  <a:lnTo>
                    <a:pt x="868" y="4213"/>
                  </a:lnTo>
                  <a:lnTo>
                    <a:pt x="868" y="4213"/>
                  </a:lnTo>
                  <a:lnTo>
                    <a:pt x="779" y="4379"/>
                  </a:lnTo>
                  <a:lnTo>
                    <a:pt x="779" y="4379"/>
                  </a:lnTo>
                  <a:lnTo>
                    <a:pt x="702" y="4545"/>
                  </a:lnTo>
                  <a:lnTo>
                    <a:pt x="702" y="4545"/>
                  </a:lnTo>
                  <a:cubicBezTo>
                    <a:pt x="677" y="4596"/>
                    <a:pt x="651" y="4660"/>
                    <a:pt x="626" y="4711"/>
                  </a:cubicBezTo>
                  <a:lnTo>
                    <a:pt x="626" y="4711"/>
                  </a:lnTo>
                  <a:lnTo>
                    <a:pt x="549" y="4890"/>
                  </a:lnTo>
                  <a:lnTo>
                    <a:pt x="549" y="4890"/>
                  </a:lnTo>
                  <a:lnTo>
                    <a:pt x="485" y="5069"/>
                  </a:lnTo>
                  <a:lnTo>
                    <a:pt x="485" y="5069"/>
                  </a:lnTo>
                  <a:lnTo>
                    <a:pt x="421" y="5248"/>
                  </a:lnTo>
                  <a:lnTo>
                    <a:pt x="421" y="5248"/>
                  </a:lnTo>
                  <a:lnTo>
                    <a:pt x="358" y="5426"/>
                  </a:lnTo>
                  <a:lnTo>
                    <a:pt x="358" y="5426"/>
                  </a:lnTo>
                  <a:lnTo>
                    <a:pt x="306" y="5605"/>
                  </a:lnTo>
                  <a:lnTo>
                    <a:pt x="306" y="5605"/>
                  </a:lnTo>
                  <a:lnTo>
                    <a:pt x="255" y="5784"/>
                  </a:lnTo>
                  <a:lnTo>
                    <a:pt x="255" y="5784"/>
                  </a:lnTo>
                  <a:lnTo>
                    <a:pt x="204" y="5963"/>
                  </a:lnTo>
                  <a:lnTo>
                    <a:pt x="204" y="5963"/>
                  </a:lnTo>
                  <a:lnTo>
                    <a:pt x="166" y="6154"/>
                  </a:lnTo>
                  <a:lnTo>
                    <a:pt x="166" y="6154"/>
                  </a:lnTo>
                  <a:cubicBezTo>
                    <a:pt x="153" y="6218"/>
                    <a:pt x="140" y="6282"/>
                    <a:pt x="128" y="6346"/>
                  </a:cubicBezTo>
                  <a:lnTo>
                    <a:pt x="128" y="6346"/>
                  </a:lnTo>
                  <a:lnTo>
                    <a:pt x="89" y="6537"/>
                  </a:lnTo>
                  <a:lnTo>
                    <a:pt x="89" y="6537"/>
                  </a:lnTo>
                  <a:lnTo>
                    <a:pt x="64" y="6729"/>
                  </a:lnTo>
                  <a:lnTo>
                    <a:pt x="64" y="6729"/>
                  </a:lnTo>
                  <a:lnTo>
                    <a:pt x="38" y="6920"/>
                  </a:lnTo>
                  <a:lnTo>
                    <a:pt x="38" y="6920"/>
                  </a:lnTo>
                  <a:lnTo>
                    <a:pt x="26" y="7112"/>
                  </a:lnTo>
                  <a:lnTo>
                    <a:pt x="26" y="7112"/>
                  </a:lnTo>
                  <a:lnTo>
                    <a:pt x="13" y="7303"/>
                  </a:lnTo>
                  <a:lnTo>
                    <a:pt x="13" y="7303"/>
                  </a:lnTo>
                  <a:lnTo>
                    <a:pt x="13" y="7367"/>
                  </a:lnTo>
                  <a:cubicBezTo>
                    <a:pt x="13" y="7456"/>
                    <a:pt x="13" y="7533"/>
                    <a:pt x="0" y="7622"/>
                  </a:cubicBezTo>
                  <a:lnTo>
                    <a:pt x="0" y="7686"/>
                  </a:lnTo>
                  <a:lnTo>
                    <a:pt x="0" y="7686"/>
                  </a:lnTo>
                  <a:lnTo>
                    <a:pt x="0" y="10368"/>
                  </a:lnTo>
                  <a:lnTo>
                    <a:pt x="0" y="48237"/>
                  </a:lnTo>
                  <a:cubicBezTo>
                    <a:pt x="0" y="52527"/>
                    <a:pt x="3473" y="56000"/>
                    <a:pt x="7725" y="56000"/>
                  </a:cubicBezTo>
                  <a:lnTo>
                    <a:pt x="7725" y="56000"/>
                  </a:lnTo>
                  <a:close/>
                  <a:moveTo>
                    <a:pt x="7725" y="0"/>
                  </a:moveTo>
                  <a:lnTo>
                    <a:pt x="7725" y="0"/>
                  </a:lnTo>
                  <a:lnTo>
                    <a:pt x="7725"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3" name="Freeform: Shape 82">
              <a:extLst>
                <a:ext uri="{FF2B5EF4-FFF2-40B4-BE49-F238E27FC236}">
                  <a16:creationId xmlns:a16="http://schemas.microsoft.com/office/drawing/2014/main" id="{8D7859B4-B252-4BB7-AE83-4190DDB4307B}"/>
                </a:ext>
              </a:extLst>
            </p:cNvPr>
            <p:cNvSpPr/>
            <p:nvPr/>
          </p:nvSpPr>
          <p:spPr>
            <a:xfrm>
              <a:off x="6305403" y="642697"/>
              <a:ext cx="82992" cy="116188"/>
            </a:xfrm>
            <a:custGeom>
              <a:avLst/>
              <a:gdLst>
                <a:gd name="connsiteX0" fmla="*/ 73735 w 82991"/>
                <a:gd name="connsiteY0" fmla="*/ 40296 h 116188"/>
                <a:gd name="connsiteX1" fmla="*/ 76467 w 82991"/>
                <a:gd name="connsiteY1" fmla="*/ 40296 h 116188"/>
                <a:gd name="connsiteX2" fmla="*/ 84192 w 82991"/>
                <a:gd name="connsiteY2" fmla="*/ 32571 h 116188"/>
                <a:gd name="connsiteX3" fmla="*/ 84192 w 82991"/>
                <a:gd name="connsiteY3" fmla="*/ 7725 h 116188"/>
                <a:gd name="connsiteX4" fmla="*/ 76467 w 82991"/>
                <a:gd name="connsiteY4" fmla="*/ 0 h 116188"/>
                <a:gd name="connsiteX5" fmla="*/ 29034 w 82991"/>
                <a:gd name="connsiteY5" fmla="*/ 0 h 116188"/>
                <a:gd name="connsiteX6" fmla="*/ 21310 w 82991"/>
                <a:gd name="connsiteY6" fmla="*/ 115 h 116188"/>
                <a:gd name="connsiteX7" fmla="*/ 21310 w 82991"/>
                <a:gd name="connsiteY7" fmla="*/ 28536 h 116188"/>
                <a:gd name="connsiteX8" fmla="*/ 10457 w 82991"/>
                <a:gd name="connsiteY8" fmla="*/ 39389 h 116188"/>
                <a:gd name="connsiteX9" fmla="*/ 7725 w 82991"/>
                <a:gd name="connsiteY9" fmla="*/ 39389 h 116188"/>
                <a:gd name="connsiteX10" fmla="*/ 0 w 82991"/>
                <a:gd name="connsiteY10" fmla="*/ 47305 h 116188"/>
                <a:gd name="connsiteX11" fmla="*/ 0 w 82991"/>
                <a:gd name="connsiteY11" fmla="*/ 62218 h 116188"/>
                <a:gd name="connsiteX12" fmla="*/ 0 w 82991"/>
                <a:gd name="connsiteY12" fmla="*/ 69751 h 116188"/>
                <a:gd name="connsiteX13" fmla="*/ 0 w 82991"/>
                <a:gd name="connsiteY13" fmla="*/ 108604 h 116188"/>
                <a:gd name="connsiteX14" fmla="*/ 7725 w 82991"/>
                <a:gd name="connsiteY14" fmla="*/ 116329 h 116188"/>
                <a:gd name="connsiteX15" fmla="*/ 33835 w 82991"/>
                <a:gd name="connsiteY15" fmla="*/ 116329 h 116188"/>
                <a:gd name="connsiteX16" fmla="*/ 41560 w 82991"/>
                <a:gd name="connsiteY16" fmla="*/ 116214 h 116188"/>
                <a:gd name="connsiteX17" fmla="*/ 41560 w 82991"/>
                <a:gd name="connsiteY17" fmla="*/ 88546 h 116188"/>
                <a:gd name="connsiteX18" fmla="*/ 52412 w 82991"/>
                <a:gd name="connsiteY18" fmla="*/ 77693 h 116188"/>
                <a:gd name="connsiteX19" fmla="*/ 55145 w 82991"/>
                <a:gd name="connsiteY19" fmla="*/ 77693 h 116188"/>
                <a:gd name="connsiteX20" fmla="*/ 62869 w 82991"/>
                <a:gd name="connsiteY20" fmla="*/ 69777 h 116188"/>
                <a:gd name="connsiteX21" fmla="*/ 62869 w 82991"/>
                <a:gd name="connsiteY21" fmla="*/ 51161 h 116188"/>
                <a:gd name="connsiteX22" fmla="*/ 73735 w 82991"/>
                <a:gd name="connsiteY22" fmla="*/ 40296 h 11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991" h="116188">
                  <a:moveTo>
                    <a:pt x="73735" y="40296"/>
                  </a:moveTo>
                  <a:lnTo>
                    <a:pt x="76467" y="40296"/>
                  </a:lnTo>
                  <a:cubicBezTo>
                    <a:pt x="80719" y="40296"/>
                    <a:pt x="84192" y="36823"/>
                    <a:pt x="84192" y="32571"/>
                  </a:cubicBezTo>
                  <a:lnTo>
                    <a:pt x="84192" y="7725"/>
                  </a:lnTo>
                  <a:cubicBezTo>
                    <a:pt x="84192" y="3473"/>
                    <a:pt x="80719" y="0"/>
                    <a:pt x="76467" y="0"/>
                  </a:cubicBezTo>
                  <a:lnTo>
                    <a:pt x="29034" y="0"/>
                  </a:lnTo>
                  <a:lnTo>
                    <a:pt x="21310" y="115"/>
                  </a:lnTo>
                  <a:lnTo>
                    <a:pt x="21310" y="28536"/>
                  </a:lnTo>
                  <a:cubicBezTo>
                    <a:pt x="21310" y="34512"/>
                    <a:pt x="16432" y="39389"/>
                    <a:pt x="10457" y="39389"/>
                  </a:cubicBezTo>
                  <a:lnTo>
                    <a:pt x="7725" y="39389"/>
                  </a:lnTo>
                  <a:cubicBezTo>
                    <a:pt x="3473" y="39389"/>
                    <a:pt x="0" y="42951"/>
                    <a:pt x="0" y="47305"/>
                  </a:cubicBezTo>
                  <a:lnTo>
                    <a:pt x="0" y="62218"/>
                  </a:lnTo>
                  <a:lnTo>
                    <a:pt x="0" y="69751"/>
                  </a:lnTo>
                  <a:lnTo>
                    <a:pt x="0" y="108604"/>
                  </a:lnTo>
                  <a:cubicBezTo>
                    <a:pt x="0" y="112856"/>
                    <a:pt x="3473" y="116329"/>
                    <a:pt x="7725" y="116329"/>
                  </a:cubicBezTo>
                  <a:lnTo>
                    <a:pt x="33835" y="116329"/>
                  </a:lnTo>
                  <a:lnTo>
                    <a:pt x="41560" y="116214"/>
                  </a:lnTo>
                  <a:lnTo>
                    <a:pt x="41560" y="88546"/>
                  </a:lnTo>
                  <a:cubicBezTo>
                    <a:pt x="41560" y="82570"/>
                    <a:pt x="46437" y="77693"/>
                    <a:pt x="52412" y="77693"/>
                  </a:cubicBezTo>
                  <a:lnTo>
                    <a:pt x="55145" y="77693"/>
                  </a:lnTo>
                  <a:cubicBezTo>
                    <a:pt x="59396" y="77693"/>
                    <a:pt x="62869" y="74131"/>
                    <a:pt x="62869" y="69777"/>
                  </a:cubicBezTo>
                  <a:lnTo>
                    <a:pt x="62869" y="51161"/>
                  </a:lnTo>
                  <a:cubicBezTo>
                    <a:pt x="62869" y="45173"/>
                    <a:pt x="67747" y="40296"/>
                    <a:pt x="73735" y="40296"/>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4" name="Freeform: Shape 83">
              <a:extLst>
                <a:ext uri="{FF2B5EF4-FFF2-40B4-BE49-F238E27FC236}">
                  <a16:creationId xmlns:a16="http://schemas.microsoft.com/office/drawing/2014/main" id="{BE5F1E4C-1418-466D-A102-0A6FFDE54B19}"/>
                </a:ext>
              </a:extLst>
            </p:cNvPr>
            <p:cNvSpPr/>
            <p:nvPr/>
          </p:nvSpPr>
          <p:spPr>
            <a:xfrm>
              <a:off x="6326751" y="585535"/>
              <a:ext cx="252805" cy="191519"/>
            </a:xfrm>
            <a:custGeom>
              <a:avLst/>
              <a:gdLst>
                <a:gd name="connsiteX0" fmla="*/ 52131 w 252804"/>
                <a:gd name="connsiteY0" fmla="*/ 191991 h 191518"/>
                <a:gd name="connsiteX1" fmla="*/ 72662 w 252804"/>
                <a:gd name="connsiteY1" fmla="*/ 191991 h 191518"/>
                <a:gd name="connsiteX2" fmla="*/ 83694 w 252804"/>
                <a:gd name="connsiteY2" fmla="*/ 182607 h 191518"/>
                <a:gd name="connsiteX3" fmla="*/ 94406 w 252804"/>
                <a:gd name="connsiteY3" fmla="*/ 173503 h 191518"/>
                <a:gd name="connsiteX4" fmla="*/ 136387 w 252804"/>
                <a:gd name="connsiteY4" fmla="*/ 173503 h 191518"/>
                <a:gd name="connsiteX5" fmla="*/ 147457 w 252804"/>
                <a:gd name="connsiteY5" fmla="*/ 163902 h 191518"/>
                <a:gd name="connsiteX6" fmla="*/ 157850 w 252804"/>
                <a:gd name="connsiteY6" fmla="*/ 154594 h 191518"/>
                <a:gd name="connsiteX7" fmla="*/ 168664 w 252804"/>
                <a:gd name="connsiteY7" fmla="*/ 143422 h 191518"/>
                <a:gd name="connsiteX8" fmla="*/ 168664 w 252804"/>
                <a:gd name="connsiteY8" fmla="*/ 106727 h 191518"/>
                <a:gd name="connsiteX9" fmla="*/ 179274 w 252804"/>
                <a:gd name="connsiteY9" fmla="*/ 95874 h 191518"/>
                <a:gd name="connsiteX10" fmla="*/ 190038 w 252804"/>
                <a:gd name="connsiteY10" fmla="*/ 86541 h 191518"/>
                <a:gd name="connsiteX11" fmla="*/ 200431 w 252804"/>
                <a:gd name="connsiteY11" fmla="*/ 77488 h 191518"/>
                <a:gd name="connsiteX12" fmla="*/ 211296 w 252804"/>
                <a:gd name="connsiteY12" fmla="*/ 66444 h 191518"/>
                <a:gd name="connsiteX13" fmla="*/ 222149 w 252804"/>
                <a:gd name="connsiteY13" fmla="*/ 55719 h 191518"/>
                <a:gd name="connsiteX14" fmla="*/ 245795 w 252804"/>
                <a:gd name="connsiteY14" fmla="*/ 55719 h 191518"/>
                <a:gd name="connsiteX15" fmla="*/ 253622 w 252804"/>
                <a:gd name="connsiteY15" fmla="*/ 48684 h 191518"/>
                <a:gd name="connsiteX16" fmla="*/ 253609 w 252804"/>
                <a:gd name="connsiteY16" fmla="*/ 36618 h 191518"/>
                <a:gd name="connsiteX17" fmla="*/ 218536 w 252804"/>
                <a:gd name="connsiteY17" fmla="*/ 36708 h 191518"/>
                <a:gd name="connsiteX18" fmla="*/ 210811 w 252804"/>
                <a:gd name="connsiteY18" fmla="*/ 28983 h 191518"/>
                <a:gd name="connsiteX19" fmla="*/ 210811 w 252804"/>
                <a:gd name="connsiteY19" fmla="*/ 28894 h 191518"/>
                <a:gd name="connsiteX20" fmla="*/ 210773 w 252804"/>
                <a:gd name="connsiteY20" fmla="*/ 28894 h 191518"/>
                <a:gd name="connsiteX21" fmla="*/ 210773 w 252804"/>
                <a:gd name="connsiteY21" fmla="*/ 26098 h 191518"/>
                <a:gd name="connsiteX22" fmla="*/ 203048 w 252804"/>
                <a:gd name="connsiteY22" fmla="*/ 18373 h 191518"/>
                <a:gd name="connsiteX23" fmla="*/ 137906 w 252804"/>
                <a:gd name="connsiteY23" fmla="*/ 18373 h 191518"/>
                <a:gd name="connsiteX24" fmla="*/ 137932 w 252804"/>
                <a:gd name="connsiteY24" fmla="*/ 18373 h 191518"/>
                <a:gd name="connsiteX25" fmla="*/ 114324 w 252804"/>
                <a:gd name="connsiteY25" fmla="*/ 18373 h 191518"/>
                <a:gd name="connsiteX26" fmla="*/ 103471 w 252804"/>
                <a:gd name="connsiteY26" fmla="*/ 7635 h 191518"/>
                <a:gd name="connsiteX27" fmla="*/ 95747 w 252804"/>
                <a:gd name="connsiteY27" fmla="*/ 0 h 191518"/>
                <a:gd name="connsiteX28" fmla="*/ 7725 w 252804"/>
                <a:gd name="connsiteY28" fmla="*/ 0 h 191518"/>
                <a:gd name="connsiteX29" fmla="*/ 0 w 252804"/>
                <a:gd name="connsiteY29" fmla="*/ 7725 h 191518"/>
                <a:gd name="connsiteX30" fmla="*/ 0 w 252804"/>
                <a:gd name="connsiteY30" fmla="*/ 38712 h 191518"/>
                <a:gd name="connsiteX31" fmla="*/ 13 w 252804"/>
                <a:gd name="connsiteY31" fmla="*/ 39095 h 191518"/>
                <a:gd name="connsiteX32" fmla="*/ 13 w 252804"/>
                <a:gd name="connsiteY32" fmla="*/ 40168 h 191518"/>
                <a:gd name="connsiteX33" fmla="*/ 0 w 252804"/>
                <a:gd name="connsiteY33" fmla="*/ 40679 h 191518"/>
                <a:gd name="connsiteX34" fmla="*/ 0 w 252804"/>
                <a:gd name="connsiteY34" fmla="*/ 57290 h 191518"/>
                <a:gd name="connsiteX35" fmla="*/ 7686 w 252804"/>
                <a:gd name="connsiteY35" fmla="*/ 57175 h 191518"/>
                <a:gd name="connsiteX36" fmla="*/ 55106 w 252804"/>
                <a:gd name="connsiteY36" fmla="*/ 57175 h 191518"/>
                <a:gd name="connsiteX37" fmla="*/ 62831 w 252804"/>
                <a:gd name="connsiteY37" fmla="*/ 64899 h 191518"/>
                <a:gd name="connsiteX38" fmla="*/ 62831 w 252804"/>
                <a:gd name="connsiteY38" fmla="*/ 89746 h 191518"/>
                <a:gd name="connsiteX39" fmla="*/ 55106 w 252804"/>
                <a:gd name="connsiteY39" fmla="*/ 97470 h 191518"/>
                <a:gd name="connsiteX40" fmla="*/ 52374 w 252804"/>
                <a:gd name="connsiteY40" fmla="*/ 97470 h 191518"/>
                <a:gd name="connsiteX41" fmla="*/ 41521 w 252804"/>
                <a:gd name="connsiteY41" fmla="*/ 108323 h 191518"/>
                <a:gd name="connsiteX42" fmla="*/ 41521 w 252804"/>
                <a:gd name="connsiteY42" fmla="*/ 126939 h 191518"/>
                <a:gd name="connsiteX43" fmla="*/ 33797 w 252804"/>
                <a:gd name="connsiteY43" fmla="*/ 134855 h 191518"/>
                <a:gd name="connsiteX44" fmla="*/ 31064 w 252804"/>
                <a:gd name="connsiteY44" fmla="*/ 134855 h 191518"/>
                <a:gd name="connsiteX45" fmla="*/ 20212 w 252804"/>
                <a:gd name="connsiteY45" fmla="*/ 145707 h 191518"/>
                <a:gd name="connsiteX46" fmla="*/ 20212 w 252804"/>
                <a:gd name="connsiteY46" fmla="*/ 173388 h 191518"/>
                <a:gd name="connsiteX47" fmla="*/ 14389 w 252804"/>
                <a:gd name="connsiteY47" fmla="*/ 173478 h 191518"/>
                <a:gd name="connsiteX48" fmla="*/ 15194 w 252804"/>
                <a:gd name="connsiteY48" fmla="*/ 173503 h 191518"/>
                <a:gd name="connsiteX49" fmla="*/ 30375 w 252804"/>
                <a:gd name="connsiteY49" fmla="*/ 173503 h 191518"/>
                <a:gd name="connsiteX50" fmla="*/ 41087 w 252804"/>
                <a:gd name="connsiteY50" fmla="*/ 182607 h 191518"/>
                <a:gd name="connsiteX51" fmla="*/ 52131 w 252804"/>
                <a:gd name="connsiteY51" fmla="*/ 191991 h 19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52804" h="191518">
                  <a:moveTo>
                    <a:pt x="52131" y="191991"/>
                  </a:moveTo>
                  <a:lnTo>
                    <a:pt x="72662" y="191991"/>
                  </a:lnTo>
                  <a:cubicBezTo>
                    <a:pt x="78204" y="191991"/>
                    <a:pt x="82838" y="187905"/>
                    <a:pt x="83694" y="182607"/>
                  </a:cubicBezTo>
                  <a:cubicBezTo>
                    <a:pt x="84562" y="177308"/>
                    <a:pt x="89044" y="173503"/>
                    <a:pt x="94406" y="173503"/>
                  </a:cubicBezTo>
                  <a:lnTo>
                    <a:pt x="136387" y="173503"/>
                  </a:lnTo>
                  <a:cubicBezTo>
                    <a:pt x="142005" y="173503"/>
                    <a:pt x="146678" y="169315"/>
                    <a:pt x="147457" y="163902"/>
                  </a:cubicBezTo>
                  <a:cubicBezTo>
                    <a:pt x="148210" y="158641"/>
                    <a:pt x="152538" y="154760"/>
                    <a:pt x="157850" y="154594"/>
                  </a:cubicBezTo>
                  <a:cubicBezTo>
                    <a:pt x="163838" y="154402"/>
                    <a:pt x="168664" y="149448"/>
                    <a:pt x="168664" y="143422"/>
                  </a:cubicBezTo>
                  <a:lnTo>
                    <a:pt x="168664" y="106727"/>
                  </a:lnTo>
                  <a:cubicBezTo>
                    <a:pt x="168664" y="100841"/>
                    <a:pt x="173376" y="96015"/>
                    <a:pt x="179274" y="95874"/>
                  </a:cubicBezTo>
                  <a:cubicBezTo>
                    <a:pt x="184675" y="95747"/>
                    <a:pt x="189170" y="91737"/>
                    <a:pt x="190038" y="86541"/>
                  </a:cubicBezTo>
                  <a:cubicBezTo>
                    <a:pt x="190906" y="81383"/>
                    <a:pt x="195196" y="77642"/>
                    <a:pt x="200431" y="77488"/>
                  </a:cubicBezTo>
                  <a:cubicBezTo>
                    <a:pt x="206394" y="77323"/>
                    <a:pt x="211220" y="72432"/>
                    <a:pt x="211296" y="66444"/>
                  </a:cubicBezTo>
                  <a:cubicBezTo>
                    <a:pt x="211373" y="60507"/>
                    <a:pt x="216225" y="55719"/>
                    <a:pt x="222149" y="55719"/>
                  </a:cubicBezTo>
                  <a:lnTo>
                    <a:pt x="245795" y="55719"/>
                  </a:lnTo>
                  <a:cubicBezTo>
                    <a:pt x="250047" y="55719"/>
                    <a:pt x="253635" y="52949"/>
                    <a:pt x="253622" y="48684"/>
                  </a:cubicBezTo>
                  <a:lnTo>
                    <a:pt x="253609" y="36618"/>
                  </a:lnTo>
                  <a:cubicBezTo>
                    <a:pt x="241837" y="36618"/>
                    <a:pt x="230321" y="36708"/>
                    <a:pt x="218536" y="36708"/>
                  </a:cubicBezTo>
                  <a:cubicBezTo>
                    <a:pt x="214284" y="36708"/>
                    <a:pt x="210811" y="33235"/>
                    <a:pt x="210811" y="28983"/>
                  </a:cubicBezTo>
                  <a:lnTo>
                    <a:pt x="210811" y="28894"/>
                  </a:lnTo>
                  <a:lnTo>
                    <a:pt x="210773" y="28894"/>
                  </a:lnTo>
                  <a:lnTo>
                    <a:pt x="210773" y="26098"/>
                  </a:lnTo>
                  <a:cubicBezTo>
                    <a:pt x="210773" y="21846"/>
                    <a:pt x="207300" y="18373"/>
                    <a:pt x="203048" y="18373"/>
                  </a:cubicBezTo>
                  <a:lnTo>
                    <a:pt x="137906" y="18373"/>
                  </a:lnTo>
                  <a:lnTo>
                    <a:pt x="137932" y="18373"/>
                  </a:lnTo>
                  <a:lnTo>
                    <a:pt x="114324" y="18373"/>
                  </a:lnTo>
                  <a:cubicBezTo>
                    <a:pt x="108387" y="18373"/>
                    <a:pt x="103535" y="13572"/>
                    <a:pt x="103471" y="7635"/>
                  </a:cubicBezTo>
                  <a:cubicBezTo>
                    <a:pt x="103420" y="3435"/>
                    <a:pt x="99960" y="0"/>
                    <a:pt x="95747" y="0"/>
                  </a:cubicBezTo>
                  <a:lnTo>
                    <a:pt x="7725" y="0"/>
                  </a:lnTo>
                  <a:cubicBezTo>
                    <a:pt x="3473" y="0"/>
                    <a:pt x="0" y="3473"/>
                    <a:pt x="0" y="7725"/>
                  </a:cubicBezTo>
                  <a:lnTo>
                    <a:pt x="0" y="38712"/>
                  </a:lnTo>
                  <a:cubicBezTo>
                    <a:pt x="0" y="38840"/>
                    <a:pt x="0" y="38968"/>
                    <a:pt x="13" y="39095"/>
                  </a:cubicBezTo>
                  <a:cubicBezTo>
                    <a:pt x="38" y="39466"/>
                    <a:pt x="38" y="39785"/>
                    <a:pt x="13" y="40168"/>
                  </a:cubicBezTo>
                  <a:cubicBezTo>
                    <a:pt x="0" y="40334"/>
                    <a:pt x="0" y="40513"/>
                    <a:pt x="0" y="40679"/>
                  </a:cubicBezTo>
                  <a:lnTo>
                    <a:pt x="0" y="57290"/>
                  </a:lnTo>
                  <a:lnTo>
                    <a:pt x="7686" y="57175"/>
                  </a:lnTo>
                  <a:lnTo>
                    <a:pt x="55106" y="57175"/>
                  </a:lnTo>
                  <a:cubicBezTo>
                    <a:pt x="59358" y="57175"/>
                    <a:pt x="62831" y="60648"/>
                    <a:pt x="62831" y="64899"/>
                  </a:cubicBezTo>
                  <a:lnTo>
                    <a:pt x="62831" y="89746"/>
                  </a:lnTo>
                  <a:cubicBezTo>
                    <a:pt x="62831" y="93997"/>
                    <a:pt x="59358" y="97470"/>
                    <a:pt x="55106" y="97470"/>
                  </a:cubicBezTo>
                  <a:lnTo>
                    <a:pt x="52374" y="97470"/>
                  </a:lnTo>
                  <a:cubicBezTo>
                    <a:pt x="46399" y="97470"/>
                    <a:pt x="41521" y="102348"/>
                    <a:pt x="41521" y="108323"/>
                  </a:cubicBezTo>
                  <a:lnTo>
                    <a:pt x="41521" y="126939"/>
                  </a:lnTo>
                  <a:cubicBezTo>
                    <a:pt x="41521" y="131293"/>
                    <a:pt x="38048" y="134855"/>
                    <a:pt x="33797" y="134855"/>
                  </a:cubicBezTo>
                  <a:lnTo>
                    <a:pt x="31064" y="134855"/>
                  </a:lnTo>
                  <a:cubicBezTo>
                    <a:pt x="25089" y="134855"/>
                    <a:pt x="20212" y="139732"/>
                    <a:pt x="20212" y="145707"/>
                  </a:cubicBezTo>
                  <a:lnTo>
                    <a:pt x="20212" y="173388"/>
                  </a:lnTo>
                  <a:lnTo>
                    <a:pt x="14389" y="173478"/>
                  </a:lnTo>
                  <a:cubicBezTo>
                    <a:pt x="14658" y="173503"/>
                    <a:pt x="14926" y="173503"/>
                    <a:pt x="15194" y="173503"/>
                  </a:cubicBezTo>
                  <a:lnTo>
                    <a:pt x="30375" y="173503"/>
                  </a:lnTo>
                  <a:cubicBezTo>
                    <a:pt x="35737" y="173503"/>
                    <a:pt x="40219" y="177321"/>
                    <a:pt x="41087" y="182607"/>
                  </a:cubicBezTo>
                  <a:cubicBezTo>
                    <a:pt x="41955" y="187918"/>
                    <a:pt x="46590" y="191991"/>
                    <a:pt x="52131" y="191991"/>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5" name="Freeform: Shape 84">
              <a:extLst>
                <a:ext uri="{FF2B5EF4-FFF2-40B4-BE49-F238E27FC236}">
                  <a16:creationId xmlns:a16="http://schemas.microsoft.com/office/drawing/2014/main" id="{C5A6E626-70A9-4E1F-AA40-30DA6BFB60A6}"/>
                </a:ext>
              </a:extLst>
            </p:cNvPr>
            <p:cNvSpPr/>
            <p:nvPr/>
          </p:nvSpPr>
          <p:spPr>
            <a:xfrm>
              <a:off x="6774152" y="740920"/>
              <a:ext cx="54902" cy="39581"/>
            </a:xfrm>
            <a:custGeom>
              <a:avLst/>
              <a:gdLst>
                <a:gd name="connsiteX0" fmla="*/ 0 w 54902"/>
                <a:gd name="connsiteY0" fmla="*/ 7725 h 39580"/>
                <a:gd name="connsiteX1" fmla="*/ 0 w 54902"/>
                <a:gd name="connsiteY1" fmla="*/ 10406 h 39580"/>
                <a:gd name="connsiteX2" fmla="*/ 7725 w 54902"/>
                <a:gd name="connsiteY2" fmla="*/ 18130 h 39580"/>
                <a:gd name="connsiteX3" fmla="*/ 27017 w 54902"/>
                <a:gd name="connsiteY3" fmla="*/ 18130 h 39580"/>
                <a:gd name="connsiteX4" fmla="*/ 37870 w 54902"/>
                <a:gd name="connsiteY4" fmla="*/ 28983 h 39580"/>
                <a:gd name="connsiteX5" fmla="*/ 37870 w 54902"/>
                <a:gd name="connsiteY5" fmla="*/ 32443 h 39580"/>
                <a:gd name="connsiteX6" fmla="*/ 45594 w 54902"/>
                <a:gd name="connsiteY6" fmla="*/ 40168 h 39580"/>
                <a:gd name="connsiteX7" fmla="*/ 48276 w 54902"/>
                <a:gd name="connsiteY7" fmla="*/ 40168 h 39580"/>
                <a:gd name="connsiteX8" fmla="*/ 56000 w 54902"/>
                <a:gd name="connsiteY8" fmla="*/ 32443 h 39580"/>
                <a:gd name="connsiteX9" fmla="*/ 56000 w 54902"/>
                <a:gd name="connsiteY9" fmla="*/ 10406 h 39580"/>
                <a:gd name="connsiteX10" fmla="*/ 56000 w 54902"/>
                <a:gd name="connsiteY10" fmla="*/ 7725 h 39580"/>
                <a:gd name="connsiteX11" fmla="*/ 56000 w 54902"/>
                <a:gd name="connsiteY11" fmla="*/ 7520 h 39580"/>
                <a:gd name="connsiteX12" fmla="*/ 56000 w 54902"/>
                <a:gd name="connsiteY12" fmla="*/ 7520 h 39580"/>
                <a:gd name="connsiteX13" fmla="*/ 55987 w 54902"/>
                <a:gd name="connsiteY13" fmla="*/ 7329 h 39580"/>
                <a:gd name="connsiteX14" fmla="*/ 55987 w 54902"/>
                <a:gd name="connsiteY14" fmla="*/ 7329 h 39580"/>
                <a:gd name="connsiteX15" fmla="*/ 55975 w 54902"/>
                <a:gd name="connsiteY15" fmla="*/ 7137 h 39580"/>
                <a:gd name="connsiteX16" fmla="*/ 55975 w 54902"/>
                <a:gd name="connsiteY16" fmla="*/ 7137 h 39580"/>
                <a:gd name="connsiteX17" fmla="*/ 55962 w 54902"/>
                <a:gd name="connsiteY17" fmla="*/ 6946 h 39580"/>
                <a:gd name="connsiteX18" fmla="*/ 55962 w 54902"/>
                <a:gd name="connsiteY18" fmla="*/ 6946 h 39580"/>
                <a:gd name="connsiteX19" fmla="*/ 55936 w 54902"/>
                <a:gd name="connsiteY19" fmla="*/ 6754 h 39580"/>
                <a:gd name="connsiteX20" fmla="*/ 55936 w 54902"/>
                <a:gd name="connsiteY20" fmla="*/ 6754 h 39580"/>
                <a:gd name="connsiteX21" fmla="*/ 55911 w 54902"/>
                <a:gd name="connsiteY21" fmla="*/ 6563 h 39580"/>
                <a:gd name="connsiteX22" fmla="*/ 55911 w 54902"/>
                <a:gd name="connsiteY22" fmla="*/ 6563 h 39580"/>
                <a:gd name="connsiteX23" fmla="*/ 55885 w 54902"/>
                <a:gd name="connsiteY23" fmla="*/ 6371 h 39580"/>
                <a:gd name="connsiteX24" fmla="*/ 55885 w 54902"/>
                <a:gd name="connsiteY24" fmla="*/ 6371 h 39580"/>
                <a:gd name="connsiteX25" fmla="*/ 55847 w 54902"/>
                <a:gd name="connsiteY25" fmla="*/ 6180 h 39580"/>
                <a:gd name="connsiteX26" fmla="*/ 55847 w 54902"/>
                <a:gd name="connsiteY26" fmla="*/ 6180 h 39580"/>
                <a:gd name="connsiteX27" fmla="*/ 55809 w 54902"/>
                <a:gd name="connsiteY27" fmla="*/ 5988 h 39580"/>
                <a:gd name="connsiteX28" fmla="*/ 55809 w 54902"/>
                <a:gd name="connsiteY28" fmla="*/ 5988 h 39580"/>
                <a:gd name="connsiteX29" fmla="*/ 55758 w 54902"/>
                <a:gd name="connsiteY29" fmla="*/ 5797 h 39580"/>
                <a:gd name="connsiteX30" fmla="*/ 55758 w 54902"/>
                <a:gd name="connsiteY30" fmla="*/ 5797 h 39580"/>
                <a:gd name="connsiteX31" fmla="*/ 55706 w 54902"/>
                <a:gd name="connsiteY31" fmla="*/ 5618 h 39580"/>
                <a:gd name="connsiteX32" fmla="*/ 55706 w 54902"/>
                <a:gd name="connsiteY32" fmla="*/ 5618 h 39580"/>
                <a:gd name="connsiteX33" fmla="*/ 55655 w 54902"/>
                <a:gd name="connsiteY33" fmla="*/ 5439 h 39580"/>
                <a:gd name="connsiteX34" fmla="*/ 55655 w 54902"/>
                <a:gd name="connsiteY34" fmla="*/ 5439 h 39580"/>
                <a:gd name="connsiteX35" fmla="*/ 55592 w 54902"/>
                <a:gd name="connsiteY35" fmla="*/ 5260 h 39580"/>
                <a:gd name="connsiteX36" fmla="*/ 55592 w 54902"/>
                <a:gd name="connsiteY36" fmla="*/ 5260 h 39580"/>
                <a:gd name="connsiteX37" fmla="*/ 55528 w 54902"/>
                <a:gd name="connsiteY37" fmla="*/ 5082 h 39580"/>
                <a:gd name="connsiteX38" fmla="*/ 55528 w 54902"/>
                <a:gd name="connsiteY38" fmla="*/ 5082 h 39580"/>
                <a:gd name="connsiteX39" fmla="*/ 55464 w 54902"/>
                <a:gd name="connsiteY39" fmla="*/ 4903 h 39580"/>
                <a:gd name="connsiteX40" fmla="*/ 55464 w 54902"/>
                <a:gd name="connsiteY40" fmla="*/ 4903 h 39580"/>
                <a:gd name="connsiteX41" fmla="*/ 55387 w 54902"/>
                <a:gd name="connsiteY41" fmla="*/ 4724 h 39580"/>
                <a:gd name="connsiteX42" fmla="*/ 55387 w 54902"/>
                <a:gd name="connsiteY42" fmla="*/ 4724 h 39580"/>
                <a:gd name="connsiteX43" fmla="*/ 55311 w 54902"/>
                <a:gd name="connsiteY43" fmla="*/ 4558 h 39580"/>
                <a:gd name="connsiteX44" fmla="*/ 55311 w 54902"/>
                <a:gd name="connsiteY44" fmla="*/ 4558 h 39580"/>
                <a:gd name="connsiteX45" fmla="*/ 55234 w 54902"/>
                <a:gd name="connsiteY45" fmla="*/ 4392 h 39580"/>
                <a:gd name="connsiteX46" fmla="*/ 55234 w 54902"/>
                <a:gd name="connsiteY46" fmla="*/ 4392 h 39580"/>
                <a:gd name="connsiteX47" fmla="*/ 55145 w 54902"/>
                <a:gd name="connsiteY47" fmla="*/ 4226 h 39580"/>
                <a:gd name="connsiteX48" fmla="*/ 55145 w 54902"/>
                <a:gd name="connsiteY48" fmla="*/ 4226 h 39580"/>
                <a:gd name="connsiteX49" fmla="*/ 55055 w 54902"/>
                <a:gd name="connsiteY49" fmla="*/ 4060 h 39580"/>
                <a:gd name="connsiteX50" fmla="*/ 55055 w 54902"/>
                <a:gd name="connsiteY50" fmla="*/ 4060 h 39580"/>
                <a:gd name="connsiteX51" fmla="*/ 54966 w 54902"/>
                <a:gd name="connsiteY51" fmla="*/ 3894 h 39580"/>
                <a:gd name="connsiteX52" fmla="*/ 54966 w 54902"/>
                <a:gd name="connsiteY52" fmla="*/ 3894 h 39580"/>
                <a:gd name="connsiteX53" fmla="*/ 54877 w 54902"/>
                <a:gd name="connsiteY53" fmla="*/ 3728 h 39580"/>
                <a:gd name="connsiteX54" fmla="*/ 54877 w 54902"/>
                <a:gd name="connsiteY54" fmla="*/ 3728 h 39580"/>
                <a:gd name="connsiteX55" fmla="*/ 54774 w 54902"/>
                <a:gd name="connsiteY55" fmla="*/ 3575 h 39580"/>
                <a:gd name="connsiteX56" fmla="*/ 54774 w 54902"/>
                <a:gd name="connsiteY56" fmla="*/ 3575 h 39580"/>
                <a:gd name="connsiteX57" fmla="*/ 54672 w 54902"/>
                <a:gd name="connsiteY57" fmla="*/ 3422 h 39580"/>
                <a:gd name="connsiteX58" fmla="*/ 54672 w 54902"/>
                <a:gd name="connsiteY58" fmla="*/ 3422 h 39580"/>
                <a:gd name="connsiteX59" fmla="*/ 54570 w 54902"/>
                <a:gd name="connsiteY59" fmla="*/ 3269 h 39580"/>
                <a:gd name="connsiteX60" fmla="*/ 54570 w 54902"/>
                <a:gd name="connsiteY60" fmla="*/ 3269 h 39580"/>
                <a:gd name="connsiteX61" fmla="*/ 54455 w 54902"/>
                <a:gd name="connsiteY61" fmla="*/ 3115 h 39580"/>
                <a:gd name="connsiteX62" fmla="*/ 54455 w 54902"/>
                <a:gd name="connsiteY62" fmla="*/ 3115 h 39580"/>
                <a:gd name="connsiteX63" fmla="*/ 54340 w 54902"/>
                <a:gd name="connsiteY63" fmla="*/ 2975 h 39580"/>
                <a:gd name="connsiteX64" fmla="*/ 54340 w 54902"/>
                <a:gd name="connsiteY64" fmla="*/ 2975 h 39580"/>
                <a:gd name="connsiteX65" fmla="*/ 54225 w 54902"/>
                <a:gd name="connsiteY65" fmla="*/ 2834 h 39580"/>
                <a:gd name="connsiteX66" fmla="*/ 54225 w 54902"/>
                <a:gd name="connsiteY66" fmla="*/ 2834 h 39580"/>
                <a:gd name="connsiteX67" fmla="*/ 54110 w 54902"/>
                <a:gd name="connsiteY67" fmla="*/ 2694 h 39580"/>
                <a:gd name="connsiteX68" fmla="*/ 54110 w 54902"/>
                <a:gd name="connsiteY68" fmla="*/ 2694 h 39580"/>
                <a:gd name="connsiteX69" fmla="*/ 53983 w 54902"/>
                <a:gd name="connsiteY69" fmla="*/ 2554 h 39580"/>
                <a:gd name="connsiteX70" fmla="*/ 53983 w 54902"/>
                <a:gd name="connsiteY70" fmla="*/ 2554 h 39580"/>
                <a:gd name="connsiteX71" fmla="*/ 53855 w 54902"/>
                <a:gd name="connsiteY71" fmla="*/ 2413 h 39580"/>
                <a:gd name="connsiteX72" fmla="*/ 53855 w 54902"/>
                <a:gd name="connsiteY72" fmla="*/ 2413 h 39580"/>
                <a:gd name="connsiteX73" fmla="*/ 53727 w 54902"/>
                <a:gd name="connsiteY73" fmla="*/ 2285 h 39580"/>
                <a:gd name="connsiteX74" fmla="*/ 53727 w 54902"/>
                <a:gd name="connsiteY74" fmla="*/ 2285 h 39580"/>
                <a:gd name="connsiteX75" fmla="*/ 53600 w 54902"/>
                <a:gd name="connsiteY75" fmla="*/ 2158 h 39580"/>
                <a:gd name="connsiteX76" fmla="*/ 53600 w 54902"/>
                <a:gd name="connsiteY76" fmla="*/ 2158 h 39580"/>
                <a:gd name="connsiteX77" fmla="*/ 53459 w 54902"/>
                <a:gd name="connsiteY77" fmla="*/ 2030 h 39580"/>
                <a:gd name="connsiteX78" fmla="*/ 53459 w 54902"/>
                <a:gd name="connsiteY78" fmla="*/ 2030 h 39580"/>
                <a:gd name="connsiteX79" fmla="*/ 53319 w 54902"/>
                <a:gd name="connsiteY79" fmla="*/ 1902 h 39580"/>
                <a:gd name="connsiteX80" fmla="*/ 53319 w 54902"/>
                <a:gd name="connsiteY80" fmla="*/ 1902 h 39580"/>
                <a:gd name="connsiteX81" fmla="*/ 53178 w 54902"/>
                <a:gd name="connsiteY81" fmla="*/ 1787 h 39580"/>
                <a:gd name="connsiteX82" fmla="*/ 53178 w 54902"/>
                <a:gd name="connsiteY82" fmla="*/ 1787 h 39580"/>
                <a:gd name="connsiteX83" fmla="*/ 53038 w 54902"/>
                <a:gd name="connsiteY83" fmla="*/ 1673 h 39580"/>
                <a:gd name="connsiteX84" fmla="*/ 53038 w 54902"/>
                <a:gd name="connsiteY84" fmla="*/ 1673 h 39580"/>
                <a:gd name="connsiteX85" fmla="*/ 52898 w 54902"/>
                <a:gd name="connsiteY85" fmla="*/ 1558 h 39580"/>
                <a:gd name="connsiteX86" fmla="*/ 52898 w 54902"/>
                <a:gd name="connsiteY86" fmla="*/ 1558 h 39580"/>
                <a:gd name="connsiteX87" fmla="*/ 52744 w 54902"/>
                <a:gd name="connsiteY87" fmla="*/ 1443 h 39580"/>
                <a:gd name="connsiteX88" fmla="*/ 52744 w 54902"/>
                <a:gd name="connsiteY88" fmla="*/ 1443 h 39580"/>
                <a:gd name="connsiteX89" fmla="*/ 52591 w 54902"/>
                <a:gd name="connsiteY89" fmla="*/ 1341 h 39580"/>
                <a:gd name="connsiteX90" fmla="*/ 52591 w 54902"/>
                <a:gd name="connsiteY90" fmla="*/ 1341 h 39580"/>
                <a:gd name="connsiteX91" fmla="*/ 52438 w 54902"/>
                <a:gd name="connsiteY91" fmla="*/ 1238 h 39580"/>
                <a:gd name="connsiteX92" fmla="*/ 52438 w 54902"/>
                <a:gd name="connsiteY92" fmla="*/ 1238 h 39580"/>
                <a:gd name="connsiteX93" fmla="*/ 52285 w 54902"/>
                <a:gd name="connsiteY93" fmla="*/ 1136 h 39580"/>
                <a:gd name="connsiteX94" fmla="*/ 52285 w 54902"/>
                <a:gd name="connsiteY94" fmla="*/ 1136 h 39580"/>
                <a:gd name="connsiteX95" fmla="*/ 52119 w 54902"/>
                <a:gd name="connsiteY95" fmla="*/ 1047 h 39580"/>
                <a:gd name="connsiteX96" fmla="*/ 52119 w 54902"/>
                <a:gd name="connsiteY96" fmla="*/ 1047 h 39580"/>
                <a:gd name="connsiteX97" fmla="*/ 51953 w 54902"/>
                <a:gd name="connsiteY97" fmla="*/ 958 h 39580"/>
                <a:gd name="connsiteX98" fmla="*/ 51953 w 54902"/>
                <a:gd name="connsiteY98" fmla="*/ 958 h 39580"/>
                <a:gd name="connsiteX99" fmla="*/ 51787 w 54902"/>
                <a:gd name="connsiteY99" fmla="*/ 868 h 39580"/>
                <a:gd name="connsiteX100" fmla="*/ 51787 w 54902"/>
                <a:gd name="connsiteY100" fmla="*/ 868 h 39580"/>
                <a:gd name="connsiteX101" fmla="*/ 51621 w 54902"/>
                <a:gd name="connsiteY101" fmla="*/ 779 h 39580"/>
                <a:gd name="connsiteX102" fmla="*/ 51621 w 54902"/>
                <a:gd name="connsiteY102" fmla="*/ 779 h 39580"/>
                <a:gd name="connsiteX103" fmla="*/ 51455 w 54902"/>
                <a:gd name="connsiteY103" fmla="*/ 702 h 39580"/>
                <a:gd name="connsiteX104" fmla="*/ 51455 w 54902"/>
                <a:gd name="connsiteY104" fmla="*/ 702 h 39580"/>
                <a:gd name="connsiteX105" fmla="*/ 51289 w 54902"/>
                <a:gd name="connsiteY105" fmla="*/ 626 h 39580"/>
                <a:gd name="connsiteX106" fmla="*/ 51289 w 54902"/>
                <a:gd name="connsiteY106" fmla="*/ 626 h 39580"/>
                <a:gd name="connsiteX107" fmla="*/ 51110 w 54902"/>
                <a:gd name="connsiteY107" fmla="*/ 549 h 39580"/>
                <a:gd name="connsiteX108" fmla="*/ 51110 w 54902"/>
                <a:gd name="connsiteY108" fmla="*/ 549 h 39580"/>
                <a:gd name="connsiteX109" fmla="*/ 50931 w 54902"/>
                <a:gd name="connsiteY109" fmla="*/ 485 h 39580"/>
                <a:gd name="connsiteX110" fmla="*/ 50931 w 54902"/>
                <a:gd name="connsiteY110" fmla="*/ 485 h 39580"/>
                <a:gd name="connsiteX111" fmla="*/ 50753 w 54902"/>
                <a:gd name="connsiteY111" fmla="*/ 421 h 39580"/>
                <a:gd name="connsiteX112" fmla="*/ 50753 w 54902"/>
                <a:gd name="connsiteY112" fmla="*/ 421 h 39580"/>
                <a:gd name="connsiteX113" fmla="*/ 50574 w 54902"/>
                <a:gd name="connsiteY113" fmla="*/ 357 h 39580"/>
                <a:gd name="connsiteX114" fmla="*/ 50574 w 54902"/>
                <a:gd name="connsiteY114" fmla="*/ 357 h 39580"/>
                <a:gd name="connsiteX115" fmla="*/ 50395 w 54902"/>
                <a:gd name="connsiteY115" fmla="*/ 306 h 39580"/>
                <a:gd name="connsiteX116" fmla="*/ 50395 w 54902"/>
                <a:gd name="connsiteY116" fmla="*/ 306 h 39580"/>
                <a:gd name="connsiteX117" fmla="*/ 50216 w 54902"/>
                <a:gd name="connsiteY117" fmla="*/ 255 h 39580"/>
                <a:gd name="connsiteX118" fmla="*/ 50216 w 54902"/>
                <a:gd name="connsiteY118" fmla="*/ 255 h 39580"/>
                <a:gd name="connsiteX119" fmla="*/ 50038 w 54902"/>
                <a:gd name="connsiteY119" fmla="*/ 204 h 39580"/>
                <a:gd name="connsiteX120" fmla="*/ 50038 w 54902"/>
                <a:gd name="connsiteY120" fmla="*/ 204 h 39580"/>
                <a:gd name="connsiteX121" fmla="*/ 49846 w 54902"/>
                <a:gd name="connsiteY121" fmla="*/ 166 h 39580"/>
                <a:gd name="connsiteX122" fmla="*/ 49846 w 54902"/>
                <a:gd name="connsiteY122" fmla="*/ 166 h 39580"/>
                <a:gd name="connsiteX123" fmla="*/ 49654 w 54902"/>
                <a:gd name="connsiteY123" fmla="*/ 128 h 39580"/>
                <a:gd name="connsiteX124" fmla="*/ 49654 w 54902"/>
                <a:gd name="connsiteY124" fmla="*/ 128 h 39580"/>
                <a:gd name="connsiteX125" fmla="*/ 49463 w 54902"/>
                <a:gd name="connsiteY125" fmla="*/ 89 h 39580"/>
                <a:gd name="connsiteX126" fmla="*/ 49463 w 54902"/>
                <a:gd name="connsiteY126" fmla="*/ 89 h 39580"/>
                <a:gd name="connsiteX127" fmla="*/ 49271 w 54902"/>
                <a:gd name="connsiteY127" fmla="*/ 64 h 39580"/>
                <a:gd name="connsiteX128" fmla="*/ 49271 w 54902"/>
                <a:gd name="connsiteY128" fmla="*/ 64 h 39580"/>
                <a:gd name="connsiteX129" fmla="*/ 49080 w 54902"/>
                <a:gd name="connsiteY129" fmla="*/ 38 h 39580"/>
                <a:gd name="connsiteX130" fmla="*/ 49080 w 54902"/>
                <a:gd name="connsiteY130" fmla="*/ 38 h 39580"/>
                <a:gd name="connsiteX131" fmla="*/ 48888 w 54902"/>
                <a:gd name="connsiteY131" fmla="*/ 25 h 39580"/>
                <a:gd name="connsiteX132" fmla="*/ 48888 w 54902"/>
                <a:gd name="connsiteY132" fmla="*/ 25 h 39580"/>
                <a:gd name="connsiteX133" fmla="*/ 48697 w 54902"/>
                <a:gd name="connsiteY133" fmla="*/ 13 h 39580"/>
                <a:gd name="connsiteX134" fmla="*/ 48697 w 54902"/>
                <a:gd name="connsiteY134" fmla="*/ 13 h 39580"/>
                <a:gd name="connsiteX135" fmla="*/ 48633 w 54902"/>
                <a:gd name="connsiteY135" fmla="*/ 13 h 39580"/>
                <a:gd name="connsiteX136" fmla="*/ 48378 w 54902"/>
                <a:gd name="connsiteY136" fmla="*/ 0 h 39580"/>
                <a:gd name="connsiteX137" fmla="*/ 48314 w 54902"/>
                <a:gd name="connsiteY137" fmla="*/ 0 h 39580"/>
                <a:gd name="connsiteX138" fmla="*/ 48314 w 54902"/>
                <a:gd name="connsiteY138" fmla="*/ 0 h 39580"/>
                <a:gd name="connsiteX139" fmla="*/ 45633 w 54902"/>
                <a:gd name="connsiteY139" fmla="*/ 0 h 39580"/>
                <a:gd name="connsiteX140" fmla="*/ 7763 w 54902"/>
                <a:gd name="connsiteY140" fmla="*/ 0 h 39580"/>
                <a:gd name="connsiteX141" fmla="*/ 0 w 54902"/>
                <a:gd name="connsiteY141" fmla="*/ 7725 h 39580"/>
                <a:gd name="connsiteX142" fmla="*/ 0 w 54902"/>
                <a:gd name="connsiteY142" fmla="*/ 7725 h 39580"/>
                <a:gd name="connsiteX143" fmla="*/ 56000 w 54902"/>
                <a:gd name="connsiteY143" fmla="*/ 7725 h 39580"/>
                <a:gd name="connsiteX144" fmla="*/ 56000 w 54902"/>
                <a:gd name="connsiteY144" fmla="*/ 7725 h 39580"/>
                <a:gd name="connsiteX145" fmla="*/ 56000 w 54902"/>
                <a:gd name="connsiteY145" fmla="*/ 7725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4902" h="39580">
                  <a:moveTo>
                    <a:pt x="0" y="7725"/>
                  </a:moveTo>
                  <a:lnTo>
                    <a:pt x="0" y="10406"/>
                  </a:lnTo>
                  <a:cubicBezTo>
                    <a:pt x="0" y="14658"/>
                    <a:pt x="3473" y="18130"/>
                    <a:pt x="7725" y="18130"/>
                  </a:cubicBezTo>
                  <a:lnTo>
                    <a:pt x="27017" y="18130"/>
                  </a:lnTo>
                  <a:cubicBezTo>
                    <a:pt x="32992" y="18130"/>
                    <a:pt x="37870" y="23008"/>
                    <a:pt x="37870" y="28983"/>
                  </a:cubicBezTo>
                  <a:lnTo>
                    <a:pt x="37870" y="32443"/>
                  </a:lnTo>
                  <a:cubicBezTo>
                    <a:pt x="37870" y="36695"/>
                    <a:pt x="41343" y="40168"/>
                    <a:pt x="45594" y="40168"/>
                  </a:cubicBezTo>
                  <a:lnTo>
                    <a:pt x="48276" y="40168"/>
                  </a:lnTo>
                  <a:cubicBezTo>
                    <a:pt x="52527" y="40168"/>
                    <a:pt x="56000" y="36695"/>
                    <a:pt x="56000" y="32443"/>
                  </a:cubicBezTo>
                  <a:lnTo>
                    <a:pt x="56000" y="10406"/>
                  </a:lnTo>
                  <a:lnTo>
                    <a:pt x="56000" y="7725"/>
                  </a:lnTo>
                  <a:lnTo>
                    <a:pt x="56000" y="7520"/>
                  </a:lnTo>
                  <a:lnTo>
                    <a:pt x="56000" y="7520"/>
                  </a:lnTo>
                  <a:lnTo>
                    <a:pt x="55987" y="7329"/>
                  </a:lnTo>
                  <a:lnTo>
                    <a:pt x="55987" y="7329"/>
                  </a:lnTo>
                  <a:lnTo>
                    <a:pt x="55975" y="7137"/>
                  </a:lnTo>
                  <a:lnTo>
                    <a:pt x="55975" y="7137"/>
                  </a:lnTo>
                  <a:lnTo>
                    <a:pt x="55962" y="6946"/>
                  </a:lnTo>
                  <a:lnTo>
                    <a:pt x="55962" y="6946"/>
                  </a:lnTo>
                  <a:lnTo>
                    <a:pt x="55936" y="6754"/>
                  </a:lnTo>
                  <a:lnTo>
                    <a:pt x="55936" y="6754"/>
                  </a:lnTo>
                  <a:lnTo>
                    <a:pt x="55911" y="6563"/>
                  </a:lnTo>
                  <a:lnTo>
                    <a:pt x="55911" y="6563"/>
                  </a:lnTo>
                  <a:lnTo>
                    <a:pt x="55885" y="6371"/>
                  </a:lnTo>
                  <a:lnTo>
                    <a:pt x="55885" y="6371"/>
                  </a:lnTo>
                  <a:cubicBezTo>
                    <a:pt x="55872" y="6307"/>
                    <a:pt x="55860" y="6243"/>
                    <a:pt x="55847" y="6180"/>
                  </a:cubicBezTo>
                  <a:lnTo>
                    <a:pt x="55847" y="6180"/>
                  </a:lnTo>
                  <a:lnTo>
                    <a:pt x="55809" y="5988"/>
                  </a:lnTo>
                  <a:lnTo>
                    <a:pt x="55809" y="5988"/>
                  </a:lnTo>
                  <a:lnTo>
                    <a:pt x="55758" y="5797"/>
                  </a:lnTo>
                  <a:lnTo>
                    <a:pt x="55758" y="5797"/>
                  </a:lnTo>
                  <a:lnTo>
                    <a:pt x="55706" y="5618"/>
                  </a:lnTo>
                  <a:lnTo>
                    <a:pt x="55706" y="5618"/>
                  </a:lnTo>
                  <a:lnTo>
                    <a:pt x="55655" y="5439"/>
                  </a:lnTo>
                  <a:lnTo>
                    <a:pt x="55655" y="5439"/>
                  </a:lnTo>
                  <a:lnTo>
                    <a:pt x="55592" y="5260"/>
                  </a:lnTo>
                  <a:lnTo>
                    <a:pt x="55592" y="5260"/>
                  </a:lnTo>
                  <a:lnTo>
                    <a:pt x="55528" y="5082"/>
                  </a:lnTo>
                  <a:lnTo>
                    <a:pt x="55528" y="5082"/>
                  </a:lnTo>
                  <a:lnTo>
                    <a:pt x="55464" y="4903"/>
                  </a:lnTo>
                  <a:lnTo>
                    <a:pt x="55464" y="4903"/>
                  </a:lnTo>
                  <a:lnTo>
                    <a:pt x="55387" y="4724"/>
                  </a:lnTo>
                  <a:lnTo>
                    <a:pt x="55387" y="4724"/>
                  </a:lnTo>
                  <a:lnTo>
                    <a:pt x="55311" y="4558"/>
                  </a:lnTo>
                  <a:lnTo>
                    <a:pt x="55311" y="4558"/>
                  </a:lnTo>
                  <a:lnTo>
                    <a:pt x="55234" y="4392"/>
                  </a:lnTo>
                  <a:lnTo>
                    <a:pt x="55234" y="4392"/>
                  </a:lnTo>
                  <a:lnTo>
                    <a:pt x="55145" y="4226"/>
                  </a:lnTo>
                  <a:lnTo>
                    <a:pt x="55145" y="4226"/>
                  </a:lnTo>
                  <a:cubicBezTo>
                    <a:pt x="55119" y="4175"/>
                    <a:pt x="55094" y="4111"/>
                    <a:pt x="55055" y="4060"/>
                  </a:cubicBezTo>
                  <a:lnTo>
                    <a:pt x="55055" y="4060"/>
                  </a:lnTo>
                  <a:lnTo>
                    <a:pt x="54966" y="3894"/>
                  </a:lnTo>
                  <a:lnTo>
                    <a:pt x="54966" y="3894"/>
                  </a:lnTo>
                  <a:cubicBezTo>
                    <a:pt x="54940" y="3843"/>
                    <a:pt x="54902" y="3792"/>
                    <a:pt x="54877" y="3728"/>
                  </a:cubicBezTo>
                  <a:lnTo>
                    <a:pt x="54877" y="3728"/>
                  </a:lnTo>
                  <a:lnTo>
                    <a:pt x="54774" y="3575"/>
                  </a:lnTo>
                  <a:lnTo>
                    <a:pt x="54774" y="3575"/>
                  </a:lnTo>
                  <a:lnTo>
                    <a:pt x="54672" y="3422"/>
                  </a:lnTo>
                  <a:lnTo>
                    <a:pt x="54672" y="3422"/>
                  </a:lnTo>
                  <a:lnTo>
                    <a:pt x="54570" y="3269"/>
                  </a:lnTo>
                  <a:lnTo>
                    <a:pt x="54570" y="3269"/>
                  </a:lnTo>
                  <a:lnTo>
                    <a:pt x="54455" y="3115"/>
                  </a:lnTo>
                  <a:lnTo>
                    <a:pt x="54455" y="3115"/>
                  </a:lnTo>
                  <a:lnTo>
                    <a:pt x="54340" y="2975"/>
                  </a:lnTo>
                  <a:lnTo>
                    <a:pt x="54340" y="2975"/>
                  </a:lnTo>
                  <a:cubicBezTo>
                    <a:pt x="54302" y="2924"/>
                    <a:pt x="54264" y="2873"/>
                    <a:pt x="54225" y="2834"/>
                  </a:cubicBezTo>
                  <a:lnTo>
                    <a:pt x="54225" y="2834"/>
                  </a:lnTo>
                  <a:lnTo>
                    <a:pt x="54110" y="2694"/>
                  </a:lnTo>
                  <a:lnTo>
                    <a:pt x="54110" y="2694"/>
                  </a:lnTo>
                  <a:lnTo>
                    <a:pt x="53983" y="2554"/>
                  </a:lnTo>
                  <a:lnTo>
                    <a:pt x="53983" y="2554"/>
                  </a:lnTo>
                  <a:lnTo>
                    <a:pt x="53855" y="2413"/>
                  </a:lnTo>
                  <a:lnTo>
                    <a:pt x="53855" y="2413"/>
                  </a:lnTo>
                  <a:lnTo>
                    <a:pt x="53727" y="2285"/>
                  </a:lnTo>
                  <a:lnTo>
                    <a:pt x="53727" y="2285"/>
                  </a:lnTo>
                  <a:lnTo>
                    <a:pt x="53600" y="2158"/>
                  </a:lnTo>
                  <a:lnTo>
                    <a:pt x="53600" y="2158"/>
                  </a:lnTo>
                  <a:lnTo>
                    <a:pt x="53459" y="2030"/>
                  </a:lnTo>
                  <a:lnTo>
                    <a:pt x="53459" y="2030"/>
                  </a:lnTo>
                  <a:lnTo>
                    <a:pt x="53319" y="1902"/>
                  </a:lnTo>
                  <a:lnTo>
                    <a:pt x="53319" y="1902"/>
                  </a:lnTo>
                  <a:lnTo>
                    <a:pt x="53178" y="1787"/>
                  </a:lnTo>
                  <a:lnTo>
                    <a:pt x="53178" y="1787"/>
                  </a:lnTo>
                  <a:cubicBezTo>
                    <a:pt x="53127" y="1749"/>
                    <a:pt x="53076" y="1711"/>
                    <a:pt x="53038" y="1673"/>
                  </a:cubicBezTo>
                  <a:lnTo>
                    <a:pt x="53038" y="1673"/>
                  </a:lnTo>
                  <a:cubicBezTo>
                    <a:pt x="52987" y="1634"/>
                    <a:pt x="52936" y="1596"/>
                    <a:pt x="52898" y="1558"/>
                  </a:cubicBezTo>
                  <a:lnTo>
                    <a:pt x="52898" y="1558"/>
                  </a:lnTo>
                  <a:lnTo>
                    <a:pt x="52744" y="1443"/>
                  </a:lnTo>
                  <a:lnTo>
                    <a:pt x="52744" y="1443"/>
                  </a:lnTo>
                  <a:lnTo>
                    <a:pt x="52591" y="1341"/>
                  </a:lnTo>
                  <a:lnTo>
                    <a:pt x="52591" y="1341"/>
                  </a:lnTo>
                  <a:lnTo>
                    <a:pt x="52438" y="1238"/>
                  </a:lnTo>
                  <a:lnTo>
                    <a:pt x="52438" y="1238"/>
                  </a:lnTo>
                  <a:lnTo>
                    <a:pt x="52285" y="1136"/>
                  </a:lnTo>
                  <a:lnTo>
                    <a:pt x="52285" y="1136"/>
                  </a:lnTo>
                  <a:lnTo>
                    <a:pt x="52119" y="1047"/>
                  </a:lnTo>
                  <a:lnTo>
                    <a:pt x="52119" y="1047"/>
                  </a:lnTo>
                  <a:lnTo>
                    <a:pt x="51953" y="958"/>
                  </a:lnTo>
                  <a:lnTo>
                    <a:pt x="51953" y="958"/>
                  </a:lnTo>
                  <a:lnTo>
                    <a:pt x="51787" y="868"/>
                  </a:lnTo>
                  <a:lnTo>
                    <a:pt x="51787" y="868"/>
                  </a:lnTo>
                  <a:lnTo>
                    <a:pt x="51621" y="779"/>
                  </a:lnTo>
                  <a:lnTo>
                    <a:pt x="51621" y="779"/>
                  </a:lnTo>
                  <a:lnTo>
                    <a:pt x="51455" y="702"/>
                  </a:lnTo>
                  <a:lnTo>
                    <a:pt x="51455" y="702"/>
                  </a:lnTo>
                  <a:cubicBezTo>
                    <a:pt x="51404" y="677"/>
                    <a:pt x="51340" y="651"/>
                    <a:pt x="51289" y="626"/>
                  </a:cubicBezTo>
                  <a:lnTo>
                    <a:pt x="51289" y="626"/>
                  </a:lnTo>
                  <a:lnTo>
                    <a:pt x="51110" y="549"/>
                  </a:lnTo>
                  <a:lnTo>
                    <a:pt x="51110" y="549"/>
                  </a:lnTo>
                  <a:lnTo>
                    <a:pt x="50931" y="485"/>
                  </a:lnTo>
                  <a:lnTo>
                    <a:pt x="50931" y="485"/>
                  </a:lnTo>
                  <a:lnTo>
                    <a:pt x="50753" y="421"/>
                  </a:lnTo>
                  <a:lnTo>
                    <a:pt x="50753" y="421"/>
                  </a:lnTo>
                  <a:lnTo>
                    <a:pt x="50574" y="357"/>
                  </a:lnTo>
                  <a:lnTo>
                    <a:pt x="50574" y="357"/>
                  </a:lnTo>
                  <a:lnTo>
                    <a:pt x="50395" y="306"/>
                  </a:lnTo>
                  <a:lnTo>
                    <a:pt x="50395" y="306"/>
                  </a:lnTo>
                  <a:lnTo>
                    <a:pt x="50216" y="255"/>
                  </a:lnTo>
                  <a:lnTo>
                    <a:pt x="50216" y="255"/>
                  </a:lnTo>
                  <a:lnTo>
                    <a:pt x="50038" y="204"/>
                  </a:lnTo>
                  <a:lnTo>
                    <a:pt x="50038" y="204"/>
                  </a:lnTo>
                  <a:lnTo>
                    <a:pt x="49846" y="166"/>
                  </a:lnTo>
                  <a:lnTo>
                    <a:pt x="49846" y="166"/>
                  </a:lnTo>
                  <a:cubicBezTo>
                    <a:pt x="49782" y="153"/>
                    <a:pt x="49718" y="140"/>
                    <a:pt x="49654" y="128"/>
                  </a:cubicBezTo>
                  <a:lnTo>
                    <a:pt x="49654" y="128"/>
                  </a:lnTo>
                  <a:lnTo>
                    <a:pt x="49463" y="89"/>
                  </a:lnTo>
                  <a:lnTo>
                    <a:pt x="49463" y="89"/>
                  </a:lnTo>
                  <a:lnTo>
                    <a:pt x="49271" y="64"/>
                  </a:lnTo>
                  <a:lnTo>
                    <a:pt x="49271" y="64"/>
                  </a:lnTo>
                  <a:lnTo>
                    <a:pt x="49080" y="38"/>
                  </a:lnTo>
                  <a:lnTo>
                    <a:pt x="49080" y="38"/>
                  </a:lnTo>
                  <a:lnTo>
                    <a:pt x="48888" y="25"/>
                  </a:lnTo>
                  <a:lnTo>
                    <a:pt x="48888" y="25"/>
                  </a:lnTo>
                  <a:lnTo>
                    <a:pt x="48697" y="13"/>
                  </a:lnTo>
                  <a:lnTo>
                    <a:pt x="48697" y="13"/>
                  </a:lnTo>
                  <a:lnTo>
                    <a:pt x="48633" y="13"/>
                  </a:lnTo>
                  <a:cubicBezTo>
                    <a:pt x="48544" y="13"/>
                    <a:pt x="48467" y="13"/>
                    <a:pt x="48378" y="0"/>
                  </a:cubicBezTo>
                  <a:lnTo>
                    <a:pt x="48314" y="0"/>
                  </a:lnTo>
                  <a:lnTo>
                    <a:pt x="48314" y="0"/>
                  </a:lnTo>
                  <a:lnTo>
                    <a:pt x="45633" y="0"/>
                  </a:lnTo>
                  <a:lnTo>
                    <a:pt x="7763" y="0"/>
                  </a:lnTo>
                  <a:cubicBezTo>
                    <a:pt x="3473" y="0"/>
                    <a:pt x="0" y="3473"/>
                    <a:pt x="0" y="7725"/>
                  </a:cubicBezTo>
                  <a:lnTo>
                    <a:pt x="0" y="7725"/>
                  </a:lnTo>
                  <a:close/>
                  <a:moveTo>
                    <a:pt x="56000" y="7725"/>
                  </a:moveTo>
                  <a:lnTo>
                    <a:pt x="56000" y="7725"/>
                  </a:lnTo>
                  <a:lnTo>
                    <a:pt x="56000" y="7725"/>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6" name="Freeform: Shape 85">
              <a:extLst>
                <a:ext uri="{FF2B5EF4-FFF2-40B4-BE49-F238E27FC236}">
                  <a16:creationId xmlns:a16="http://schemas.microsoft.com/office/drawing/2014/main" id="{235A99B4-6DD8-4EBA-83CC-A8CB8D1084D8}"/>
                </a:ext>
              </a:extLst>
            </p:cNvPr>
            <p:cNvSpPr/>
            <p:nvPr/>
          </p:nvSpPr>
          <p:spPr>
            <a:xfrm>
              <a:off x="6663990" y="525194"/>
              <a:ext cx="232376" cy="214501"/>
            </a:xfrm>
            <a:custGeom>
              <a:avLst/>
              <a:gdLst>
                <a:gd name="connsiteX0" fmla="*/ 64 w 232376"/>
                <a:gd name="connsiteY0" fmla="*/ 69023 h 214500"/>
                <a:gd name="connsiteX1" fmla="*/ 6435 w 232376"/>
                <a:gd name="connsiteY1" fmla="*/ 59345 h 214500"/>
                <a:gd name="connsiteX2" fmla="*/ 31473 w 232376"/>
                <a:gd name="connsiteY2" fmla="*/ 59345 h 214500"/>
                <a:gd name="connsiteX3" fmla="*/ 42811 w 232376"/>
                <a:gd name="connsiteY3" fmla="*/ 68104 h 214500"/>
                <a:gd name="connsiteX4" fmla="*/ 42811 w 232376"/>
                <a:gd name="connsiteY4" fmla="*/ 70645 h 214500"/>
                <a:gd name="connsiteX5" fmla="*/ 50535 w 232376"/>
                <a:gd name="connsiteY5" fmla="*/ 78369 h 214500"/>
                <a:gd name="connsiteX6" fmla="*/ 54302 w 232376"/>
                <a:gd name="connsiteY6" fmla="*/ 78369 h 214500"/>
                <a:gd name="connsiteX7" fmla="*/ 65155 w 232376"/>
                <a:gd name="connsiteY7" fmla="*/ 89222 h 214500"/>
                <a:gd name="connsiteX8" fmla="*/ 65155 w 232376"/>
                <a:gd name="connsiteY8" fmla="*/ 90180 h 214500"/>
                <a:gd name="connsiteX9" fmla="*/ 65155 w 232376"/>
                <a:gd name="connsiteY9" fmla="*/ 90384 h 214500"/>
                <a:gd name="connsiteX10" fmla="*/ 65155 w 232376"/>
                <a:gd name="connsiteY10" fmla="*/ 90384 h 214500"/>
                <a:gd name="connsiteX11" fmla="*/ 65168 w 232376"/>
                <a:gd name="connsiteY11" fmla="*/ 90576 h 214500"/>
                <a:gd name="connsiteX12" fmla="*/ 65168 w 232376"/>
                <a:gd name="connsiteY12" fmla="*/ 90576 h 214500"/>
                <a:gd name="connsiteX13" fmla="*/ 65180 w 232376"/>
                <a:gd name="connsiteY13" fmla="*/ 90767 h 214500"/>
                <a:gd name="connsiteX14" fmla="*/ 65180 w 232376"/>
                <a:gd name="connsiteY14" fmla="*/ 90767 h 214500"/>
                <a:gd name="connsiteX15" fmla="*/ 65193 w 232376"/>
                <a:gd name="connsiteY15" fmla="*/ 90959 h 214500"/>
                <a:gd name="connsiteX16" fmla="*/ 65193 w 232376"/>
                <a:gd name="connsiteY16" fmla="*/ 90959 h 214500"/>
                <a:gd name="connsiteX17" fmla="*/ 65219 w 232376"/>
                <a:gd name="connsiteY17" fmla="*/ 91150 h 214500"/>
                <a:gd name="connsiteX18" fmla="*/ 65219 w 232376"/>
                <a:gd name="connsiteY18" fmla="*/ 91150 h 214500"/>
                <a:gd name="connsiteX19" fmla="*/ 65244 w 232376"/>
                <a:gd name="connsiteY19" fmla="*/ 91342 h 214500"/>
                <a:gd name="connsiteX20" fmla="*/ 65244 w 232376"/>
                <a:gd name="connsiteY20" fmla="*/ 91342 h 214500"/>
                <a:gd name="connsiteX21" fmla="*/ 65270 w 232376"/>
                <a:gd name="connsiteY21" fmla="*/ 91533 h 214500"/>
                <a:gd name="connsiteX22" fmla="*/ 65270 w 232376"/>
                <a:gd name="connsiteY22" fmla="*/ 91533 h 214500"/>
                <a:gd name="connsiteX23" fmla="*/ 68257 w 232376"/>
                <a:gd name="connsiteY23" fmla="*/ 96359 h 214500"/>
                <a:gd name="connsiteX24" fmla="*/ 68257 w 232376"/>
                <a:gd name="connsiteY24" fmla="*/ 96359 h 214500"/>
                <a:gd name="connsiteX25" fmla="*/ 68411 w 232376"/>
                <a:gd name="connsiteY25" fmla="*/ 96474 h 214500"/>
                <a:gd name="connsiteX26" fmla="*/ 68411 w 232376"/>
                <a:gd name="connsiteY26" fmla="*/ 96474 h 214500"/>
                <a:gd name="connsiteX27" fmla="*/ 68564 w 232376"/>
                <a:gd name="connsiteY27" fmla="*/ 96577 h 214500"/>
                <a:gd name="connsiteX28" fmla="*/ 68564 w 232376"/>
                <a:gd name="connsiteY28" fmla="*/ 96577 h 214500"/>
                <a:gd name="connsiteX29" fmla="*/ 68717 w 232376"/>
                <a:gd name="connsiteY29" fmla="*/ 96679 h 214500"/>
                <a:gd name="connsiteX30" fmla="*/ 68717 w 232376"/>
                <a:gd name="connsiteY30" fmla="*/ 96679 h 214500"/>
                <a:gd name="connsiteX31" fmla="*/ 68870 w 232376"/>
                <a:gd name="connsiteY31" fmla="*/ 96781 h 214500"/>
                <a:gd name="connsiteX32" fmla="*/ 68870 w 232376"/>
                <a:gd name="connsiteY32" fmla="*/ 96781 h 214500"/>
                <a:gd name="connsiteX33" fmla="*/ 68947 w 232376"/>
                <a:gd name="connsiteY33" fmla="*/ 96819 h 214500"/>
                <a:gd name="connsiteX34" fmla="*/ 69126 w 232376"/>
                <a:gd name="connsiteY34" fmla="*/ 96921 h 214500"/>
                <a:gd name="connsiteX35" fmla="*/ 69202 w 232376"/>
                <a:gd name="connsiteY35" fmla="*/ 96960 h 214500"/>
                <a:gd name="connsiteX36" fmla="*/ 69202 w 232376"/>
                <a:gd name="connsiteY36" fmla="*/ 96960 h 214500"/>
                <a:gd name="connsiteX37" fmla="*/ 69368 w 232376"/>
                <a:gd name="connsiteY37" fmla="*/ 97049 h 214500"/>
                <a:gd name="connsiteX38" fmla="*/ 69368 w 232376"/>
                <a:gd name="connsiteY38" fmla="*/ 97049 h 214500"/>
                <a:gd name="connsiteX39" fmla="*/ 69534 w 232376"/>
                <a:gd name="connsiteY39" fmla="*/ 97138 h 214500"/>
                <a:gd name="connsiteX40" fmla="*/ 69534 w 232376"/>
                <a:gd name="connsiteY40" fmla="*/ 97138 h 214500"/>
                <a:gd name="connsiteX41" fmla="*/ 69700 w 232376"/>
                <a:gd name="connsiteY41" fmla="*/ 97215 h 214500"/>
                <a:gd name="connsiteX42" fmla="*/ 69700 w 232376"/>
                <a:gd name="connsiteY42" fmla="*/ 97215 h 214500"/>
                <a:gd name="connsiteX43" fmla="*/ 69866 w 232376"/>
                <a:gd name="connsiteY43" fmla="*/ 97292 h 214500"/>
                <a:gd name="connsiteX44" fmla="*/ 69866 w 232376"/>
                <a:gd name="connsiteY44" fmla="*/ 97292 h 214500"/>
                <a:gd name="connsiteX45" fmla="*/ 70045 w 232376"/>
                <a:gd name="connsiteY45" fmla="*/ 97368 h 214500"/>
                <a:gd name="connsiteX46" fmla="*/ 70045 w 232376"/>
                <a:gd name="connsiteY46" fmla="*/ 97368 h 214500"/>
                <a:gd name="connsiteX47" fmla="*/ 70224 w 232376"/>
                <a:gd name="connsiteY47" fmla="*/ 97432 h 214500"/>
                <a:gd name="connsiteX48" fmla="*/ 70224 w 232376"/>
                <a:gd name="connsiteY48" fmla="*/ 97432 h 214500"/>
                <a:gd name="connsiteX49" fmla="*/ 70402 w 232376"/>
                <a:gd name="connsiteY49" fmla="*/ 97496 h 214500"/>
                <a:gd name="connsiteX50" fmla="*/ 70402 w 232376"/>
                <a:gd name="connsiteY50" fmla="*/ 97496 h 214500"/>
                <a:gd name="connsiteX51" fmla="*/ 70441 w 232376"/>
                <a:gd name="connsiteY51" fmla="*/ 97509 h 214500"/>
                <a:gd name="connsiteX52" fmla="*/ 70722 w 232376"/>
                <a:gd name="connsiteY52" fmla="*/ 97598 h 214500"/>
                <a:gd name="connsiteX53" fmla="*/ 70760 w 232376"/>
                <a:gd name="connsiteY53" fmla="*/ 97611 h 214500"/>
                <a:gd name="connsiteX54" fmla="*/ 70760 w 232376"/>
                <a:gd name="connsiteY54" fmla="*/ 97611 h 214500"/>
                <a:gd name="connsiteX55" fmla="*/ 70939 w 232376"/>
                <a:gd name="connsiteY55" fmla="*/ 97662 h 214500"/>
                <a:gd name="connsiteX56" fmla="*/ 70939 w 232376"/>
                <a:gd name="connsiteY56" fmla="*/ 97662 h 214500"/>
                <a:gd name="connsiteX57" fmla="*/ 71117 w 232376"/>
                <a:gd name="connsiteY57" fmla="*/ 97713 h 214500"/>
                <a:gd name="connsiteX58" fmla="*/ 71117 w 232376"/>
                <a:gd name="connsiteY58" fmla="*/ 97713 h 214500"/>
                <a:gd name="connsiteX59" fmla="*/ 71309 w 232376"/>
                <a:gd name="connsiteY59" fmla="*/ 97751 h 214500"/>
                <a:gd name="connsiteX60" fmla="*/ 71309 w 232376"/>
                <a:gd name="connsiteY60" fmla="*/ 97751 h 214500"/>
                <a:gd name="connsiteX61" fmla="*/ 71500 w 232376"/>
                <a:gd name="connsiteY61" fmla="*/ 97789 h 214500"/>
                <a:gd name="connsiteX62" fmla="*/ 71500 w 232376"/>
                <a:gd name="connsiteY62" fmla="*/ 97789 h 214500"/>
                <a:gd name="connsiteX63" fmla="*/ 71539 w 232376"/>
                <a:gd name="connsiteY63" fmla="*/ 97789 h 214500"/>
                <a:gd name="connsiteX64" fmla="*/ 71858 w 232376"/>
                <a:gd name="connsiteY64" fmla="*/ 97841 h 214500"/>
                <a:gd name="connsiteX65" fmla="*/ 71896 w 232376"/>
                <a:gd name="connsiteY65" fmla="*/ 97841 h 214500"/>
                <a:gd name="connsiteX66" fmla="*/ 71896 w 232376"/>
                <a:gd name="connsiteY66" fmla="*/ 97841 h 214500"/>
                <a:gd name="connsiteX67" fmla="*/ 72088 w 232376"/>
                <a:gd name="connsiteY67" fmla="*/ 97866 h 214500"/>
                <a:gd name="connsiteX68" fmla="*/ 72088 w 232376"/>
                <a:gd name="connsiteY68" fmla="*/ 97866 h 214500"/>
                <a:gd name="connsiteX69" fmla="*/ 72279 w 232376"/>
                <a:gd name="connsiteY69" fmla="*/ 97879 h 214500"/>
                <a:gd name="connsiteX70" fmla="*/ 72279 w 232376"/>
                <a:gd name="connsiteY70" fmla="*/ 97879 h 214500"/>
                <a:gd name="connsiteX71" fmla="*/ 72471 w 232376"/>
                <a:gd name="connsiteY71" fmla="*/ 97892 h 214500"/>
                <a:gd name="connsiteX72" fmla="*/ 72471 w 232376"/>
                <a:gd name="connsiteY72" fmla="*/ 97892 h 214500"/>
                <a:gd name="connsiteX73" fmla="*/ 72535 w 232376"/>
                <a:gd name="connsiteY73" fmla="*/ 97892 h 214500"/>
                <a:gd name="connsiteX74" fmla="*/ 72956 w 232376"/>
                <a:gd name="connsiteY74" fmla="*/ 97904 h 214500"/>
                <a:gd name="connsiteX75" fmla="*/ 75548 w 232376"/>
                <a:gd name="connsiteY75" fmla="*/ 97904 h 214500"/>
                <a:gd name="connsiteX76" fmla="*/ 75854 w 232376"/>
                <a:gd name="connsiteY76" fmla="*/ 97904 h 214500"/>
                <a:gd name="connsiteX77" fmla="*/ 86707 w 232376"/>
                <a:gd name="connsiteY77" fmla="*/ 108757 h 214500"/>
                <a:gd name="connsiteX78" fmla="*/ 86707 w 232376"/>
                <a:gd name="connsiteY78" fmla="*/ 109230 h 214500"/>
                <a:gd name="connsiteX79" fmla="*/ 86707 w 232376"/>
                <a:gd name="connsiteY79" fmla="*/ 109434 h 214500"/>
                <a:gd name="connsiteX80" fmla="*/ 86707 w 232376"/>
                <a:gd name="connsiteY80" fmla="*/ 109434 h 214500"/>
                <a:gd name="connsiteX81" fmla="*/ 86720 w 232376"/>
                <a:gd name="connsiteY81" fmla="*/ 109625 h 214500"/>
                <a:gd name="connsiteX82" fmla="*/ 86720 w 232376"/>
                <a:gd name="connsiteY82" fmla="*/ 109625 h 214500"/>
                <a:gd name="connsiteX83" fmla="*/ 86733 w 232376"/>
                <a:gd name="connsiteY83" fmla="*/ 109817 h 214500"/>
                <a:gd name="connsiteX84" fmla="*/ 86733 w 232376"/>
                <a:gd name="connsiteY84" fmla="*/ 109817 h 214500"/>
                <a:gd name="connsiteX85" fmla="*/ 86745 w 232376"/>
                <a:gd name="connsiteY85" fmla="*/ 110008 h 214500"/>
                <a:gd name="connsiteX86" fmla="*/ 86745 w 232376"/>
                <a:gd name="connsiteY86" fmla="*/ 110008 h 214500"/>
                <a:gd name="connsiteX87" fmla="*/ 86771 w 232376"/>
                <a:gd name="connsiteY87" fmla="*/ 110200 h 214500"/>
                <a:gd name="connsiteX88" fmla="*/ 86771 w 232376"/>
                <a:gd name="connsiteY88" fmla="*/ 110200 h 214500"/>
                <a:gd name="connsiteX89" fmla="*/ 86796 w 232376"/>
                <a:gd name="connsiteY89" fmla="*/ 110391 h 214500"/>
                <a:gd name="connsiteX90" fmla="*/ 86796 w 232376"/>
                <a:gd name="connsiteY90" fmla="*/ 110391 h 214500"/>
                <a:gd name="connsiteX91" fmla="*/ 86835 w 232376"/>
                <a:gd name="connsiteY91" fmla="*/ 110583 h 214500"/>
                <a:gd name="connsiteX92" fmla="*/ 86835 w 232376"/>
                <a:gd name="connsiteY92" fmla="*/ 110583 h 214500"/>
                <a:gd name="connsiteX93" fmla="*/ 86873 w 232376"/>
                <a:gd name="connsiteY93" fmla="*/ 110774 h 214500"/>
                <a:gd name="connsiteX94" fmla="*/ 86873 w 232376"/>
                <a:gd name="connsiteY94" fmla="*/ 110774 h 214500"/>
                <a:gd name="connsiteX95" fmla="*/ 86911 w 232376"/>
                <a:gd name="connsiteY95" fmla="*/ 110966 h 214500"/>
                <a:gd name="connsiteX96" fmla="*/ 86911 w 232376"/>
                <a:gd name="connsiteY96" fmla="*/ 110966 h 214500"/>
                <a:gd name="connsiteX97" fmla="*/ 86962 w 232376"/>
                <a:gd name="connsiteY97" fmla="*/ 111157 h 214500"/>
                <a:gd name="connsiteX98" fmla="*/ 86962 w 232376"/>
                <a:gd name="connsiteY98" fmla="*/ 111157 h 214500"/>
                <a:gd name="connsiteX99" fmla="*/ 93844 w 232376"/>
                <a:gd name="connsiteY99" fmla="*/ 116929 h 214500"/>
                <a:gd name="connsiteX100" fmla="*/ 93844 w 232376"/>
                <a:gd name="connsiteY100" fmla="*/ 116929 h 214500"/>
                <a:gd name="connsiteX101" fmla="*/ 94036 w 232376"/>
                <a:gd name="connsiteY101" fmla="*/ 116941 h 214500"/>
                <a:gd name="connsiteX102" fmla="*/ 94036 w 232376"/>
                <a:gd name="connsiteY102" fmla="*/ 116941 h 214500"/>
                <a:gd name="connsiteX103" fmla="*/ 94100 w 232376"/>
                <a:gd name="connsiteY103" fmla="*/ 116941 h 214500"/>
                <a:gd name="connsiteX104" fmla="*/ 94521 w 232376"/>
                <a:gd name="connsiteY104" fmla="*/ 116954 h 214500"/>
                <a:gd name="connsiteX105" fmla="*/ 95517 w 232376"/>
                <a:gd name="connsiteY105" fmla="*/ 116954 h 214500"/>
                <a:gd name="connsiteX106" fmla="*/ 106370 w 232376"/>
                <a:gd name="connsiteY106" fmla="*/ 127807 h 214500"/>
                <a:gd name="connsiteX107" fmla="*/ 106370 w 232376"/>
                <a:gd name="connsiteY107" fmla="*/ 128279 h 214500"/>
                <a:gd name="connsiteX108" fmla="*/ 106370 w 232376"/>
                <a:gd name="connsiteY108" fmla="*/ 128484 h 214500"/>
                <a:gd name="connsiteX109" fmla="*/ 106370 w 232376"/>
                <a:gd name="connsiteY109" fmla="*/ 128484 h 214500"/>
                <a:gd name="connsiteX110" fmla="*/ 106382 w 232376"/>
                <a:gd name="connsiteY110" fmla="*/ 128675 h 214500"/>
                <a:gd name="connsiteX111" fmla="*/ 106382 w 232376"/>
                <a:gd name="connsiteY111" fmla="*/ 128675 h 214500"/>
                <a:gd name="connsiteX112" fmla="*/ 106395 w 232376"/>
                <a:gd name="connsiteY112" fmla="*/ 128867 h 214500"/>
                <a:gd name="connsiteX113" fmla="*/ 106395 w 232376"/>
                <a:gd name="connsiteY113" fmla="*/ 128867 h 214500"/>
                <a:gd name="connsiteX114" fmla="*/ 106408 w 232376"/>
                <a:gd name="connsiteY114" fmla="*/ 129058 h 214500"/>
                <a:gd name="connsiteX115" fmla="*/ 106408 w 232376"/>
                <a:gd name="connsiteY115" fmla="*/ 129058 h 214500"/>
                <a:gd name="connsiteX116" fmla="*/ 106433 w 232376"/>
                <a:gd name="connsiteY116" fmla="*/ 129250 h 214500"/>
                <a:gd name="connsiteX117" fmla="*/ 106433 w 232376"/>
                <a:gd name="connsiteY117" fmla="*/ 129250 h 214500"/>
                <a:gd name="connsiteX118" fmla="*/ 106459 w 232376"/>
                <a:gd name="connsiteY118" fmla="*/ 129441 h 214500"/>
                <a:gd name="connsiteX119" fmla="*/ 106459 w 232376"/>
                <a:gd name="connsiteY119" fmla="*/ 129441 h 214500"/>
                <a:gd name="connsiteX120" fmla="*/ 110340 w 232376"/>
                <a:gd name="connsiteY120" fmla="*/ 135021 h 214500"/>
                <a:gd name="connsiteX121" fmla="*/ 110417 w 232376"/>
                <a:gd name="connsiteY121" fmla="*/ 135059 h 214500"/>
                <a:gd name="connsiteX122" fmla="*/ 110417 w 232376"/>
                <a:gd name="connsiteY122" fmla="*/ 135059 h 214500"/>
                <a:gd name="connsiteX123" fmla="*/ 110583 w 232376"/>
                <a:gd name="connsiteY123" fmla="*/ 135148 h 214500"/>
                <a:gd name="connsiteX124" fmla="*/ 110583 w 232376"/>
                <a:gd name="connsiteY124" fmla="*/ 135148 h 214500"/>
                <a:gd name="connsiteX125" fmla="*/ 110749 w 232376"/>
                <a:gd name="connsiteY125" fmla="*/ 135238 h 214500"/>
                <a:gd name="connsiteX126" fmla="*/ 110749 w 232376"/>
                <a:gd name="connsiteY126" fmla="*/ 135238 h 214500"/>
                <a:gd name="connsiteX127" fmla="*/ 110915 w 232376"/>
                <a:gd name="connsiteY127" fmla="*/ 135314 h 214500"/>
                <a:gd name="connsiteX128" fmla="*/ 110915 w 232376"/>
                <a:gd name="connsiteY128" fmla="*/ 135314 h 214500"/>
                <a:gd name="connsiteX129" fmla="*/ 111081 w 232376"/>
                <a:gd name="connsiteY129" fmla="*/ 135391 h 214500"/>
                <a:gd name="connsiteX130" fmla="*/ 111081 w 232376"/>
                <a:gd name="connsiteY130" fmla="*/ 135391 h 214500"/>
                <a:gd name="connsiteX131" fmla="*/ 111260 w 232376"/>
                <a:gd name="connsiteY131" fmla="*/ 135468 h 214500"/>
                <a:gd name="connsiteX132" fmla="*/ 111260 w 232376"/>
                <a:gd name="connsiteY132" fmla="*/ 135468 h 214500"/>
                <a:gd name="connsiteX133" fmla="*/ 111438 w 232376"/>
                <a:gd name="connsiteY133" fmla="*/ 135531 h 214500"/>
                <a:gd name="connsiteX134" fmla="*/ 111438 w 232376"/>
                <a:gd name="connsiteY134" fmla="*/ 135531 h 214500"/>
                <a:gd name="connsiteX135" fmla="*/ 111617 w 232376"/>
                <a:gd name="connsiteY135" fmla="*/ 135595 h 214500"/>
                <a:gd name="connsiteX136" fmla="*/ 111617 w 232376"/>
                <a:gd name="connsiteY136" fmla="*/ 135595 h 214500"/>
                <a:gd name="connsiteX137" fmla="*/ 111656 w 232376"/>
                <a:gd name="connsiteY137" fmla="*/ 135608 h 214500"/>
                <a:gd name="connsiteX138" fmla="*/ 111936 w 232376"/>
                <a:gd name="connsiteY138" fmla="*/ 135697 h 214500"/>
                <a:gd name="connsiteX139" fmla="*/ 111975 w 232376"/>
                <a:gd name="connsiteY139" fmla="*/ 135710 h 214500"/>
                <a:gd name="connsiteX140" fmla="*/ 111975 w 232376"/>
                <a:gd name="connsiteY140" fmla="*/ 135710 h 214500"/>
                <a:gd name="connsiteX141" fmla="*/ 112153 w 232376"/>
                <a:gd name="connsiteY141" fmla="*/ 135761 h 214500"/>
                <a:gd name="connsiteX142" fmla="*/ 112153 w 232376"/>
                <a:gd name="connsiteY142" fmla="*/ 135761 h 214500"/>
                <a:gd name="connsiteX143" fmla="*/ 112332 w 232376"/>
                <a:gd name="connsiteY143" fmla="*/ 135812 h 214500"/>
                <a:gd name="connsiteX144" fmla="*/ 112332 w 232376"/>
                <a:gd name="connsiteY144" fmla="*/ 135812 h 214500"/>
                <a:gd name="connsiteX145" fmla="*/ 112524 w 232376"/>
                <a:gd name="connsiteY145" fmla="*/ 135851 h 214500"/>
                <a:gd name="connsiteX146" fmla="*/ 112524 w 232376"/>
                <a:gd name="connsiteY146" fmla="*/ 135851 h 214500"/>
                <a:gd name="connsiteX147" fmla="*/ 112715 w 232376"/>
                <a:gd name="connsiteY147" fmla="*/ 135889 h 214500"/>
                <a:gd name="connsiteX148" fmla="*/ 112715 w 232376"/>
                <a:gd name="connsiteY148" fmla="*/ 135889 h 214500"/>
                <a:gd name="connsiteX149" fmla="*/ 112754 w 232376"/>
                <a:gd name="connsiteY149" fmla="*/ 135889 h 214500"/>
                <a:gd name="connsiteX150" fmla="*/ 113073 w 232376"/>
                <a:gd name="connsiteY150" fmla="*/ 135940 h 214500"/>
                <a:gd name="connsiteX151" fmla="*/ 113111 w 232376"/>
                <a:gd name="connsiteY151" fmla="*/ 135940 h 214500"/>
                <a:gd name="connsiteX152" fmla="*/ 113111 w 232376"/>
                <a:gd name="connsiteY152" fmla="*/ 135940 h 214500"/>
                <a:gd name="connsiteX153" fmla="*/ 113303 w 232376"/>
                <a:gd name="connsiteY153" fmla="*/ 135966 h 214500"/>
                <a:gd name="connsiteX154" fmla="*/ 113303 w 232376"/>
                <a:gd name="connsiteY154" fmla="*/ 135966 h 214500"/>
                <a:gd name="connsiteX155" fmla="*/ 113494 w 232376"/>
                <a:gd name="connsiteY155" fmla="*/ 135978 h 214500"/>
                <a:gd name="connsiteX156" fmla="*/ 113494 w 232376"/>
                <a:gd name="connsiteY156" fmla="*/ 135978 h 214500"/>
                <a:gd name="connsiteX157" fmla="*/ 113686 w 232376"/>
                <a:gd name="connsiteY157" fmla="*/ 135991 h 214500"/>
                <a:gd name="connsiteX158" fmla="*/ 113686 w 232376"/>
                <a:gd name="connsiteY158" fmla="*/ 135991 h 214500"/>
                <a:gd name="connsiteX159" fmla="*/ 113749 w 232376"/>
                <a:gd name="connsiteY159" fmla="*/ 135991 h 214500"/>
                <a:gd name="connsiteX160" fmla="*/ 114171 w 232376"/>
                <a:gd name="connsiteY160" fmla="*/ 136004 h 214500"/>
                <a:gd name="connsiteX161" fmla="*/ 116775 w 232376"/>
                <a:gd name="connsiteY161" fmla="*/ 136004 h 214500"/>
                <a:gd name="connsiteX162" fmla="*/ 117708 w 232376"/>
                <a:gd name="connsiteY162" fmla="*/ 136004 h 214500"/>
                <a:gd name="connsiteX163" fmla="*/ 128560 w 232376"/>
                <a:gd name="connsiteY163" fmla="*/ 146857 h 214500"/>
                <a:gd name="connsiteX164" fmla="*/ 128560 w 232376"/>
                <a:gd name="connsiteY164" fmla="*/ 148172 h 214500"/>
                <a:gd name="connsiteX165" fmla="*/ 128560 w 232376"/>
                <a:gd name="connsiteY165" fmla="*/ 148363 h 214500"/>
                <a:gd name="connsiteX166" fmla="*/ 128560 w 232376"/>
                <a:gd name="connsiteY166" fmla="*/ 148363 h 214500"/>
                <a:gd name="connsiteX167" fmla="*/ 128573 w 232376"/>
                <a:gd name="connsiteY167" fmla="*/ 148555 h 214500"/>
                <a:gd name="connsiteX168" fmla="*/ 128573 w 232376"/>
                <a:gd name="connsiteY168" fmla="*/ 148555 h 214500"/>
                <a:gd name="connsiteX169" fmla="*/ 128586 w 232376"/>
                <a:gd name="connsiteY169" fmla="*/ 148746 h 214500"/>
                <a:gd name="connsiteX170" fmla="*/ 128586 w 232376"/>
                <a:gd name="connsiteY170" fmla="*/ 148746 h 214500"/>
                <a:gd name="connsiteX171" fmla="*/ 128599 w 232376"/>
                <a:gd name="connsiteY171" fmla="*/ 148938 h 214500"/>
                <a:gd name="connsiteX172" fmla="*/ 128599 w 232376"/>
                <a:gd name="connsiteY172" fmla="*/ 148938 h 214500"/>
                <a:gd name="connsiteX173" fmla="*/ 128624 w 232376"/>
                <a:gd name="connsiteY173" fmla="*/ 149129 h 214500"/>
                <a:gd name="connsiteX174" fmla="*/ 128624 w 232376"/>
                <a:gd name="connsiteY174" fmla="*/ 149129 h 214500"/>
                <a:gd name="connsiteX175" fmla="*/ 128650 w 232376"/>
                <a:gd name="connsiteY175" fmla="*/ 149321 h 214500"/>
                <a:gd name="connsiteX176" fmla="*/ 128650 w 232376"/>
                <a:gd name="connsiteY176" fmla="*/ 149321 h 214500"/>
                <a:gd name="connsiteX177" fmla="*/ 128675 w 232376"/>
                <a:gd name="connsiteY177" fmla="*/ 149512 h 214500"/>
                <a:gd name="connsiteX178" fmla="*/ 128675 w 232376"/>
                <a:gd name="connsiteY178" fmla="*/ 149512 h 214500"/>
                <a:gd name="connsiteX179" fmla="*/ 128713 w 232376"/>
                <a:gd name="connsiteY179" fmla="*/ 149704 h 214500"/>
                <a:gd name="connsiteX180" fmla="*/ 128713 w 232376"/>
                <a:gd name="connsiteY180" fmla="*/ 149704 h 214500"/>
                <a:gd name="connsiteX181" fmla="*/ 128752 w 232376"/>
                <a:gd name="connsiteY181" fmla="*/ 149895 h 214500"/>
                <a:gd name="connsiteX182" fmla="*/ 128752 w 232376"/>
                <a:gd name="connsiteY182" fmla="*/ 149895 h 214500"/>
                <a:gd name="connsiteX183" fmla="*/ 128803 w 232376"/>
                <a:gd name="connsiteY183" fmla="*/ 150087 h 214500"/>
                <a:gd name="connsiteX184" fmla="*/ 128803 w 232376"/>
                <a:gd name="connsiteY184" fmla="*/ 150087 h 214500"/>
                <a:gd name="connsiteX185" fmla="*/ 128854 w 232376"/>
                <a:gd name="connsiteY185" fmla="*/ 150266 h 214500"/>
                <a:gd name="connsiteX186" fmla="*/ 128854 w 232376"/>
                <a:gd name="connsiteY186" fmla="*/ 150266 h 214500"/>
                <a:gd name="connsiteX187" fmla="*/ 128905 w 232376"/>
                <a:gd name="connsiteY187" fmla="*/ 150444 h 214500"/>
                <a:gd name="connsiteX188" fmla="*/ 128905 w 232376"/>
                <a:gd name="connsiteY188" fmla="*/ 150444 h 214500"/>
                <a:gd name="connsiteX189" fmla="*/ 128969 w 232376"/>
                <a:gd name="connsiteY189" fmla="*/ 150623 h 214500"/>
                <a:gd name="connsiteX190" fmla="*/ 128969 w 232376"/>
                <a:gd name="connsiteY190" fmla="*/ 150623 h 214500"/>
                <a:gd name="connsiteX191" fmla="*/ 129033 w 232376"/>
                <a:gd name="connsiteY191" fmla="*/ 150802 h 214500"/>
                <a:gd name="connsiteX192" fmla="*/ 129033 w 232376"/>
                <a:gd name="connsiteY192" fmla="*/ 150802 h 214500"/>
                <a:gd name="connsiteX193" fmla="*/ 129097 w 232376"/>
                <a:gd name="connsiteY193" fmla="*/ 150981 h 214500"/>
                <a:gd name="connsiteX194" fmla="*/ 129097 w 232376"/>
                <a:gd name="connsiteY194" fmla="*/ 150981 h 214500"/>
                <a:gd name="connsiteX195" fmla="*/ 129173 w 232376"/>
                <a:gd name="connsiteY195" fmla="*/ 151159 h 214500"/>
                <a:gd name="connsiteX196" fmla="*/ 129173 w 232376"/>
                <a:gd name="connsiteY196" fmla="*/ 151159 h 214500"/>
                <a:gd name="connsiteX197" fmla="*/ 129250 w 232376"/>
                <a:gd name="connsiteY197" fmla="*/ 151325 h 214500"/>
                <a:gd name="connsiteX198" fmla="*/ 129250 w 232376"/>
                <a:gd name="connsiteY198" fmla="*/ 151325 h 214500"/>
                <a:gd name="connsiteX199" fmla="*/ 129326 w 232376"/>
                <a:gd name="connsiteY199" fmla="*/ 151491 h 214500"/>
                <a:gd name="connsiteX200" fmla="*/ 129326 w 232376"/>
                <a:gd name="connsiteY200" fmla="*/ 151491 h 214500"/>
                <a:gd name="connsiteX201" fmla="*/ 129416 w 232376"/>
                <a:gd name="connsiteY201" fmla="*/ 151657 h 214500"/>
                <a:gd name="connsiteX202" fmla="*/ 129416 w 232376"/>
                <a:gd name="connsiteY202" fmla="*/ 151657 h 214500"/>
                <a:gd name="connsiteX203" fmla="*/ 129505 w 232376"/>
                <a:gd name="connsiteY203" fmla="*/ 151823 h 214500"/>
                <a:gd name="connsiteX204" fmla="*/ 129505 w 232376"/>
                <a:gd name="connsiteY204" fmla="*/ 151823 h 214500"/>
                <a:gd name="connsiteX205" fmla="*/ 129594 w 232376"/>
                <a:gd name="connsiteY205" fmla="*/ 151989 h 214500"/>
                <a:gd name="connsiteX206" fmla="*/ 129594 w 232376"/>
                <a:gd name="connsiteY206" fmla="*/ 151989 h 214500"/>
                <a:gd name="connsiteX207" fmla="*/ 129684 w 232376"/>
                <a:gd name="connsiteY207" fmla="*/ 152155 h 214500"/>
                <a:gd name="connsiteX208" fmla="*/ 129684 w 232376"/>
                <a:gd name="connsiteY208" fmla="*/ 152155 h 214500"/>
                <a:gd name="connsiteX209" fmla="*/ 129786 w 232376"/>
                <a:gd name="connsiteY209" fmla="*/ 152308 h 214500"/>
                <a:gd name="connsiteX210" fmla="*/ 129786 w 232376"/>
                <a:gd name="connsiteY210" fmla="*/ 152308 h 214500"/>
                <a:gd name="connsiteX211" fmla="*/ 129888 w 232376"/>
                <a:gd name="connsiteY211" fmla="*/ 152462 h 214500"/>
                <a:gd name="connsiteX212" fmla="*/ 129888 w 232376"/>
                <a:gd name="connsiteY212" fmla="*/ 152462 h 214500"/>
                <a:gd name="connsiteX213" fmla="*/ 129990 w 232376"/>
                <a:gd name="connsiteY213" fmla="*/ 152615 h 214500"/>
                <a:gd name="connsiteX214" fmla="*/ 129990 w 232376"/>
                <a:gd name="connsiteY214" fmla="*/ 152615 h 214500"/>
                <a:gd name="connsiteX215" fmla="*/ 130105 w 232376"/>
                <a:gd name="connsiteY215" fmla="*/ 152768 h 214500"/>
                <a:gd name="connsiteX216" fmla="*/ 130105 w 232376"/>
                <a:gd name="connsiteY216" fmla="*/ 152768 h 214500"/>
                <a:gd name="connsiteX217" fmla="*/ 130220 w 232376"/>
                <a:gd name="connsiteY217" fmla="*/ 152921 h 214500"/>
                <a:gd name="connsiteX218" fmla="*/ 130220 w 232376"/>
                <a:gd name="connsiteY218" fmla="*/ 152921 h 214500"/>
                <a:gd name="connsiteX219" fmla="*/ 130335 w 232376"/>
                <a:gd name="connsiteY219" fmla="*/ 153062 h 214500"/>
                <a:gd name="connsiteX220" fmla="*/ 130335 w 232376"/>
                <a:gd name="connsiteY220" fmla="*/ 153062 h 214500"/>
                <a:gd name="connsiteX221" fmla="*/ 130450 w 232376"/>
                <a:gd name="connsiteY221" fmla="*/ 153202 h 214500"/>
                <a:gd name="connsiteX222" fmla="*/ 130450 w 232376"/>
                <a:gd name="connsiteY222" fmla="*/ 153202 h 214500"/>
                <a:gd name="connsiteX223" fmla="*/ 130578 w 232376"/>
                <a:gd name="connsiteY223" fmla="*/ 153343 h 214500"/>
                <a:gd name="connsiteX224" fmla="*/ 130578 w 232376"/>
                <a:gd name="connsiteY224" fmla="*/ 153343 h 214500"/>
                <a:gd name="connsiteX225" fmla="*/ 130705 w 232376"/>
                <a:gd name="connsiteY225" fmla="*/ 153483 h 214500"/>
                <a:gd name="connsiteX226" fmla="*/ 130705 w 232376"/>
                <a:gd name="connsiteY226" fmla="*/ 153483 h 214500"/>
                <a:gd name="connsiteX227" fmla="*/ 130833 w 232376"/>
                <a:gd name="connsiteY227" fmla="*/ 153611 h 214500"/>
                <a:gd name="connsiteX228" fmla="*/ 130833 w 232376"/>
                <a:gd name="connsiteY228" fmla="*/ 153611 h 214500"/>
                <a:gd name="connsiteX229" fmla="*/ 130961 w 232376"/>
                <a:gd name="connsiteY229" fmla="*/ 153738 h 214500"/>
                <a:gd name="connsiteX230" fmla="*/ 130961 w 232376"/>
                <a:gd name="connsiteY230" fmla="*/ 153738 h 214500"/>
                <a:gd name="connsiteX231" fmla="*/ 131101 w 232376"/>
                <a:gd name="connsiteY231" fmla="*/ 153866 h 214500"/>
                <a:gd name="connsiteX232" fmla="*/ 131101 w 232376"/>
                <a:gd name="connsiteY232" fmla="*/ 153866 h 214500"/>
                <a:gd name="connsiteX233" fmla="*/ 131242 w 232376"/>
                <a:gd name="connsiteY233" fmla="*/ 153994 h 214500"/>
                <a:gd name="connsiteX234" fmla="*/ 131242 w 232376"/>
                <a:gd name="connsiteY234" fmla="*/ 153994 h 214500"/>
                <a:gd name="connsiteX235" fmla="*/ 131382 w 232376"/>
                <a:gd name="connsiteY235" fmla="*/ 154109 h 214500"/>
                <a:gd name="connsiteX236" fmla="*/ 131382 w 232376"/>
                <a:gd name="connsiteY236" fmla="*/ 154109 h 214500"/>
                <a:gd name="connsiteX237" fmla="*/ 131522 w 232376"/>
                <a:gd name="connsiteY237" fmla="*/ 154224 h 214500"/>
                <a:gd name="connsiteX238" fmla="*/ 131522 w 232376"/>
                <a:gd name="connsiteY238" fmla="*/ 154224 h 214500"/>
                <a:gd name="connsiteX239" fmla="*/ 131663 w 232376"/>
                <a:gd name="connsiteY239" fmla="*/ 154339 h 214500"/>
                <a:gd name="connsiteX240" fmla="*/ 131663 w 232376"/>
                <a:gd name="connsiteY240" fmla="*/ 154339 h 214500"/>
                <a:gd name="connsiteX241" fmla="*/ 131816 w 232376"/>
                <a:gd name="connsiteY241" fmla="*/ 154453 h 214500"/>
                <a:gd name="connsiteX242" fmla="*/ 131816 w 232376"/>
                <a:gd name="connsiteY242" fmla="*/ 154453 h 214500"/>
                <a:gd name="connsiteX243" fmla="*/ 131969 w 232376"/>
                <a:gd name="connsiteY243" fmla="*/ 154556 h 214500"/>
                <a:gd name="connsiteX244" fmla="*/ 131969 w 232376"/>
                <a:gd name="connsiteY244" fmla="*/ 154556 h 214500"/>
                <a:gd name="connsiteX245" fmla="*/ 132123 w 232376"/>
                <a:gd name="connsiteY245" fmla="*/ 154658 h 214500"/>
                <a:gd name="connsiteX246" fmla="*/ 132123 w 232376"/>
                <a:gd name="connsiteY246" fmla="*/ 154658 h 214500"/>
                <a:gd name="connsiteX247" fmla="*/ 132276 w 232376"/>
                <a:gd name="connsiteY247" fmla="*/ 154760 h 214500"/>
                <a:gd name="connsiteX248" fmla="*/ 132276 w 232376"/>
                <a:gd name="connsiteY248" fmla="*/ 154760 h 214500"/>
                <a:gd name="connsiteX249" fmla="*/ 132442 w 232376"/>
                <a:gd name="connsiteY249" fmla="*/ 154849 h 214500"/>
                <a:gd name="connsiteX250" fmla="*/ 132442 w 232376"/>
                <a:gd name="connsiteY250" fmla="*/ 154849 h 214500"/>
                <a:gd name="connsiteX251" fmla="*/ 132608 w 232376"/>
                <a:gd name="connsiteY251" fmla="*/ 154939 h 214500"/>
                <a:gd name="connsiteX252" fmla="*/ 132608 w 232376"/>
                <a:gd name="connsiteY252" fmla="*/ 154939 h 214500"/>
                <a:gd name="connsiteX253" fmla="*/ 132774 w 232376"/>
                <a:gd name="connsiteY253" fmla="*/ 155028 h 214500"/>
                <a:gd name="connsiteX254" fmla="*/ 132774 w 232376"/>
                <a:gd name="connsiteY254" fmla="*/ 155028 h 214500"/>
                <a:gd name="connsiteX255" fmla="*/ 132940 w 232376"/>
                <a:gd name="connsiteY255" fmla="*/ 155117 h 214500"/>
                <a:gd name="connsiteX256" fmla="*/ 132940 w 232376"/>
                <a:gd name="connsiteY256" fmla="*/ 155117 h 214500"/>
                <a:gd name="connsiteX257" fmla="*/ 133106 w 232376"/>
                <a:gd name="connsiteY257" fmla="*/ 155194 h 214500"/>
                <a:gd name="connsiteX258" fmla="*/ 133106 w 232376"/>
                <a:gd name="connsiteY258" fmla="*/ 155194 h 214500"/>
                <a:gd name="connsiteX259" fmla="*/ 133272 w 232376"/>
                <a:gd name="connsiteY259" fmla="*/ 155271 h 214500"/>
                <a:gd name="connsiteX260" fmla="*/ 133272 w 232376"/>
                <a:gd name="connsiteY260" fmla="*/ 155271 h 214500"/>
                <a:gd name="connsiteX261" fmla="*/ 133450 w 232376"/>
                <a:gd name="connsiteY261" fmla="*/ 155347 h 214500"/>
                <a:gd name="connsiteX262" fmla="*/ 133450 w 232376"/>
                <a:gd name="connsiteY262" fmla="*/ 155347 h 214500"/>
                <a:gd name="connsiteX263" fmla="*/ 133629 w 232376"/>
                <a:gd name="connsiteY263" fmla="*/ 155411 h 214500"/>
                <a:gd name="connsiteX264" fmla="*/ 133629 w 232376"/>
                <a:gd name="connsiteY264" fmla="*/ 155411 h 214500"/>
                <a:gd name="connsiteX265" fmla="*/ 133808 w 232376"/>
                <a:gd name="connsiteY265" fmla="*/ 155475 h 214500"/>
                <a:gd name="connsiteX266" fmla="*/ 133808 w 232376"/>
                <a:gd name="connsiteY266" fmla="*/ 155475 h 214500"/>
                <a:gd name="connsiteX267" fmla="*/ 133987 w 232376"/>
                <a:gd name="connsiteY267" fmla="*/ 155539 h 214500"/>
                <a:gd name="connsiteX268" fmla="*/ 133987 w 232376"/>
                <a:gd name="connsiteY268" fmla="*/ 155539 h 214500"/>
                <a:gd name="connsiteX269" fmla="*/ 134165 w 232376"/>
                <a:gd name="connsiteY269" fmla="*/ 155590 h 214500"/>
                <a:gd name="connsiteX270" fmla="*/ 134165 w 232376"/>
                <a:gd name="connsiteY270" fmla="*/ 155590 h 214500"/>
                <a:gd name="connsiteX271" fmla="*/ 134344 w 232376"/>
                <a:gd name="connsiteY271" fmla="*/ 155641 h 214500"/>
                <a:gd name="connsiteX272" fmla="*/ 134344 w 232376"/>
                <a:gd name="connsiteY272" fmla="*/ 155641 h 214500"/>
                <a:gd name="connsiteX273" fmla="*/ 134523 w 232376"/>
                <a:gd name="connsiteY273" fmla="*/ 155692 h 214500"/>
                <a:gd name="connsiteX274" fmla="*/ 134523 w 232376"/>
                <a:gd name="connsiteY274" fmla="*/ 155692 h 214500"/>
                <a:gd name="connsiteX275" fmla="*/ 134714 w 232376"/>
                <a:gd name="connsiteY275" fmla="*/ 155730 h 214500"/>
                <a:gd name="connsiteX276" fmla="*/ 134714 w 232376"/>
                <a:gd name="connsiteY276" fmla="*/ 155730 h 214500"/>
                <a:gd name="connsiteX277" fmla="*/ 134906 w 232376"/>
                <a:gd name="connsiteY277" fmla="*/ 155769 h 214500"/>
                <a:gd name="connsiteX278" fmla="*/ 134906 w 232376"/>
                <a:gd name="connsiteY278" fmla="*/ 155769 h 214500"/>
                <a:gd name="connsiteX279" fmla="*/ 135097 w 232376"/>
                <a:gd name="connsiteY279" fmla="*/ 155807 h 214500"/>
                <a:gd name="connsiteX280" fmla="*/ 135097 w 232376"/>
                <a:gd name="connsiteY280" fmla="*/ 155807 h 214500"/>
                <a:gd name="connsiteX281" fmla="*/ 135289 w 232376"/>
                <a:gd name="connsiteY281" fmla="*/ 155832 h 214500"/>
                <a:gd name="connsiteX282" fmla="*/ 135289 w 232376"/>
                <a:gd name="connsiteY282" fmla="*/ 155832 h 214500"/>
                <a:gd name="connsiteX283" fmla="*/ 135480 w 232376"/>
                <a:gd name="connsiteY283" fmla="*/ 155858 h 214500"/>
                <a:gd name="connsiteX284" fmla="*/ 135480 w 232376"/>
                <a:gd name="connsiteY284" fmla="*/ 155858 h 214500"/>
                <a:gd name="connsiteX285" fmla="*/ 135672 w 232376"/>
                <a:gd name="connsiteY285" fmla="*/ 155871 h 214500"/>
                <a:gd name="connsiteX286" fmla="*/ 135672 w 232376"/>
                <a:gd name="connsiteY286" fmla="*/ 155871 h 214500"/>
                <a:gd name="connsiteX287" fmla="*/ 135864 w 232376"/>
                <a:gd name="connsiteY287" fmla="*/ 155883 h 214500"/>
                <a:gd name="connsiteX288" fmla="*/ 135864 w 232376"/>
                <a:gd name="connsiteY288" fmla="*/ 155883 h 214500"/>
                <a:gd name="connsiteX289" fmla="*/ 135927 w 232376"/>
                <a:gd name="connsiteY289" fmla="*/ 155883 h 214500"/>
                <a:gd name="connsiteX290" fmla="*/ 136349 w 232376"/>
                <a:gd name="connsiteY290" fmla="*/ 155896 h 214500"/>
                <a:gd name="connsiteX291" fmla="*/ 140422 w 232376"/>
                <a:gd name="connsiteY291" fmla="*/ 155896 h 214500"/>
                <a:gd name="connsiteX292" fmla="*/ 160786 w 232376"/>
                <a:gd name="connsiteY292" fmla="*/ 155896 h 214500"/>
                <a:gd name="connsiteX293" fmla="*/ 171639 w 232376"/>
                <a:gd name="connsiteY293" fmla="*/ 166749 h 214500"/>
                <a:gd name="connsiteX294" fmla="*/ 171639 w 232376"/>
                <a:gd name="connsiteY294" fmla="*/ 184433 h 214500"/>
                <a:gd name="connsiteX295" fmla="*/ 171639 w 232376"/>
                <a:gd name="connsiteY295" fmla="*/ 206355 h 214500"/>
                <a:gd name="connsiteX296" fmla="*/ 171639 w 232376"/>
                <a:gd name="connsiteY296" fmla="*/ 206776 h 214500"/>
                <a:gd name="connsiteX297" fmla="*/ 179364 w 232376"/>
                <a:gd name="connsiteY297" fmla="*/ 214501 h 214500"/>
                <a:gd name="connsiteX298" fmla="*/ 182045 w 232376"/>
                <a:gd name="connsiteY298" fmla="*/ 214501 h 214500"/>
                <a:gd name="connsiteX299" fmla="*/ 189770 w 232376"/>
                <a:gd name="connsiteY299" fmla="*/ 206776 h 214500"/>
                <a:gd name="connsiteX300" fmla="*/ 189770 w 232376"/>
                <a:gd name="connsiteY300" fmla="*/ 205691 h 214500"/>
                <a:gd name="connsiteX301" fmla="*/ 200622 w 232376"/>
                <a:gd name="connsiteY301" fmla="*/ 194838 h 214500"/>
                <a:gd name="connsiteX302" fmla="*/ 204721 w 232376"/>
                <a:gd name="connsiteY302" fmla="*/ 194838 h 214500"/>
                <a:gd name="connsiteX303" fmla="*/ 212446 w 232376"/>
                <a:gd name="connsiteY303" fmla="*/ 187114 h 214500"/>
                <a:gd name="connsiteX304" fmla="*/ 212446 w 232376"/>
                <a:gd name="connsiteY304" fmla="*/ 184433 h 214500"/>
                <a:gd name="connsiteX305" fmla="*/ 207338 w 232376"/>
                <a:gd name="connsiteY305" fmla="*/ 177168 h 214500"/>
                <a:gd name="connsiteX306" fmla="*/ 198056 w 232376"/>
                <a:gd name="connsiteY306" fmla="*/ 176682 h 214500"/>
                <a:gd name="connsiteX307" fmla="*/ 191685 w 232376"/>
                <a:gd name="connsiteY307" fmla="*/ 165076 h 214500"/>
                <a:gd name="connsiteX308" fmla="*/ 200903 w 232376"/>
                <a:gd name="connsiteY308" fmla="*/ 156101 h 214500"/>
                <a:gd name="connsiteX309" fmla="*/ 225443 w 232376"/>
                <a:gd name="connsiteY309" fmla="*/ 156101 h 214500"/>
                <a:gd name="connsiteX310" fmla="*/ 233168 w 232376"/>
                <a:gd name="connsiteY310" fmla="*/ 148376 h 214500"/>
                <a:gd name="connsiteX311" fmla="*/ 233168 w 232376"/>
                <a:gd name="connsiteY311" fmla="*/ 145695 h 214500"/>
                <a:gd name="connsiteX312" fmla="*/ 225443 w 232376"/>
                <a:gd name="connsiteY312" fmla="*/ 137970 h 214500"/>
                <a:gd name="connsiteX313" fmla="*/ 200916 w 232376"/>
                <a:gd name="connsiteY313" fmla="*/ 137970 h 214500"/>
                <a:gd name="connsiteX314" fmla="*/ 190063 w 232376"/>
                <a:gd name="connsiteY314" fmla="*/ 127117 h 214500"/>
                <a:gd name="connsiteX315" fmla="*/ 190063 w 232376"/>
                <a:gd name="connsiteY315" fmla="*/ 126351 h 214500"/>
                <a:gd name="connsiteX316" fmla="*/ 182339 w 232376"/>
                <a:gd name="connsiteY316" fmla="*/ 118627 h 214500"/>
                <a:gd name="connsiteX317" fmla="*/ 158999 w 232376"/>
                <a:gd name="connsiteY317" fmla="*/ 118627 h 214500"/>
                <a:gd name="connsiteX318" fmla="*/ 148146 w 232376"/>
                <a:gd name="connsiteY318" fmla="*/ 107774 h 214500"/>
                <a:gd name="connsiteX319" fmla="*/ 148146 w 232376"/>
                <a:gd name="connsiteY319" fmla="*/ 86618 h 214500"/>
                <a:gd name="connsiteX320" fmla="*/ 147061 w 232376"/>
                <a:gd name="connsiteY320" fmla="*/ 82685 h 214500"/>
                <a:gd name="connsiteX321" fmla="*/ 146972 w 232376"/>
                <a:gd name="connsiteY321" fmla="*/ 82532 h 214500"/>
                <a:gd name="connsiteX322" fmla="*/ 140268 w 232376"/>
                <a:gd name="connsiteY322" fmla="*/ 78625 h 214500"/>
                <a:gd name="connsiteX323" fmla="*/ 137281 w 232376"/>
                <a:gd name="connsiteY323" fmla="*/ 78625 h 214500"/>
                <a:gd name="connsiteX324" fmla="*/ 126428 w 232376"/>
                <a:gd name="connsiteY324" fmla="*/ 67772 h 214500"/>
                <a:gd name="connsiteX325" fmla="*/ 126428 w 232376"/>
                <a:gd name="connsiteY325" fmla="*/ 67721 h 214500"/>
                <a:gd name="connsiteX326" fmla="*/ 118703 w 232376"/>
                <a:gd name="connsiteY326" fmla="*/ 59894 h 214500"/>
                <a:gd name="connsiteX327" fmla="*/ 113239 w 232376"/>
                <a:gd name="connsiteY327" fmla="*/ 59728 h 214500"/>
                <a:gd name="connsiteX328" fmla="*/ 106599 w 232376"/>
                <a:gd name="connsiteY328" fmla="*/ 52080 h 214500"/>
                <a:gd name="connsiteX329" fmla="*/ 106599 w 232376"/>
                <a:gd name="connsiteY329" fmla="*/ 49399 h 214500"/>
                <a:gd name="connsiteX330" fmla="*/ 114324 w 232376"/>
                <a:gd name="connsiteY330" fmla="*/ 41674 h 214500"/>
                <a:gd name="connsiteX331" fmla="*/ 127628 w 232376"/>
                <a:gd name="connsiteY331" fmla="*/ 41674 h 214500"/>
                <a:gd name="connsiteX332" fmla="*/ 127501 w 232376"/>
                <a:gd name="connsiteY332" fmla="*/ 7725 h 214500"/>
                <a:gd name="connsiteX333" fmla="*/ 119776 w 232376"/>
                <a:gd name="connsiteY333" fmla="*/ 0 h 214500"/>
                <a:gd name="connsiteX334" fmla="*/ 28766 w 232376"/>
                <a:gd name="connsiteY334" fmla="*/ 0 h 214500"/>
                <a:gd name="connsiteX335" fmla="*/ 21093 w 232376"/>
                <a:gd name="connsiteY335" fmla="*/ 6856 h 214500"/>
                <a:gd name="connsiteX336" fmla="*/ 21093 w 232376"/>
                <a:gd name="connsiteY336" fmla="*/ 12474 h 214500"/>
                <a:gd name="connsiteX337" fmla="*/ 13368 w 232376"/>
                <a:gd name="connsiteY337" fmla="*/ 20199 h 214500"/>
                <a:gd name="connsiteX338" fmla="*/ 0 w 232376"/>
                <a:gd name="connsiteY338" fmla="*/ 20199 h 214500"/>
                <a:gd name="connsiteX339" fmla="*/ 64 w 232376"/>
                <a:gd name="connsiteY339" fmla="*/ 69023 h 214500"/>
                <a:gd name="connsiteX340" fmla="*/ 64 w 232376"/>
                <a:gd name="connsiteY340" fmla="*/ 69023 h 214500"/>
                <a:gd name="connsiteX341" fmla="*/ 128599 w 232376"/>
                <a:gd name="connsiteY341" fmla="*/ 148159 h 214500"/>
                <a:gd name="connsiteX342" fmla="*/ 128599 w 232376"/>
                <a:gd name="connsiteY342" fmla="*/ 148159 h 214500"/>
                <a:gd name="connsiteX343" fmla="*/ 128599 w 232376"/>
                <a:gd name="connsiteY343" fmla="*/ 148159 h 214500"/>
                <a:gd name="connsiteX344" fmla="*/ 128599 w 232376"/>
                <a:gd name="connsiteY344" fmla="*/ 148159 h 214500"/>
                <a:gd name="connsiteX345" fmla="*/ 65168 w 232376"/>
                <a:gd name="connsiteY345" fmla="*/ 90167 h 214500"/>
                <a:gd name="connsiteX346" fmla="*/ 65168 w 232376"/>
                <a:gd name="connsiteY346" fmla="*/ 90167 h 214500"/>
                <a:gd name="connsiteX347" fmla="*/ 65168 w 232376"/>
                <a:gd name="connsiteY347" fmla="*/ 90167 h 214500"/>
                <a:gd name="connsiteX348" fmla="*/ 65168 w 232376"/>
                <a:gd name="connsiteY348" fmla="*/ 90167 h 214500"/>
                <a:gd name="connsiteX349" fmla="*/ 86733 w 232376"/>
                <a:gd name="connsiteY349" fmla="*/ 109217 h 214500"/>
                <a:gd name="connsiteX350" fmla="*/ 86733 w 232376"/>
                <a:gd name="connsiteY350" fmla="*/ 109217 h 214500"/>
                <a:gd name="connsiteX351" fmla="*/ 86733 w 232376"/>
                <a:gd name="connsiteY351" fmla="*/ 109217 h 214500"/>
                <a:gd name="connsiteX352" fmla="*/ 86733 w 232376"/>
                <a:gd name="connsiteY352" fmla="*/ 109217 h 214500"/>
                <a:gd name="connsiteX353" fmla="*/ 106408 w 232376"/>
                <a:gd name="connsiteY353" fmla="*/ 128266 h 214500"/>
                <a:gd name="connsiteX354" fmla="*/ 106408 w 232376"/>
                <a:gd name="connsiteY354" fmla="*/ 128266 h 214500"/>
                <a:gd name="connsiteX355" fmla="*/ 106408 w 232376"/>
                <a:gd name="connsiteY355" fmla="*/ 128266 h 21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232376" h="214500">
                  <a:moveTo>
                    <a:pt x="64" y="69023"/>
                  </a:moveTo>
                  <a:cubicBezTo>
                    <a:pt x="0" y="71271"/>
                    <a:pt x="1341" y="59345"/>
                    <a:pt x="6435" y="59345"/>
                  </a:cubicBezTo>
                  <a:lnTo>
                    <a:pt x="31473" y="59345"/>
                  </a:lnTo>
                  <a:cubicBezTo>
                    <a:pt x="36452" y="59435"/>
                    <a:pt x="42811" y="57698"/>
                    <a:pt x="42811" y="68104"/>
                  </a:cubicBezTo>
                  <a:lnTo>
                    <a:pt x="42811" y="70645"/>
                  </a:lnTo>
                  <a:cubicBezTo>
                    <a:pt x="42811" y="74897"/>
                    <a:pt x="46284" y="78369"/>
                    <a:pt x="50535" y="78369"/>
                  </a:cubicBezTo>
                  <a:lnTo>
                    <a:pt x="54302" y="78369"/>
                  </a:lnTo>
                  <a:cubicBezTo>
                    <a:pt x="60277" y="78369"/>
                    <a:pt x="65155" y="83247"/>
                    <a:pt x="65155" y="89222"/>
                  </a:cubicBezTo>
                  <a:lnTo>
                    <a:pt x="65155" y="90180"/>
                  </a:lnTo>
                  <a:lnTo>
                    <a:pt x="65155" y="90384"/>
                  </a:lnTo>
                  <a:lnTo>
                    <a:pt x="65155" y="90384"/>
                  </a:lnTo>
                  <a:lnTo>
                    <a:pt x="65168" y="90576"/>
                  </a:lnTo>
                  <a:lnTo>
                    <a:pt x="65168" y="90576"/>
                  </a:lnTo>
                  <a:lnTo>
                    <a:pt x="65180" y="90767"/>
                  </a:lnTo>
                  <a:lnTo>
                    <a:pt x="65180" y="90767"/>
                  </a:lnTo>
                  <a:lnTo>
                    <a:pt x="65193" y="90959"/>
                  </a:lnTo>
                  <a:lnTo>
                    <a:pt x="65193" y="90959"/>
                  </a:lnTo>
                  <a:lnTo>
                    <a:pt x="65219" y="91150"/>
                  </a:lnTo>
                  <a:lnTo>
                    <a:pt x="65219" y="91150"/>
                  </a:lnTo>
                  <a:lnTo>
                    <a:pt x="65244" y="91342"/>
                  </a:lnTo>
                  <a:lnTo>
                    <a:pt x="65244" y="91342"/>
                  </a:lnTo>
                  <a:lnTo>
                    <a:pt x="65270" y="91533"/>
                  </a:lnTo>
                  <a:lnTo>
                    <a:pt x="65270" y="91533"/>
                  </a:lnTo>
                  <a:cubicBezTo>
                    <a:pt x="65602" y="93436"/>
                    <a:pt x="66700" y="95172"/>
                    <a:pt x="68257" y="96359"/>
                  </a:cubicBezTo>
                  <a:lnTo>
                    <a:pt x="68257" y="96359"/>
                  </a:lnTo>
                  <a:lnTo>
                    <a:pt x="68411" y="96474"/>
                  </a:lnTo>
                  <a:lnTo>
                    <a:pt x="68411" y="96474"/>
                  </a:lnTo>
                  <a:lnTo>
                    <a:pt x="68564" y="96577"/>
                  </a:lnTo>
                  <a:lnTo>
                    <a:pt x="68564" y="96577"/>
                  </a:lnTo>
                  <a:lnTo>
                    <a:pt x="68717" y="96679"/>
                  </a:lnTo>
                  <a:lnTo>
                    <a:pt x="68717" y="96679"/>
                  </a:lnTo>
                  <a:lnTo>
                    <a:pt x="68870" y="96781"/>
                  </a:lnTo>
                  <a:lnTo>
                    <a:pt x="68870" y="96781"/>
                  </a:lnTo>
                  <a:lnTo>
                    <a:pt x="68947" y="96819"/>
                  </a:lnTo>
                  <a:cubicBezTo>
                    <a:pt x="69011" y="96857"/>
                    <a:pt x="69062" y="96883"/>
                    <a:pt x="69126" y="96921"/>
                  </a:cubicBezTo>
                  <a:lnTo>
                    <a:pt x="69202" y="96960"/>
                  </a:lnTo>
                  <a:lnTo>
                    <a:pt x="69202" y="96960"/>
                  </a:lnTo>
                  <a:lnTo>
                    <a:pt x="69368" y="97049"/>
                  </a:lnTo>
                  <a:lnTo>
                    <a:pt x="69368" y="97049"/>
                  </a:lnTo>
                  <a:lnTo>
                    <a:pt x="69534" y="97138"/>
                  </a:lnTo>
                  <a:lnTo>
                    <a:pt x="69534" y="97138"/>
                  </a:lnTo>
                  <a:lnTo>
                    <a:pt x="69700" y="97215"/>
                  </a:lnTo>
                  <a:lnTo>
                    <a:pt x="69700" y="97215"/>
                  </a:lnTo>
                  <a:cubicBezTo>
                    <a:pt x="69751" y="97240"/>
                    <a:pt x="69815" y="97266"/>
                    <a:pt x="69866" y="97292"/>
                  </a:cubicBezTo>
                  <a:lnTo>
                    <a:pt x="69866" y="97292"/>
                  </a:lnTo>
                  <a:lnTo>
                    <a:pt x="70045" y="97368"/>
                  </a:lnTo>
                  <a:lnTo>
                    <a:pt x="70045" y="97368"/>
                  </a:lnTo>
                  <a:lnTo>
                    <a:pt x="70224" y="97432"/>
                  </a:lnTo>
                  <a:lnTo>
                    <a:pt x="70224" y="97432"/>
                  </a:lnTo>
                  <a:lnTo>
                    <a:pt x="70402" y="97496"/>
                  </a:lnTo>
                  <a:lnTo>
                    <a:pt x="70402" y="97496"/>
                  </a:lnTo>
                  <a:lnTo>
                    <a:pt x="70441" y="97509"/>
                  </a:lnTo>
                  <a:cubicBezTo>
                    <a:pt x="70543" y="97534"/>
                    <a:pt x="70619" y="97560"/>
                    <a:pt x="70722" y="97598"/>
                  </a:cubicBezTo>
                  <a:lnTo>
                    <a:pt x="70760" y="97611"/>
                  </a:lnTo>
                  <a:lnTo>
                    <a:pt x="70760" y="97611"/>
                  </a:lnTo>
                  <a:lnTo>
                    <a:pt x="70939" y="97662"/>
                  </a:lnTo>
                  <a:lnTo>
                    <a:pt x="70939" y="97662"/>
                  </a:lnTo>
                  <a:lnTo>
                    <a:pt x="71117" y="97713"/>
                  </a:lnTo>
                  <a:lnTo>
                    <a:pt x="71117" y="97713"/>
                  </a:lnTo>
                  <a:lnTo>
                    <a:pt x="71309" y="97751"/>
                  </a:lnTo>
                  <a:lnTo>
                    <a:pt x="71309" y="97751"/>
                  </a:lnTo>
                  <a:cubicBezTo>
                    <a:pt x="71373" y="97764"/>
                    <a:pt x="71437" y="97777"/>
                    <a:pt x="71500" y="97789"/>
                  </a:cubicBezTo>
                  <a:lnTo>
                    <a:pt x="71500" y="97789"/>
                  </a:lnTo>
                  <a:lnTo>
                    <a:pt x="71539" y="97789"/>
                  </a:lnTo>
                  <a:cubicBezTo>
                    <a:pt x="71654" y="97802"/>
                    <a:pt x="71743" y="97828"/>
                    <a:pt x="71858" y="97841"/>
                  </a:cubicBezTo>
                  <a:lnTo>
                    <a:pt x="71896" y="97841"/>
                  </a:lnTo>
                  <a:lnTo>
                    <a:pt x="71896" y="97841"/>
                  </a:lnTo>
                  <a:lnTo>
                    <a:pt x="72088" y="97866"/>
                  </a:lnTo>
                  <a:lnTo>
                    <a:pt x="72088" y="97866"/>
                  </a:lnTo>
                  <a:lnTo>
                    <a:pt x="72279" y="97879"/>
                  </a:lnTo>
                  <a:lnTo>
                    <a:pt x="72279" y="97879"/>
                  </a:lnTo>
                  <a:lnTo>
                    <a:pt x="72471" y="97892"/>
                  </a:lnTo>
                  <a:lnTo>
                    <a:pt x="72471" y="97892"/>
                  </a:lnTo>
                  <a:lnTo>
                    <a:pt x="72535" y="97892"/>
                  </a:lnTo>
                  <a:cubicBezTo>
                    <a:pt x="72688" y="97892"/>
                    <a:pt x="72803" y="97904"/>
                    <a:pt x="72956" y="97904"/>
                  </a:cubicBezTo>
                  <a:lnTo>
                    <a:pt x="75548" y="97904"/>
                  </a:lnTo>
                  <a:lnTo>
                    <a:pt x="75854" y="97904"/>
                  </a:lnTo>
                  <a:cubicBezTo>
                    <a:pt x="81830" y="97904"/>
                    <a:pt x="86707" y="102782"/>
                    <a:pt x="86707" y="108757"/>
                  </a:cubicBezTo>
                  <a:lnTo>
                    <a:pt x="86707" y="109230"/>
                  </a:lnTo>
                  <a:lnTo>
                    <a:pt x="86707" y="109434"/>
                  </a:lnTo>
                  <a:lnTo>
                    <a:pt x="86707" y="109434"/>
                  </a:lnTo>
                  <a:lnTo>
                    <a:pt x="86720" y="109625"/>
                  </a:lnTo>
                  <a:lnTo>
                    <a:pt x="86720" y="109625"/>
                  </a:lnTo>
                  <a:lnTo>
                    <a:pt x="86733" y="109817"/>
                  </a:lnTo>
                  <a:lnTo>
                    <a:pt x="86733" y="109817"/>
                  </a:lnTo>
                  <a:lnTo>
                    <a:pt x="86745" y="110008"/>
                  </a:lnTo>
                  <a:lnTo>
                    <a:pt x="86745" y="110008"/>
                  </a:lnTo>
                  <a:lnTo>
                    <a:pt x="86771" y="110200"/>
                  </a:lnTo>
                  <a:lnTo>
                    <a:pt x="86771" y="110200"/>
                  </a:lnTo>
                  <a:lnTo>
                    <a:pt x="86796" y="110391"/>
                  </a:lnTo>
                  <a:lnTo>
                    <a:pt x="86796" y="110391"/>
                  </a:lnTo>
                  <a:lnTo>
                    <a:pt x="86835" y="110583"/>
                  </a:lnTo>
                  <a:lnTo>
                    <a:pt x="86835" y="110583"/>
                  </a:lnTo>
                  <a:cubicBezTo>
                    <a:pt x="86847" y="110647"/>
                    <a:pt x="86860" y="110711"/>
                    <a:pt x="86873" y="110774"/>
                  </a:cubicBezTo>
                  <a:lnTo>
                    <a:pt x="86873" y="110774"/>
                  </a:lnTo>
                  <a:lnTo>
                    <a:pt x="86911" y="110966"/>
                  </a:lnTo>
                  <a:lnTo>
                    <a:pt x="86911" y="110966"/>
                  </a:lnTo>
                  <a:lnTo>
                    <a:pt x="86962" y="111157"/>
                  </a:lnTo>
                  <a:lnTo>
                    <a:pt x="86962" y="111157"/>
                  </a:lnTo>
                  <a:cubicBezTo>
                    <a:pt x="87792" y="114260"/>
                    <a:pt x="90512" y="116648"/>
                    <a:pt x="93844" y="116929"/>
                  </a:cubicBezTo>
                  <a:lnTo>
                    <a:pt x="93844" y="116929"/>
                  </a:lnTo>
                  <a:lnTo>
                    <a:pt x="94036" y="116941"/>
                  </a:lnTo>
                  <a:lnTo>
                    <a:pt x="94036" y="116941"/>
                  </a:lnTo>
                  <a:lnTo>
                    <a:pt x="94100" y="116941"/>
                  </a:lnTo>
                  <a:cubicBezTo>
                    <a:pt x="94253" y="116941"/>
                    <a:pt x="94368" y="116954"/>
                    <a:pt x="94521" y="116954"/>
                  </a:cubicBezTo>
                  <a:lnTo>
                    <a:pt x="95517" y="116954"/>
                  </a:lnTo>
                  <a:cubicBezTo>
                    <a:pt x="101492" y="116954"/>
                    <a:pt x="106370" y="121831"/>
                    <a:pt x="106370" y="127807"/>
                  </a:cubicBezTo>
                  <a:lnTo>
                    <a:pt x="106370" y="128279"/>
                  </a:lnTo>
                  <a:lnTo>
                    <a:pt x="106370" y="128484"/>
                  </a:lnTo>
                  <a:lnTo>
                    <a:pt x="106370" y="128484"/>
                  </a:lnTo>
                  <a:lnTo>
                    <a:pt x="106382" y="128675"/>
                  </a:lnTo>
                  <a:lnTo>
                    <a:pt x="106382" y="128675"/>
                  </a:lnTo>
                  <a:lnTo>
                    <a:pt x="106395" y="128867"/>
                  </a:lnTo>
                  <a:lnTo>
                    <a:pt x="106395" y="128867"/>
                  </a:lnTo>
                  <a:lnTo>
                    <a:pt x="106408" y="129058"/>
                  </a:lnTo>
                  <a:lnTo>
                    <a:pt x="106408" y="129058"/>
                  </a:lnTo>
                  <a:lnTo>
                    <a:pt x="106433" y="129250"/>
                  </a:lnTo>
                  <a:lnTo>
                    <a:pt x="106433" y="129250"/>
                  </a:lnTo>
                  <a:lnTo>
                    <a:pt x="106459" y="129441"/>
                  </a:lnTo>
                  <a:lnTo>
                    <a:pt x="106459" y="129441"/>
                  </a:lnTo>
                  <a:cubicBezTo>
                    <a:pt x="106855" y="131816"/>
                    <a:pt x="108246" y="133821"/>
                    <a:pt x="110340" y="135021"/>
                  </a:cubicBezTo>
                  <a:lnTo>
                    <a:pt x="110417" y="135059"/>
                  </a:lnTo>
                  <a:lnTo>
                    <a:pt x="110417" y="135059"/>
                  </a:lnTo>
                  <a:lnTo>
                    <a:pt x="110583" y="135148"/>
                  </a:lnTo>
                  <a:lnTo>
                    <a:pt x="110583" y="135148"/>
                  </a:lnTo>
                  <a:lnTo>
                    <a:pt x="110749" y="135238"/>
                  </a:lnTo>
                  <a:lnTo>
                    <a:pt x="110749" y="135238"/>
                  </a:lnTo>
                  <a:lnTo>
                    <a:pt x="110915" y="135314"/>
                  </a:lnTo>
                  <a:lnTo>
                    <a:pt x="110915" y="135314"/>
                  </a:lnTo>
                  <a:cubicBezTo>
                    <a:pt x="110966" y="135340"/>
                    <a:pt x="111030" y="135365"/>
                    <a:pt x="111081" y="135391"/>
                  </a:cubicBezTo>
                  <a:lnTo>
                    <a:pt x="111081" y="135391"/>
                  </a:lnTo>
                  <a:lnTo>
                    <a:pt x="111260" y="135468"/>
                  </a:lnTo>
                  <a:lnTo>
                    <a:pt x="111260" y="135468"/>
                  </a:lnTo>
                  <a:lnTo>
                    <a:pt x="111438" y="135531"/>
                  </a:lnTo>
                  <a:lnTo>
                    <a:pt x="111438" y="135531"/>
                  </a:lnTo>
                  <a:lnTo>
                    <a:pt x="111617" y="135595"/>
                  </a:lnTo>
                  <a:lnTo>
                    <a:pt x="111617" y="135595"/>
                  </a:lnTo>
                  <a:lnTo>
                    <a:pt x="111656" y="135608"/>
                  </a:lnTo>
                  <a:cubicBezTo>
                    <a:pt x="111758" y="135634"/>
                    <a:pt x="111834" y="135659"/>
                    <a:pt x="111936" y="135697"/>
                  </a:cubicBezTo>
                  <a:lnTo>
                    <a:pt x="111975" y="135710"/>
                  </a:lnTo>
                  <a:lnTo>
                    <a:pt x="111975" y="135710"/>
                  </a:lnTo>
                  <a:lnTo>
                    <a:pt x="112153" y="135761"/>
                  </a:lnTo>
                  <a:lnTo>
                    <a:pt x="112153" y="135761"/>
                  </a:lnTo>
                  <a:lnTo>
                    <a:pt x="112332" y="135812"/>
                  </a:lnTo>
                  <a:lnTo>
                    <a:pt x="112332" y="135812"/>
                  </a:lnTo>
                  <a:lnTo>
                    <a:pt x="112524" y="135851"/>
                  </a:lnTo>
                  <a:lnTo>
                    <a:pt x="112524" y="135851"/>
                  </a:lnTo>
                  <a:cubicBezTo>
                    <a:pt x="112588" y="135863"/>
                    <a:pt x="112651" y="135876"/>
                    <a:pt x="112715" y="135889"/>
                  </a:cubicBezTo>
                  <a:lnTo>
                    <a:pt x="112715" y="135889"/>
                  </a:lnTo>
                  <a:lnTo>
                    <a:pt x="112754" y="135889"/>
                  </a:lnTo>
                  <a:cubicBezTo>
                    <a:pt x="112868" y="135902"/>
                    <a:pt x="112958" y="135927"/>
                    <a:pt x="113073" y="135940"/>
                  </a:cubicBezTo>
                  <a:lnTo>
                    <a:pt x="113111" y="135940"/>
                  </a:lnTo>
                  <a:lnTo>
                    <a:pt x="113111" y="135940"/>
                  </a:lnTo>
                  <a:lnTo>
                    <a:pt x="113303" y="135966"/>
                  </a:lnTo>
                  <a:lnTo>
                    <a:pt x="113303" y="135966"/>
                  </a:lnTo>
                  <a:lnTo>
                    <a:pt x="113494" y="135978"/>
                  </a:lnTo>
                  <a:lnTo>
                    <a:pt x="113494" y="135978"/>
                  </a:lnTo>
                  <a:lnTo>
                    <a:pt x="113686" y="135991"/>
                  </a:lnTo>
                  <a:lnTo>
                    <a:pt x="113686" y="135991"/>
                  </a:lnTo>
                  <a:lnTo>
                    <a:pt x="113749" y="135991"/>
                  </a:lnTo>
                  <a:cubicBezTo>
                    <a:pt x="113903" y="135991"/>
                    <a:pt x="114018" y="136004"/>
                    <a:pt x="114171" y="136004"/>
                  </a:cubicBezTo>
                  <a:lnTo>
                    <a:pt x="116775" y="136004"/>
                  </a:lnTo>
                  <a:lnTo>
                    <a:pt x="117708" y="136004"/>
                  </a:lnTo>
                  <a:cubicBezTo>
                    <a:pt x="123683" y="136004"/>
                    <a:pt x="128560" y="140881"/>
                    <a:pt x="128560" y="146857"/>
                  </a:cubicBezTo>
                  <a:lnTo>
                    <a:pt x="128560" y="148172"/>
                  </a:lnTo>
                  <a:lnTo>
                    <a:pt x="128560" y="148363"/>
                  </a:lnTo>
                  <a:lnTo>
                    <a:pt x="128560" y="148363"/>
                  </a:lnTo>
                  <a:lnTo>
                    <a:pt x="128573" y="148555"/>
                  </a:lnTo>
                  <a:lnTo>
                    <a:pt x="128573" y="148555"/>
                  </a:lnTo>
                  <a:lnTo>
                    <a:pt x="128586" y="148746"/>
                  </a:lnTo>
                  <a:lnTo>
                    <a:pt x="128586" y="148746"/>
                  </a:lnTo>
                  <a:lnTo>
                    <a:pt x="128599" y="148938"/>
                  </a:lnTo>
                  <a:lnTo>
                    <a:pt x="128599" y="148938"/>
                  </a:lnTo>
                  <a:lnTo>
                    <a:pt x="128624" y="149129"/>
                  </a:lnTo>
                  <a:lnTo>
                    <a:pt x="128624" y="149129"/>
                  </a:lnTo>
                  <a:lnTo>
                    <a:pt x="128650" y="149321"/>
                  </a:lnTo>
                  <a:lnTo>
                    <a:pt x="128650" y="149321"/>
                  </a:lnTo>
                  <a:lnTo>
                    <a:pt x="128675" y="149512"/>
                  </a:lnTo>
                  <a:lnTo>
                    <a:pt x="128675" y="149512"/>
                  </a:lnTo>
                  <a:cubicBezTo>
                    <a:pt x="128688" y="149576"/>
                    <a:pt x="128701" y="149640"/>
                    <a:pt x="128713" y="149704"/>
                  </a:cubicBezTo>
                  <a:lnTo>
                    <a:pt x="128713" y="149704"/>
                  </a:lnTo>
                  <a:lnTo>
                    <a:pt x="128752" y="149895"/>
                  </a:lnTo>
                  <a:lnTo>
                    <a:pt x="128752" y="149895"/>
                  </a:lnTo>
                  <a:lnTo>
                    <a:pt x="128803" y="150087"/>
                  </a:lnTo>
                  <a:lnTo>
                    <a:pt x="128803" y="150087"/>
                  </a:lnTo>
                  <a:lnTo>
                    <a:pt x="128854" y="150266"/>
                  </a:lnTo>
                  <a:lnTo>
                    <a:pt x="128854" y="150266"/>
                  </a:lnTo>
                  <a:lnTo>
                    <a:pt x="128905" y="150444"/>
                  </a:lnTo>
                  <a:lnTo>
                    <a:pt x="128905" y="150444"/>
                  </a:lnTo>
                  <a:lnTo>
                    <a:pt x="128969" y="150623"/>
                  </a:lnTo>
                  <a:lnTo>
                    <a:pt x="128969" y="150623"/>
                  </a:lnTo>
                  <a:lnTo>
                    <a:pt x="129033" y="150802"/>
                  </a:lnTo>
                  <a:lnTo>
                    <a:pt x="129033" y="150802"/>
                  </a:lnTo>
                  <a:lnTo>
                    <a:pt x="129097" y="150981"/>
                  </a:lnTo>
                  <a:lnTo>
                    <a:pt x="129097" y="150981"/>
                  </a:lnTo>
                  <a:lnTo>
                    <a:pt x="129173" y="151159"/>
                  </a:lnTo>
                  <a:lnTo>
                    <a:pt x="129173" y="151159"/>
                  </a:lnTo>
                  <a:lnTo>
                    <a:pt x="129250" y="151325"/>
                  </a:lnTo>
                  <a:lnTo>
                    <a:pt x="129250" y="151325"/>
                  </a:lnTo>
                  <a:lnTo>
                    <a:pt x="129326" y="151491"/>
                  </a:lnTo>
                  <a:lnTo>
                    <a:pt x="129326" y="151491"/>
                  </a:lnTo>
                  <a:lnTo>
                    <a:pt x="129416" y="151657"/>
                  </a:lnTo>
                  <a:lnTo>
                    <a:pt x="129416" y="151657"/>
                  </a:lnTo>
                  <a:cubicBezTo>
                    <a:pt x="129441" y="151708"/>
                    <a:pt x="129467" y="151772"/>
                    <a:pt x="129505" y="151823"/>
                  </a:cubicBezTo>
                  <a:lnTo>
                    <a:pt x="129505" y="151823"/>
                  </a:lnTo>
                  <a:lnTo>
                    <a:pt x="129594" y="151989"/>
                  </a:lnTo>
                  <a:lnTo>
                    <a:pt x="129594" y="151989"/>
                  </a:lnTo>
                  <a:cubicBezTo>
                    <a:pt x="129620" y="152040"/>
                    <a:pt x="129658" y="152091"/>
                    <a:pt x="129684" y="152155"/>
                  </a:cubicBezTo>
                  <a:lnTo>
                    <a:pt x="129684" y="152155"/>
                  </a:lnTo>
                  <a:lnTo>
                    <a:pt x="129786" y="152308"/>
                  </a:lnTo>
                  <a:lnTo>
                    <a:pt x="129786" y="152308"/>
                  </a:lnTo>
                  <a:lnTo>
                    <a:pt x="129888" y="152462"/>
                  </a:lnTo>
                  <a:lnTo>
                    <a:pt x="129888" y="152462"/>
                  </a:lnTo>
                  <a:lnTo>
                    <a:pt x="129990" y="152615"/>
                  </a:lnTo>
                  <a:lnTo>
                    <a:pt x="129990" y="152615"/>
                  </a:lnTo>
                  <a:lnTo>
                    <a:pt x="130105" y="152768"/>
                  </a:lnTo>
                  <a:lnTo>
                    <a:pt x="130105" y="152768"/>
                  </a:lnTo>
                  <a:lnTo>
                    <a:pt x="130220" y="152921"/>
                  </a:lnTo>
                  <a:lnTo>
                    <a:pt x="130220" y="152921"/>
                  </a:lnTo>
                  <a:cubicBezTo>
                    <a:pt x="130258" y="152972"/>
                    <a:pt x="130297" y="153023"/>
                    <a:pt x="130335" y="153062"/>
                  </a:cubicBezTo>
                  <a:lnTo>
                    <a:pt x="130335" y="153062"/>
                  </a:lnTo>
                  <a:lnTo>
                    <a:pt x="130450" y="153202"/>
                  </a:lnTo>
                  <a:lnTo>
                    <a:pt x="130450" y="153202"/>
                  </a:lnTo>
                  <a:lnTo>
                    <a:pt x="130578" y="153343"/>
                  </a:lnTo>
                  <a:lnTo>
                    <a:pt x="130578" y="153343"/>
                  </a:lnTo>
                  <a:lnTo>
                    <a:pt x="130705" y="153483"/>
                  </a:lnTo>
                  <a:lnTo>
                    <a:pt x="130705" y="153483"/>
                  </a:lnTo>
                  <a:lnTo>
                    <a:pt x="130833" y="153611"/>
                  </a:lnTo>
                  <a:lnTo>
                    <a:pt x="130833" y="153611"/>
                  </a:lnTo>
                  <a:lnTo>
                    <a:pt x="130961" y="153738"/>
                  </a:lnTo>
                  <a:lnTo>
                    <a:pt x="130961" y="153738"/>
                  </a:lnTo>
                  <a:lnTo>
                    <a:pt x="131101" y="153866"/>
                  </a:lnTo>
                  <a:lnTo>
                    <a:pt x="131101" y="153866"/>
                  </a:lnTo>
                  <a:lnTo>
                    <a:pt x="131242" y="153994"/>
                  </a:lnTo>
                  <a:lnTo>
                    <a:pt x="131242" y="153994"/>
                  </a:lnTo>
                  <a:lnTo>
                    <a:pt x="131382" y="154109"/>
                  </a:lnTo>
                  <a:lnTo>
                    <a:pt x="131382" y="154109"/>
                  </a:lnTo>
                  <a:cubicBezTo>
                    <a:pt x="131433" y="154147"/>
                    <a:pt x="131484" y="154185"/>
                    <a:pt x="131522" y="154224"/>
                  </a:cubicBezTo>
                  <a:lnTo>
                    <a:pt x="131522" y="154224"/>
                  </a:lnTo>
                  <a:cubicBezTo>
                    <a:pt x="131574" y="154262"/>
                    <a:pt x="131625" y="154300"/>
                    <a:pt x="131663" y="154339"/>
                  </a:cubicBezTo>
                  <a:lnTo>
                    <a:pt x="131663" y="154339"/>
                  </a:lnTo>
                  <a:lnTo>
                    <a:pt x="131816" y="154453"/>
                  </a:lnTo>
                  <a:lnTo>
                    <a:pt x="131816" y="154453"/>
                  </a:lnTo>
                  <a:lnTo>
                    <a:pt x="131969" y="154556"/>
                  </a:lnTo>
                  <a:lnTo>
                    <a:pt x="131969" y="154556"/>
                  </a:lnTo>
                  <a:lnTo>
                    <a:pt x="132123" y="154658"/>
                  </a:lnTo>
                  <a:lnTo>
                    <a:pt x="132123" y="154658"/>
                  </a:lnTo>
                  <a:lnTo>
                    <a:pt x="132276" y="154760"/>
                  </a:lnTo>
                  <a:lnTo>
                    <a:pt x="132276" y="154760"/>
                  </a:lnTo>
                  <a:lnTo>
                    <a:pt x="132442" y="154849"/>
                  </a:lnTo>
                  <a:lnTo>
                    <a:pt x="132442" y="154849"/>
                  </a:lnTo>
                  <a:lnTo>
                    <a:pt x="132608" y="154939"/>
                  </a:lnTo>
                  <a:lnTo>
                    <a:pt x="132608" y="154939"/>
                  </a:lnTo>
                  <a:lnTo>
                    <a:pt x="132774" y="155028"/>
                  </a:lnTo>
                  <a:lnTo>
                    <a:pt x="132774" y="155028"/>
                  </a:lnTo>
                  <a:lnTo>
                    <a:pt x="132940" y="155117"/>
                  </a:lnTo>
                  <a:lnTo>
                    <a:pt x="132940" y="155117"/>
                  </a:lnTo>
                  <a:lnTo>
                    <a:pt x="133106" y="155194"/>
                  </a:lnTo>
                  <a:lnTo>
                    <a:pt x="133106" y="155194"/>
                  </a:lnTo>
                  <a:cubicBezTo>
                    <a:pt x="133157" y="155220"/>
                    <a:pt x="133221" y="155245"/>
                    <a:pt x="133272" y="155271"/>
                  </a:cubicBezTo>
                  <a:lnTo>
                    <a:pt x="133272" y="155271"/>
                  </a:lnTo>
                  <a:lnTo>
                    <a:pt x="133450" y="155347"/>
                  </a:lnTo>
                  <a:lnTo>
                    <a:pt x="133450" y="155347"/>
                  </a:lnTo>
                  <a:lnTo>
                    <a:pt x="133629" y="155411"/>
                  </a:lnTo>
                  <a:lnTo>
                    <a:pt x="133629" y="155411"/>
                  </a:lnTo>
                  <a:lnTo>
                    <a:pt x="133808" y="155475"/>
                  </a:lnTo>
                  <a:lnTo>
                    <a:pt x="133808" y="155475"/>
                  </a:lnTo>
                  <a:lnTo>
                    <a:pt x="133987" y="155539"/>
                  </a:lnTo>
                  <a:lnTo>
                    <a:pt x="133987" y="155539"/>
                  </a:lnTo>
                  <a:lnTo>
                    <a:pt x="134165" y="155590"/>
                  </a:lnTo>
                  <a:lnTo>
                    <a:pt x="134165" y="155590"/>
                  </a:lnTo>
                  <a:lnTo>
                    <a:pt x="134344" y="155641"/>
                  </a:lnTo>
                  <a:lnTo>
                    <a:pt x="134344" y="155641"/>
                  </a:lnTo>
                  <a:lnTo>
                    <a:pt x="134523" y="155692"/>
                  </a:lnTo>
                  <a:lnTo>
                    <a:pt x="134523" y="155692"/>
                  </a:lnTo>
                  <a:lnTo>
                    <a:pt x="134714" y="155730"/>
                  </a:lnTo>
                  <a:lnTo>
                    <a:pt x="134714" y="155730"/>
                  </a:lnTo>
                  <a:cubicBezTo>
                    <a:pt x="134778" y="155743"/>
                    <a:pt x="134842" y="155756"/>
                    <a:pt x="134906" y="155769"/>
                  </a:cubicBezTo>
                  <a:lnTo>
                    <a:pt x="134906" y="155769"/>
                  </a:lnTo>
                  <a:lnTo>
                    <a:pt x="135097" y="155807"/>
                  </a:lnTo>
                  <a:lnTo>
                    <a:pt x="135097" y="155807"/>
                  </a:lnTo>
                  <a:lnTo>
                    <a:pt x="135289" y="155832"/>
                  </a:lnTo>
                  <a:lnTo>
                    <a:pt x="135289" y="155832"/>
                  </a:lnTo>
                  <a:lnTo>
                    <a:pt x="135480" y="155858"/>
                  </a:lnTo>
                  <a:lnTo>
                    <a:pt x="135480" y="155858"/>
                  </a:lnTo>
                  <a:lnTo>
                    <a:pt x="135672" y="155871"/>
                  </a:lnTo>
                  <a:lnTo>
                    <a:pt x="135672" y="155871"/>
                  </a:lnTo>
                  <a:lnTo>
                    <a:pt x="135864" y="155883"/>
                  </a:lnTo>
                  <a:lnTo>
                    <a:pt x="135864" y="155883"/>
                  </a:lnTo>
                  <a:lnTo>
                    <a:pt x="135927" y="155883"/>
                  </a:lnTo>
                  <a:cubicBezTo>
                    <a:pt x="136068" y="155883"/>
                    <a:pt x="136195" y="155896"/>
                    <a:pt x="136349" y="155896"/>
                  </a:cubicBezTo>
                  <a:lnTo>
                    <a:pt x="140422" y="155896"/>
                  </a:lnTo>
                  <a:lnTo>
                    <a:pt x="160786" y="155896"/>
                  </a:lnTo>
                  <a:cubicBezTo>
                    <a:pt x="166762" y="155896"/>
                    <a:pt x="171639" y="160774"/>
                    <a:pt x="171639" y="166749"/>
                  </a:cubicBezTo>
                  <a:lnTo>
                    <a:pt x="171639" y="184433"/>
                  </a:lnTo>
                  <a:lnTo>
                    <a:pt x="171639" y="206355"/>
                  </a:lnTo>
                  <a:lnTo>
                    <a:pt x="171639" y="206776"/>
                  </a:lnTo>
                  <a:cubicBezTo>
                    <a:pt x="171639" y="211028"/>
                    <a:pt x="175112" y="214501"/>
                    <a:pt x="179364" y="214501"/>
                  </a:cubicBezTo>
                  <a:lnTo>
                    <a:pt x="182045" y="214501"/>
                  </a:lnTo>
                  <a:cubicBezTo>
                    <a:pt x="186297" y="214501"/>
                    <a:pt x="189770" y="211028"/>
                    <a:pt x="189770" y="206776"/>
                  </a:cubicBezTo>
                  <a:lnTo>
                    <a:pt x="189770" y="205691"/>
                  </a:lnTo>
                  <a:cubicBezTo>
                    <a:pt x="189770" y="199716"/>
                    <a:pt x="194647" y="194838"/>
                    <a:pt x="200622" y="194838"/>
                  </a:cubicBezTo>
                  <a:lnTo>
                    <a:pt x="204721" y="194838"/>
                  </a:lnTo>
                  <a:cubicBezTo>
                    <a:pt x="208973" y="194838"/>
                    <a:pt x="212446" y="191366"/>
                    <a:pt x="212446" y="187114"/>
                  </a:cubicBezTo>
                  <a:lnTo>
                    <a:pt x="212446" y="184433"/>
                  </a:lnTo>
                  <a:cubicBezTo>
                    <a:pt x="212446" y="181100"/>
                    <a:pt x="210313" y="178240"/>
                    <a:pt x="207338" y="177168"/>
                  </a:cubicBezTo>
                  <a:cubicBezTo>
                    <a:pt x="205857" y="176631"/>
                    <a:pt x="200201" y="177704"/>
                    <a:pt x="198056" y="176682"/>
                  </a:cubicBezTo>
                  <a:cubicBezTo>
                    <a:pt x="192974" y="174244"/>
                    <a:pt x="191046" y="168766"/>
                    <a:pt x="191685" y="165076"/>
                  </a:cubicBezTo>
                  <a:cubicBezTo>
                    <a:pt x="192604" y="159842"/>
                    <a:pt x="195579" y="156101"/>
                    <a:pt x="200903" y="156101"/>
                  </a:cubicBezTo>
                  <a:lnTo>
                    <a:pt x="225443" y="156101"/>
                  </a:lnTo>
                  <a:cubicBezTo>
                    <a:pt x="229695" y="156101"/>
                    <a:pt x="233168" y="152628"/>
                    <a:pt x="233168" y="148376"/>
                  </a:cubicBezTo>
                  <a:lnTo>
                    <a:pt x="233168" y="145695"/>
                  </a:lnTo>
                  <a:cubicBezTo>
                    <a:pt x="233168" y="141443"/>
                    <a:pt x="229695" y="137970"/>
                    <a:pt x="225443" y="137970"/>
                  </a:cubicBezTo>
                  <a:lnTo>
                    <a:pt x="200916" y="137970"/>
                  </a:lnTo>
                  <a:cubicBezTo>
                    <a:pt x="194941" y="137970"/>
                    <a:pt x="190063" y="133093"/>
                    <a:pt x="190063" y="127117"/>
                  </a:cubicBezTo>
                  <a:lnTo>
                    <a:pt x="190063" y="126351"/>
                  </a:lnTo>
                  <a:cubicBezTo>
                    <a:pt x="190063" y="122100"/>
                    <a:pt x="186590" y="118627"/>
                    <a:pt x="182339" y="118627"/>
                  </a:cubicBezTo>
                  <a:lnTo>
                    <a:pt x="158999" y="118627"/>
                  </a:lnTo>
                  <a:cubicBezTo>
                    <a:pt x="153024" y="118627"/>
                    <a:pt x="148146" y="113749"/>
                    <a:pt x="148146" y="107774"/>
                  </a:cubicBezTo>
                  <a:lnTo>
                    <a:pt x="148146" y="86618"/>
                  </a:lnTo>
                  <a:cubicBezTo>
                    <a:pt x="148146" y="85188"/>
                    <a:pt x="147750" y="83834"/>
                    <a:pt x="147061" y="82685"/>
                  </a:cubicBezTo>
                  <a:cubicBezTo>
                    <a:pt x="147023" y="82634"/>
                    <a:pt x="146997" y="82583"/>
                    <a:pt x="146972" y="82532"/>
                  </a:cubicBezTo>
                  <a:cubicBezTo>
                    <a:pt x="145644" y="80208"/>
                    <a:pt x="143128" y="78625"/>
                    <a:pt x="140268" y="78625"/>
                  </a:cubicBezTo>
                  <a:lnTo>
                    <a:pt x="137281" y="78625"/>
                  </a:lnTo>
                  <a:cubicBezTo>
                    <a:pt x="131305" y="78625"/>
                    <a:pt x="126428" y="73747"/>
                    <a:pt x="126428" y="67772"/>
                  </a:cubicBezTo>
                  <a:lnTo>
                    <a:pt x="126428" y="67721"/>
                  </a:lnTo>
                  <a:cubicBezTo>
                    <a:pt x="126428" y="63469"/>
                    <a:pt x="122942" y="60022"/>
                    <a:pt x="118703" y="59894"/>
                  </a:cubicBezTo>
                  <a:lnTo>
                    <a:pt x="113239" y="59728"/>
                  </a:lnTo>
                  <a:cubicBezTo>
                    <a:pt x="109498" y="59205"/>
                    <a:pt x="106599" y="55962"/>
                    <a:pt x="106599" y="52080"/>
                  </a:cubicBezTo>
                  <a:lnTo>
                    <a:pt x="106599" y="49399"/>
                  </a:lnTo>
                  <a:cubicBezTo>
                    <a:pt x="106599" y="45147"/>
                    <a:pt x="110072" y="41674"/>
                    <a:pt x="114324" y="41674"/>
                  </a:cubicBezTo>
                  <a:lnTo>
                    <a:pt x="127628" y="41674"/>
                  </a:lnTo>
                  <a:lnTo>
                    <a:pt x="127501" y="7725"/>
                  </a:lnTo>
                  <a:cubicBezTo>
                    <a:pt x="127488" y="3486"/>
                    <a:pt x="124028" y="0"/>
                    <a:pt x="119776" y="0"/>
                  </a:cubicBezTo>
                  <a:lnTo>
                    <a:pt x="28766" y="0"/>
                  </a:lnTo>
                  <a:cubicBezTo>
                    <a:pt x="24821" y="0"/>
                    <a:pt x="21527" y="3013"/>
                    <a:pt x="21093" y="6856"/>
                  </a:cubicBezTo>
                  <a:lnTo>
                    <a:pt x="21093" y="12474"/>
                  </a:lnTo>
                  <a:cubicBezTo>
                    <a:pt x="21093" y="16726"/>
                    <a:pt x="17620" y="20199"/>
                    <a:pt x="13368" y="20199"/>
                  </a:cubicBezTo>
                  <a:lnTo>
                    <a:pt x="0" y="20199"/>
                  </a:lnTo>
                  <a:lnTo>
                    <a:pt x="64" y="69023"/>
                  </a:lnTo>
                  <a:lnTo>
                    <a:pt x="64" y="69023"/>
                  </a:lnTo>
                  <a:close/>
                  <a:moveTo>
                    <a:pt x="128599" y="148159"/>
                  </a:moveTo>
                  <a:lnTo>
                    <a:pt x="128599" y="148159"/>
                  </a:lnTo>
                  <a:lnTo>
                    <a:pt x="128599" y="148159"/>
                  </a:lnTo>
                  <a:lnTo>
                    <a:pt x="128599" y="148159"/>
                  </a:lnTo>
                  <a:close/>
                  <a:moveTo>
                    <a:pt x="65168" y="90167"/>
                  </a:moveTo>
                  <a:lnTo>
                    <a:pt x="65168" y="90167"/>
                  </a:lnTo>
                  <a:lnTo>
                    <a:pt x="65168" y="90167"/>
                  </a:lnTo>
                  <a:lnTo>
                    <a:pt x="65168" y="90167"/>
                  </a:lnTo>
                  <a:close/>
                  <a:moveTo>
                    <a:pt x="86733" y="109217"/>
                  </a:moveTo>
                  <a:lnTo>
                    <a:pt x="86733" y="109217"/>
                  </a:lnTo>
                  <a:lnTo>
                    <a:pt x="86733" y="109217"/>
                  </a:lnTo>
                  <a:lnTo>
                    <a:pt x="86733" y="109217"/>
                  </a:lnTo>
                  <a:close/>
                  <a:moveTo>
                    <a:pt x="106408" y="128266"/>
                  </a:moveTo>
                  <a:lnTo>
                    <a:pt x="106408" y="128266"/>
                  </a:lnTo>
                  <a:lnTo>
                    <a:pt x="106408" y="128266"/>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7" name="Freeform: Shape 86">
              <a:extLst>
                <a:ext uri="{FF2B5EF4-FFF2-40B4-BE49-F238E27FC236}">
                  <a16:creationId xmlns:a16="http://schemas.microsoft.com/office/drawing/2014/main" id="{C0100DB2-12F4-4C61-80E5-2666F92C10F1}"/>
                </a:ext>
              </a:extLst>
            </p:cNvPr>
            <p:cNvSpPr/>
            <p:nvPr/>
          </p:nvSpPr>
          <p:spPr>
            <a:xfrm>
              <a:off x="6643485" y="486915"/>
              <a:ext cx="84268" cy="57456"/>
            </a:xfrm>
            <a:custGeom>
              <a:avLst/>
              <a:gdLst>
                <a:gd name="connsiteX0" fmla="*/ 84971 w 84268"/>
                <a:gd name="connsiteY0" fmla="*/ 38265 h 57455"/>
                <a:gd name="connsiteX1" fmla="*/ 84971 w 84268"/>
                <a:gd name="connsiteY1" fmla="*/ 19062 h 57455"/>
                <a:gd name="connsiteX2" fmla="*/ 7725 w 84268"/>
                <a:gd name="connsiteY2" fmla="*/ 19203 h 57455"/>
                <a:gd name="connsiteX3" fmla="*/ 0 w 84268"/>
                <a:gd name="connsiteY3" fmla="*/ 26928 h 57455"/>
                <a:gd name="connsiteX4" fmla="*/ 0 w 84268"/>
                <a:gd name="connsiteY4" fmla="*/ 50740 h 57455"/>
                <a:gd name="connsiteX5" fmla="*/ 7725 w 84268"/>
                <a:gd name="connsiteY5" fmla="*/ 58464 h 57455"/>
                <a:gd name="connsiteX6" fmla="*/ 33924 w 84268"/>
                <a:gd name="connsiteY6" fmla="*/ 58464 h 57455"/>
                <a:gd name="connsiteX7" fmla="*/ 41649 w 84268"/>
                <a:gd name="connsiteY7" fmla="*/ 50740 h 57455"/>
                <a:gd name="connsiteX8" fmla="*/ 41649 w 84268"/>
                <a:gd name="connsiteY8" fmla="*/ 45122 h 57455"/>
                <a:gd name="connsiteX9" fmla="*/ 49323 w 84268"/>
                <a:gd name="connsiteY9" fmla="*/ 38265 h 57455"/>
                <a:gd name="connsiteX10" fmla="*/ 84971 w 84268"/>
                <a:gd name="connsiteY10" fmla="*/ 38265 h 57455"/>
                <a:gd name="connsiteX11" fmla="*/ 84971 w 84268"/>
                <a:gd name="connsiteY11" fmla="*/ 38265 h 57455"/>
                <a:gd name="connsiteX12" fmla="*/ 12244 w 84268"/>
                <a:gd name="connsiteY12" fmla="*/ 0 h 57455"/>
                <a:gd name="connsiteX13" fmla="*/ 12244 w 84268"/>
                <a:gd name="connsiteY13" fmla="*/ 0 h 57455"/>
                <a:gd name="connsiteX14" fmla="*/ 12244 w 84268"/>
                <a:gd name="connsiteY14" fmla="*/ 0 h 57455"/>
                <a:gd name="connsiteX15" fmla="*/ 12244 w 84268"/>
                <a:gd name="connsiteY15" fmla="*/ 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268" h="57455">
                  <a:moveTo>
                    <a:pt x="84971" y="38265"/>
                  </a:moveTo>
                  <a:lnTo>
                    <a:pt x="84971" y="19062"/>
                  </a:lnTo>
                  <a:cubicBezTo>
                    <a:pt x="57302" y="19062"/>
                    <a:pt x="33478" y="19203"/>
                    <a:pt x="7725" y="19203"/>
                  </a:cubicBezTo>
                  <a:cubicBezTo>
                    <a:pt x="3473" y="19203"/>
                    <a:pt x="0" y="22676"/>
                    <a:pt x="0" y="26928"/>
                  </a:cubicBezTo>
                  <a:lnTo>
                    <a:pt x="0" y="50740"/>
                  </a:lnTo>
                  <a:cubicBezTo>
                    <a:pt x="0" y="54991"/>
                    <a:pt x="3473" y="58464"/>
                    <a:pt x="7725" y="58464"/>
                  </a:cubicBezTo>
                  <a:lnTo>
                    <a:pt x="33924" y="58464"/>
                  </a:lnTo>
                  <a:cubicBezTo>
                    <a:pt x="38176" y="58464"/>
                    <a:pt x="41649" y="54991"/>
                    <a:pt x="41649" y="50740"/>
                  </a:cubicBezTo>
                  <a:lnTo>
                    <a:pt x="41649" y="45122"/>
                  </a:lnTo>
                  <a:cubicBezTo>
                    <a:pt x="42083" y="41279"/>
                    <a:pt x="45377" y="38265"/>
                    <a:pt x="49323" y="38265"/>
                  </a:cubicBezTo>
                  <a:lnTo>
                    <a:pt x="84971" y="38265"/>
                  </a:lnTo>
                  <a:lnTo>
                    <a:pt x="84971" y="38265"/>
                  </a:lnTo>
                  <a:close/>
                  <a:moveTo>
                    <a:pt x="12244" y="0"/>
                  </a:moveTo>
                  <a:lnTo>
                    <a:pt x="12244" y="0"/>
                  </a:lnTo>
                  <a:lnTo>
                    <a:pt x="12244" y="0"/>
                  </a:lnTo>
                  <a:lnTo>
                    <a:pt x="12244"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8" name="Freeform: Shape 87">
              <a:extLst>
                <a:ext uri="{FF2B5EF4-FFF2-40B4-BE49-F238E27FC236}">
                  <a16:creationId xmlns:a16="http://schemas.microsoft.com/office/drawing/2014/main" id="{6C46AE09-092E-45FB-BC69-35C182DB7656}"/>
                </a:ext>
              </a:extLst>
            </p:cNvPr>
            <p:cNvSpPr/>
            <p:nvPr/>
          </p:nvSpPr>
          <p:spPr>
            <a:xfrm>
              <a:off x="6728443" y="489571"/>
              <a:ext cx="126402" cy="76607"/>
            </a:xfrm>
            <a:custGeom>
              <a:avLst/>
              <a:gdLst>
                <a:gd name="connsiteX0" fmla="*/ 63329 w 126402"/>
                <a:gd name="connsiteY0" fmla="*/ 0 h 76607"/>
                <a:gd name="connsiteX1" fmla="*/ 127577 w 126402"/>
                <a:gd name="connsiteY1" fmla="*/ 0 h 76607"/>
                <a:gd name="connsiteX2" fmla="*/ 127577 w 126402"/>
                <a:gd name="connsiteY2" fmla="*/ 28587 h 76607"/>
                <a:gd name="connsiteX3" fmla="*/ 119853 w 126402"/>
                <a:gd name="connsiteY3" fmla="*/ 36312 h 76607"/>
                <a:gd name="connsiteX4" fmla="*/ 115179 w 126402"/>
                <a:gd name="connsiteY4" fmla="*/ 36312 h 76607"/>
                <a:gd name="connsiteX5" fmla="*/ 105438 w 126402"/>
                <a:gd name="connsiteY5" fmla="*/ 46590 h 76607"/>
                <a:gd name="connsiteX6" fmla="*/ 105438 w 126402"/>
                <a:gd name="connsiteY6" fmla="*/ 69164 h 76607"/>
                <a:gd name="connsiteX7" fmla="*/ 97713 w 126402"/>
                <a:gd name="connsiteY7" fmla="*/ 76888 h 76607"/>
                <a:gd name="connsiteX8" fmla="*/ 63342 w 126402"/>
                <a:gd name="connsiteY8" fmla="*/ 76888 h 76607"/>
                <a:gd name="connsiteX9" fmla="*/ 63789 w 126402"/>
                <a:gd name="connsiteY9" fmla="*/ 69164 h 76607"/>
                <a:gd name="connsiteX10" fmla="*/ 63789 w 126402"/>
                <a:gd name="connsiteY10" fmla="*/ 42466 h 76607"/>
                <a:gd name="connsiteX11" fmla="*/ 56115 w 126402"/>
                <a:gd name="connsiteY11" fmla="*/ 35610 h 76607"/>
                <a:gd name="connsiteX12" fmla="*/ 0 w 126402"/>
                <a:gd name="connsiteY12" fmla="*/ 35610 h 76607"/>
                <a:gd name="connsiteX13" fmla="*/ 0 w 126402"/>
                <a:gd name="connsiteY13" fmla="*/ 16407 h 76607"/>
                <a:gd name="connsiteX14" fmla="*/ 10559 w 126402"/>
                <a:gd name="connsiteY14" fmla="*/ 16407 h 76607"/>
                <a:gd name="connsiteX15" fmla="*/ 12513 w 126402"/>
                <a:gd name="connsiteY15" fmla="*/ 16317 h 76607"/>
                <a:gd name="connsiteX16" fmla="*/ 13572 w 126402"/>
                <a:gd name="connsiteY16" fmla="*/ 16266 h 76607"/>
                <a:gd name="connsiteX17" fmla="*/ 53651 w 126402"/>
                <a:gd name="connsiteY17" fmla="*/ 16266 h 76607"/>
                <a:gd name="connsiteX18" fmla="*/ 63035 w 126402"/>
                <a:gd name="connsiteY18" fmla="*/ 6882 h 76607"/>
                <a:gd name="connsiteX19" fmla="*/ 63329 w 126402"/>
                <a:gd name="connsiteY19" fmla="*/ 0 h 7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402" h="76607">
                  <a:moveTo>
                    <a:pt x="63329" y="0"/>
                  </a:moveTo>
                  <a:lnTo>
                    <a:pt x="127577" y="0"/>
                  </a:lnTo>
                  <a:lnTo>
                    <a:pt x="127577" y="28587"/>
                  </a:lnTo>
                  <a:cubicBezTo>
                    <a:pt x="127577" y="32839"/>
                    <a:pt x="124104" y="36312"/>
                    <a:pt x="119853" y="36312"/>
                  </a:cubicBezTo>
                  <a:lnTo>
                    <a:pt x="115179" y="36312"/>
                  </a:lnTo>
                  <a:cubicBezTo>
                    <a:pt x="107634" y="36312"/>
                    <a:pt x="105220" y="43692"/>
                    <a:pt x="105438" y="46590"/>
                  </a:cubicBezTo>
                  <a:lnTo>
                    <a:pt x="105438" y="69164"/>
                  </a:lnTo>
                  <a:cubicBezTo>
                    <a:pt x="105438" y="73416"/>
                    <a:pt x="101965" y="76888"/>
                    <a:pt x="97713" y="76888"/>
                  </a:cubicBezTo>
                  <a:lnTo>
                    <a:pt x="63342" y="76888"/>
                  </a:lnTo>
                  <a:lnTo>
                    <a:pt x="63789" y="69164"/>
                  </a:lnTo>
                  <a:lnTo>
                    <a:pt x="63789" y="42466"/>
                  </a:lnTo>
                  <a:cubicBezTo>
                    <a:pt x="63354" y="38623"/>
                    <a:pt x="60060" y="35610"/>
                    <a:pt x="56115" y="35610"/>
                  </a:cubicBezTo>
                  <a:lnTo>
                    <a:pt x="0" y="35610"/>
                  </a:lnTo>
                  <a:lnTo>
                    <a:pt x="0" y="16407"/>
                  </a:lnTo>
                  <a:lnTo>
                    <a:pt x="10559" y="16407"/>
                  </a:lnTo>
                  <a:cubicBezTo>
                    <a:pt x="11223" y="16407"/>
                    <a:pt x="11874" y="16368"/>
                    <a:pt x="12513" y="16317"/>
                  </a:cubicBezTo>
                  <a:cubicBezTo>
                    <a:pt x="12883" y="16279"/>
                    <a:pt x="13202" y="16266"/>
                    <a:pt x="13572" y="16266"/>
                  </a:cubicBezTo>
                  <a:lnTo>
                    <a:pt x="53651" y="16266"/>
                  </a:lnTo>
                  <a:cubicBezTo>
                    <a:pt x="58809" y="16266"/>
                    <a:pt x="62818" y="12040"/>
                    <a:pt x="63035" y="6882"/>
                  </a:cubicBezTo>
                  <a:lnTo>
                    <a:pt x="63329"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89" name="Freeform: Shape 88">
              <a:extLst>
                <a:ext uri="{FF2B5EF4-FFF2-40B4-BE49-F238E27FC236}">
                  <a16:creationId xmlns:a16="http://schemas.microsoft.com/office/drawing/2014/main" id="{A54E0DDB-8FC9-4CA7-995A-922AB4BF355E}"/>
                </a:ext>
              </a:extLst>
            </p:cNvPr>
            <p:cNvSpPr/>
            <p:nvPr/>
          </p:nvSpPr>
          <p:spPr>
            <a:xfrm>
              <a:off x="6791797" y="545750"/>
              <a:ext cx="40857" cy="20429"/>
            </a:xfrm>
            <a:custGeom>
              <a:avLst/>
              <a:gdLst>
                <a:gd name="connsiteX0" fmla="*/ 42096 w 40857"/>
                <a:gd name="connsiteY0" fmla="*/ 0 h 20428"/>
                <a:gd name="connsiteX1" fmla="*/ 42096 w 40857"/>
                <a:gd name="connsiteY1" fmla="*/ 12985 h 20428"/>
                <a:gd name="connsiteX2" fmla="*/ 34371 w 40857"/>
                <a:gd name="connsiteY2" fmla="*/ 20710 h 20428"/>
                <a:gd name="connsiteX3" fmla="*/ 0 w 40857"/>
                <a:gd name="connsiteY3" fmla="*/ 20710 h 20428"/>
                <a:gd name="connsiteX4" fmla="*/ 447 w 40857"/>
                <a:gd name="connsiteY4" fmla="*/ 12985 h 20428"/>
                <a:gd name="connsiteX5" fmla="*/ 447 w 40857"/>
                <a:gd name="connsiteY5" fmla="*/ 0 h 20428"/>
                <a:gd name="connsiteX6" fmla="*/ 42096 w 40857"/>
                <a:gd name="connsiteY6" fmla="*/ 0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57" h="20428">
                  <a:moveTo>
                    <a:pt x="42096" y="0"/>
                  </a:moveTo>
                  <a:lnTo>
                    <a:pt x="42096" y="12985"/>
                  </a:lnTo>
                  <a:cubicBezTo>
                    <a:pt x="42096" y="17237"/>
                    <a:pt x="38623" y="20710"/>
                    <a:pt x="34371" y="20710"/>
                  </a:cubicBezTo>
                  <a:lnTo>
                    <a:pt x="0" y="20710"/>
                  </a:lnTo>
                  <a:lnTo>
                    <a:pt x="447" y="12985"/>
                  </a:lnTo>
                  <a:lnTo>
                    <a:pt x="447" y="0"/>
                  </a:lnTo>
                  <a:lnTo>
                    <a:pt x="42096"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0" name="Freeform: Shape 89">
              <a:extLst>
                <a:ext uri="{FF2B5EF4-FFF2-40B4-BE49-F238E27FC236}">
                  <a16:creationId xmlns:a16="http://schemas.microsoft.com/office/drawing/2014/main" id="{45A06366-A22A-47B1-A4A2-544F3C0C7238}"/>
                </a:ext>
              </a:extLst>
            </p:cNvPr>
            <p:cNvSpPr/>
            <p:nvPr/>
          </p:nvSpPr>
          <p:spPr>
            <a:xfrm>
              <a:off x="6808485" y="545788"/>
              <a:ext cx="109804" cy="65116"/>
            </a:xfrm>
            <a:custGeom>
              <a:avLst/>
              <a:gdLst>
                <a:gd name="connsiteX0" fmla="*/ 0 w 109804"/>
                <a:gd name="connsiteY0" fmla="*/ 20671 h 65116"/>
                <a:gd name="connsiteX1" fmla="*/ 5503 w 109804"/>
                <a:gd name="connsiteY1" fmla="*/ 29532 h 65116"/>
                <a:gd name="connsiteX2" fmla="*/ 5503 w 109804"/>
                <a:gd name="connsiteY2" fmla="*/ 32073 h 65116"/>
                <a:gd name="connsiteX3" fmla="*/ 13228 w 109804"/>
                <a:gd name="connsiteY3" fmla="*/ 39798 h 65116"/>
                <a:gd name="connsiteX4" fmla="*/ 16994 w 109804"/>
                <a:gd name="connsiteY4" fmla="*/ 39798 h 65116"/>
                <a:gd name="connsiteX5" fmla="*/ 27847 w 109804"/>
                <a:gd name="connsiteY5" fmla="*/ 50650 h 65116"/>
                <a:gd name="connsiteX6" fmla="*/ 27847 w 109804"/>
                <a:gd name="connsiteY6" fmla="*/ 51608 h 65116"/>
                <a:gd name="connsiteX7" fmla="*/ 27847 w 109804"/>
                <a:gd name="connsiteY7" fmla="*/ 51812 h 65116"/>
                <a:gd name="connsiteX8" fmla="*/ 27847 w 109804"/>
                <a:gd name="connsiteY8" fmla="*/ 51812 h 65116"/>
                <a:gd name="connsiteX9" fmla="*/ 27860 w 109804"/>
                <a:gd name="connsiteY9" fmla="*/ 52004 h 65116"/>
                <a:gd name="connsiteX10" fmla="*/ 27860 w 109804"/>
                <a:gd name="connsiteY10" fmla="*/ 52004 h 65116"/>
                <a:gd name="connsiteX11" fmla="*/ 27872 w 109804"/>
                <a:gd name="connsiteY11" fmla="*/ 52195 h 65116"/>
                <a:gd name="connsiteX12" fmla="*/ 27872 w 109804"/>
                <a:gd name="connsiteY12" fmla="*/ 52195 h 65116"/>
                <a:gd name="connsiteX13" fmla="*/ 27885 w 109804"/>
                <a:gd name="connsiteY13" fmla="*/ 52387 h 65116"/>
                <a:gd name="connsiteX14" fmla="*/ 27885 w 109804"/>
                <a:gd name="connsiteY14" fmla="*/ 52387 h 65116"/>
                <a:gd name="connsiteX15" fmla="*/ 27911 w 109804"/>
                <a:gd name="connsiteY15" fmla="*/ 52578 h 65116"/>
                <a:gd name="connsiteX16" fmla="*/ 27911 w 109804"/>
                <a:gd name="connsiteY16" fmla="*/ 52578 h 65116"/>
                <a:gd name="connsiteX17" fmla="*/ 27936 w 109804"/>
                <a:gd name="connsiteY17" fmla="*/ 52770 h 65116"/>
                <a:gd name="connsiteX18" fmla="*/ 27936 w 109804"/>
                <a:gd name="connsiteY18" fmla="*/ 52770 h 65116"/>
                <a:gd name="connsiteX19" fmla="*/ 27962 w 109804"/>
                <a:gd name="connsiteY19" fmla="*/ 52961 h 65116"/>
                <a:gd name="connsiteX20" fmla="*/ 27962 w 109804"/>
                <a:gd name="connsiteY20" fmla="*/ 52961 h 65116"/>
                <a:gd name="connsiteX21" fmla="*/ 30949 w 109804"/>
                <a:gd name="connsiteY21" fmla="*/ 57788 h 65116"/>
                <a:gd name="connsiteX22" fmla="*/ 30949 w 109804"/>
                <a:gd name="connsiteY22" fmla="*/ 57788 h 65116"/>
                <a:gd name="connsiteX23" fmla="*/ 31103 w 109804"/>
                <a:gd name="connsiteY23" fmla="*/ 57903 h 65116"/>
                <a:gd name="connsiteX24" fmla="*/ 31103 w 109804"/>
                <a:gd name="connsiteY24" fmla="*/ 57903 h 65116"/>
                <a:gd name="connsiteX25" fmla="*/ 31256 w 109804"/>
                <a:gd name="connsiteY25" fmla="*/ 58005 h 65116"/>
                <a:gd name="connsiteX26" fmla="*/ 31256 w 109804"/>
                <a:gd name="connsiteY26" fmla="*/ 58005 h 65116"/>
                <a:gd name="connsiteX27" fmla="*/ 31409 w 109804"/>
                <a:gd name="connsiteY27" fmla="*/ 58107 h 65116"/>
                <a:gd name="connsiteX28" fmla="*/ 31409 w 109804"/>
                <a:gd name="connsiteY28" fmla="*/ 58107 h 65116"/>
                <a:gd name="connsiteX29" fmla="*/ 31562 w 109804"/>
                <a:gd name="connsiteY29" fmla="*/ 58209 h 65116"/>
                <a:gd name="connsiteX30" fmla="*/ 31562 w 109804"/>
                <a:gd name="connsiteY30" fmla="*/ 58209 h 65116"/>
                <a:gd name="connsiteX31" fmla="*/ 31639 w 109804"/>
                <a:gd name="connsiteY31" fmla="*/ 58247 h 65116"/>
                <a:gd name="connsiteX32" fmla="*/ 31818 w 109804"/>
                <a:gd name="connsiteY32" fmla="*/ 58349 h 65116"/>
                <a:gd name="connsiteX33" fmla="*/ 31894 w 109804"/>
                <a:gd name="connsiteY33" fmla="*/ 58388 h 65116"/>
                <a:gd name="connsiteX34" fmla="*/ 31894 w 109804"/>
                <a:gd name="connsiteY34" fmla="*/ 58388 h 65116"/>
                <a:gd name="connsiteX35" fmla="*/ 32060 w 109804"/>
                <a:gd name="connsiteY35" fmla="*/ 58477 h 65116"/>
                <a:gd name="connsiteX36" fmla="*/ 32060 w 109804"/>
                <a:gd name="connsiteY36" fmla="*/ 58477 h 65116"/>
                <a:gd name="connsiteX37" fmla="*/ 32226 w 109804"/>
                <a:gd name="connsiteY37" fmla="*/ 58566 h 65116"/>
                <a:gd name="connsiteX38" fmla="*/ 32226 w 109804"/>
                <a:gd name="connsiteY38" fmla="*/ 58566 h 65116"/>
                <a:gd name="connsiteX39" fmla="*/ 32392 w 109804"/>
                <a:gd name="connsiteY39" fmla="*/ 58643 h 65116"/>
                <a:gd name="connsiteX40" fmla="*/ 32392 w 109804"/>
                <a:gd name="connsiteY40" fmla="*/ 58643 h 65116"/>
                <a:gd name="connsiteX41" fmla="*/ 32558 w 109804"/>
                <a:gd name="connsiteY41" fmla="*/ 58720 h 65116"/>
                <a:gd name="connsiteX42" fmla="*/ 32558 w 109804"/>
                <a:gd name="connsiteY42" fmla="*/ 58720 h 65116"/>
                <a:gd name="connsiteX43" fmla="*/ 32737 w 109804"/>
                <a:gd name="connsiteY43" fmla="*/ 58796 h 65116"/>
                <a:gd name="connsiteX44" fmla="*/ 32737 w 109804"/>
                <a:gd name="connsiteY44" fmla="*/ 58796 h 65116"/>
                <a:gd name="connsiteX45" fmla="*/ 32916 w 109804"/>
                <a:gd name="connsiteY45" fmla="*/ 58860 h 65116"/>
                <a:gd name="connsiteX46" fmla="*/ 32916 w 109804"/>
                <a:gd name="connsiteY46" fmla="*/ 58860 h 65116"/>
                <a:gd name="connsiteX47" fmla="*/ 33094 w 109804"/>
                <a:gd name="connsiteY47" fmla="*/ 58924 h 65116"/>
                <a:gd name="connsiteX48" fmla="*/ 33094 w 109804"/>
                <a:gd name="connsiteY48" fmla="*/ 58924 h 65116"/>
                <a:gd name="connsiteX49" fmla="*/ 33133 w 109804"/>
                <a:gd name="connsiteY49" fmla="*/ 58937 h 65116"/>
                <a:gd name="connsiteX50" fmla="*/ 33414 w 109804"/>
                <a:gd name="connsiteY50" fmla="*/ 59026 h 65116"/>
                <a:gd name="connsiteX51" fmla="*/ 33452 w 109804"/>
                <a:gd name="connsiteY51" fmla="*/ 59039 h 65116"/>
                <a:gd name="connsiteX52" fmla="*/ 33452 w 109804"/>
                <a:gd name="connsiteY52" fmla="*/ 59039 h 65116"/>
                <a:gd name="connsiteX53" fmla="*/ 33631 w 109804"/>
                <a:gd name="connsiteY53" fmla="*/ 59090 h 65116"/>
                <a:gd name="connsiteX54" fmla="*/ 33631 w 109804"/>
                <a:gd name="connsiteY54" fmla="*/ 59090 h 65116"/>
                <a:gd name="connsiteX55" fmla="*/ 33809 w 109804"/>
                <a:gd name="connsiteY55" fmla="*/ 59141 h 65116"/>
                <a:gd name="connsiteX56" fmla="*/ 33809 w 109804"/>
                <a:gd name="connsiteY56" fmla="*/ 59141 h 65116"/>
                <a:gd name="connsiteX57" fmla="*/ 34001 w 109804"/>
                <a:gd name="connsiteY57" fmla="*/ 59179 h 65116"/>
                <a:gd name="connsiteX58" fmla="*/ 34001 w 109804"/>
                <a:gd name="connsiteY58" fmla="*/ 59179 h 65116"/>
                <a:gd name="connsiteX59" fmla="*/ 34193 w 109804"/>
                <a:gd name="connsiteY59" fmla="*/ 59218 h 65116"/>
                <a:gd name="connsiteX60" fmla="*/ 34193 w 109804"/>
                <a:gd name="connsiteY60" fmla="*/ 59218 h 65116"/>
                <a:gd name="connsiteX61" fmla="*/ 34231 w 109804"/>
                <a:gd name="connsiteY61" fmla="*/ 59218 h 65116"/>
                <a:gd name="connsiteX62" fmla="*/ 34550 w 109804"/>
                <a:gd name="connsiteY62" fmla="*/ 59269 h 65116"/>
                <a:gd name="connsiteX63" fmla="*/ 34588 w 109804"/>
                <a:gd name="connsiteY63" fmla="*/ 59269 h 65116"/>
                <a:gd name="connsiteX64" fmla="*/ 34588 w 109804"/>
                <a:gd name="connsiteY64" fmla="*/ 59269 h 65116"/>
                <a:gd name="connsiteX65" fmla="*/ 34780 w 109804"/>
                <a:gd name="connsiteY65" fmla="*/ 59294 h 65116"/>
                <a:gd name="connsiteX66" fmla="*/ 34780 w 109804"/>
                <a:gd name="connsiteY66" fmla="*/ 59294 h 65116"/>
                <a:gd name="connsiteX67" fmla="*/ 34971 w 109804"/>
                <a:gd name="connsiteY67" fmla="*/ 59307 h 65116"/>
                <a:gd name="connsiteX68" fmla="*/ 34971 w 109804"/>
                <a:gd name="connsiteY68" fmla="*/ 59307 h 65116"/>
                <a:gd name="connsiteX69" fmla="*/ 35163 w 109804"/>
                <a:gd name="connsiteY69" fmla="*/ 59320 h 65116"/>
                <a:gd name="connsiteX70" fmla="*/ 35163 w 109804"/>
                <a:gd name="connsiteY70" fmla="*/ 59320 h 65116"/>
                <a:gd name="connsiteX71" fmla="*/ 35227 w 109804"/>
                <a:gd name="connsiteY71" fmla="*/ 59320 h 65116"/>
                <a:gd name="connsiteX72" fmla="*/ 35648 w 109804"/>
                <a:gd name="connsiteY72" fmla="*/ 59333 h 65116"/>
                <a:gd name="connsiteX73" fmla="*/ 57877 w 109804"/>
                <a:gd name="connsiteY73" fmla="*/ 59333 h 65116"/>
                <a:gd name="connsiteX74" fmla="*/ 58183 w 109804"/>
                <a:gd name="connsiteY74" fmla="*/ 59333 h 65116"/>
                <a:gd name="connsiteX75" fmla="*/ 68232 w 109804"/>
                <a:gd name="connsiteY75" fmla="*/ 66087 h 65116"/>
                <a:gd name="connsiteX76" fmla="*/ 67874 w 109804"/>
                <a:gd name="connsiteY76" fmla="*/ 46296 h 65116"/>
                <a:gd name="connsiteX77" fmla="*/ 56804 w 109804"/>
                <a:gd name="connsiteY77" fmla="*/ 37014 h 65116"/>
                <a:gd name="connsiteX78" fmla="*/ 54774 w 109804"/>
                <a:gd name="connsiteY78" fmla="*/ 37014 h 65116"/>
                <a:gd name="connsiteX79" fmla="*/ 47050 w 109804"/>
                <a:gd name="connsiteY79" fmla="*/ 29290 h 65116"/>
                <a:gd name="connsiteX80" fmla="*/ 47050 w 109804"/>
                <a:gd name="connsiteY80" fmla="*/ 26608 h 65116"/>
                <a:gd name="connsiteX81" fmla="*/ 54774 w 109804"/>
                <a:gd name="connsiteY81" fmla="*/ 18884 h 65116"/>
                <a:gd name="connsiteX82" fmla="*/ 110021 w 109804"/>
                <a:gd name="connsiteY82" fmla="*/ 18884 h 65116"/>
                <a:gd name="connsiteX83" fmla="*/ 110021 w 109804"/>
                <a:gd name="connsiteY83" fmla="*/ 0 h 65116"/>
                <a:gd name="connsiteX84" fmla="*/ 25408 w 109804"/>
                <a:gd name="connsiteY84" fmla="*/ 0 h 65116"/>
                <a:gd name="connsiteX85" fmla="*/ 25408 w 109804"/>
                <a:gd name="connsiteY85" fmla="*/ 12985 h 65116"/>
                <a:gd name="connsiteX86" fmla="*/ 17684 w 109804"/>
                <a:gd name="connsiteY86" fmla="*/ 20710 h 65116"/>
                <a:gd name="connsiteX87" fmla="*/ 0 w 109804"/>
                <a:gd name="connsiteY87" fmla="*/ 20710 h 65116"/>
                <a:gd name="connsiteX88" fmla="*/ 0 w 109804"/>
                <a:gd name="connsiteY88" fmla="*/ 20671 h 65116"/>
                <a:gd name="connsiteX89" fmla="*/ 27847 w 109804"/>
                <a:gd name="connsiteY89" fmla="*/ 51595 h 65116"/>
                <a:gd name="connsiteX90" fmla="*/ 27847 w 109804"/>
                <a:gd name="connsiteY90" fmla="*/ 51595 h 65116"/>
                <a:gd name="connsiteX91" fmla="*/ 27847 w 109804"/>
                <a:gd name="connsiteY91" fmla="*/ 51595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9804" h="65116">
                  <a:moveTo>
                    <a:pt x="0" y="20671"/>
                  </a:moveTo>
                  <a:cubicBezTo>
                    <a:pt x="3218" y="20710"/>
                    <a:pt x="5503" y="22714"/>
                    <a:pt x="5503" y="29532"/>
                  </a:cubicBezTo>
                  <a:lnTo>
                    <a:pt x="5503" y="32073"/>
                  </a:lnTo>
                  <a:cubicBezTo>
                    <a:pt x="5503" y="36325"/>
                    <a:pt x="8976" y="39798"/>
                    <a:pt x="13228" y="39798"/>
                  </a:cubicBezTo>
                  <a:lnTo>
                    <a:pt x="16994" y="39798"/>
                  </a:lnTo>
                  <a:cubicBezTo>
                    <a:pt x="22969" y="39798"/>
                    <a:pt x="27847" y="44675"/>
                    <a:pt x="27847" y="50650"/>
                  </a:cubicBezTo>
                  <a:lnTo>
                    <a:pt x="27847" y="51608"/>
                  </a:lnTo>
                  <a:lnTo>
                    <a:pt x="27847" y="51812"/>
                  </a:lnTo>
                  <a:lnTo>
                    <a:pt x="27847" y="51812"/>
                  </a:lnTo>
                  <a:lnTo>
                    <a:pt x="27860" y="52004"/>
                  </a:lnTo>
                  <a:lnTo>
                    <a:pt x="27860" y="52004"/>
                  </a:lnTo>
                  <a:lnTo>
                    <a:pt x="27872" y="52195"/>
                  </a:lnTo>
                  <a:lnTo>
                    <a:pt x="27872" y="52195"/>
                  </a:lnTo>
                  <a:lnTo>
                    <a:pt x="27885" y="52387"/>
                  </a:lnTo>
                  <a:lnTo>
                    <a:pt x="27885" y="52387"/>
                  </a:lnTo>
                  <a:lnTo>
                    <a:pt x="27911" y="52578"/>
                  </a:lnTo>
                  <a:lnTo>
                    <a:pt x="27911" y="52578"/>
                  </a:lnTo>
                  <a:lnTo>
                    <a:pt x="27936" y="52770"/>
                  </a:lnTo>
                  <a:lnTo>
                    <a:pt x="27936" y="52770"/>
                  </a:lnTo>
                  <a:lnTo>
                    <a:pt x="27962" y="52961"/>
                  </a:lnTo>
                  <a:lnTo>
                    <a:pt x="27962" y="52961"/>
                  </a:lnTo>
                  <a:cubicBezTo>
                    <a:pt x="28294" y="54864"/>
                    <a:pt x="29392" y="56600"/>
                    <a:pt x="30949" y="57788"/>
                  </a:cubicBezTo>
                  <a:lnTo>
                    <a:pt x="30949" y="57788"/>
                  </a:lnTo>
                  <a:lnTo>
                    <a:pt x="31103" y="57903"/>
                  </a:lnTo>
                  <a:lnTo>
                    <a:pt x="31103" y="57903"/>
                  </a:lnTo>
                  <a:lnTo>
                    <a:pt x="31256" y="58005"/>
                  </a:lnTo>
                  <a:lnTo>
                    <a:pt x="31256" y="58005"/>
                  </a:lnTo>
                  <a:lnTo>
                    <a:pt x="31409" y="58107"/>
                  </a:lnTo>
                  <a:lnTo>
                    <a:pt x="31409" y="58107"/>
                  </a:lnTo>
                  <a:lnTo>
                    <a:pt x="31562" y="58209"/>
                  </a:lnTo>
                  <a:lnTo>
                    <a:pt x="31562" y="58209"/>
                  </a:lnTo>
                  <a:lnTo>
                    <a:pt x="31639" y="58247"/>
                  </a:lnTo>
                  <a:cubicBezTo>
                    <a:pt x="31703" y="58286"/>
                    <a:pt x="31754" y="58311"/>
                    <a:pt x="31818" y="58349"/>
                  </a:cubicBezTo>
                  <a:lnTo>
                    <a:pt x="31894" y="58388"/>
                  </a:lnTo>
                  <a:lnTo>
                    <a:pt x="31894" y="58388"/>
                  </a:lnTo>
                  <a:lnTo>
                    <a:pt x="32060" y="58477"/>
                  </a:lnTo>
                  <a:lnTo>
                    <a:pt x="32060" y="58477"/>
                  </a:lnTo>
                  <a:lnTo>
                    <a:pt x="32226" y="58566"/>
                  </a:lnTo>
                  <a:lnTo>
                    <a:pt x="32226" y="58566"/>
                  </a:lnTo>
                  <a:lnTo>
                    <a:pt x="32392" y="58643"/>
                  </a:lnTo>
                  <a:lnTo>
                    <a:pt x="32392" y="58643"/>
                  </a:lnTo>
                  <a:cubicBezTo>
                    <a:pt x="32443" y="58669"/>
                    <a:pt x="32507" y="58694"/>
                    <a:pt x="32558" y="58720"/>
                  </a:cubicBezTo>
                  <a:lnTo>
                    <a:pt x="32558" y="58720"/>
                  </a:lnTo>
                  <a:lnTo>
                    <a:pt x="32737" y="58796"/>
                  </a:lnTo>
                  <a:lnTo>
                    <a:pt x="32737" y="58796"/>
                  </a:lnTo>
                  <a:lnTo>
                    <a:pt x="32916" y="58860"/>
                  </a:lnTo>
                  <a:lnTo>
                    <a:pt x="32916" y="58860"/>
                  </a:lnTo>
                  <a:lnTo>
                    <a:pt x="33094" y="58924"/>
                  </a:lnTo>
                  <a:lnTo>
                    <a:pt x="33094" y="58924"/>
                  </a:lnTo>
                  <a:lnTo>
                    <a:pt x="33133" y="58937"/>
                  </a:lnTo>
                  <a:cubicBezTo>
                    <a:pt x="33235" y="58962"/>
                    <a:pt x="33312" y="58988"/>
                    <a:pt x="33414" y="59026"/>
                  </a:cubicBezTo>
                  <a:lnTo>
                    <a:pt x="33452" y="59039"/>
                  </a:lnTo>
                  <a:lnTo>
                    <a:pt x="33452" y="59039"/>
                  </a:lnTo>
                  <a:lnTo>
                    <a:pt x="33631" y="59090"/>
                  </a:lnTo>
                  <a:lnTo>
                    <a:pt x="33631" y="59090"/>
                  </a:lnTo>
                  <a:lnTo>
                    <a:pt x="33809" y="59141"/>
                  </a:lnTo>
                  <a:lnTo>
                    <a:pt x="33809" y="59141"/>
                  </a:lnTo>
                  <a:lnTo>
                    <a:pt x="34001" y="59179"/>
                  </a:lnTo>
                  <a:lnTo>
                    <a:pt x="34001" y="59179"/>
                  </a:lnTo>
                  <a:cubicBezTo>
                    <a:pt x="34065" y="59192"/>
                    <a:pt x="34129" y="59205"/>
                    <a:pt x="34193" y="59218"/>
                  </a:cubicBezTo>
                  <a:lnTo>
                    <a:pt x="34193" y="59218"/>
                  </a:lnTo>
                  <a:lnTo>
                    <a:pt x="34231" y="59218"/>
                  </a:lnTo>
                  <a:cubicBezTo>
                    <a:pt x="34346" y="59230"/>
                    <a:pt x="34435" y="59256"/>
                    <a:pt x="34550" y="59269"/>
                  </a:cubicBezTo>
                  <a:lnTo>
                    <a:pt x="34588" y="59269"/>
                  </a:lnTo>
                  <a:lnTo>
                    <a:pt x="34588" y="59269"/>
                  </a:lnTo>
                  <a:lnTo>
                    <a:pt x="34780" y="59294"/>
                  </a:lnTo>
                  <a:lnTo>
                    <a:pt x="34780" y="59294"/>
                  </a:lnTo>
                  <a:lnTo>
                    <a:pt x="34971" y="59307"/>
                  </a:lnTo>
                  <a:lnTo>
                    <a:pt x="34971" y="59307"/>
                  </a:lnTo>
                  <a:lnTo>
                    <a:pt x="35163" y="59320"/>
                  </a:lnTo>
                  <a:lnTo>
                    <a:pt x="35163" y="59320"/>
                  </a:lnTo>
                  <a:lnTo>
                    <a:pt x="35227" y="59320"/>
                  </a:lnTo>
                  <a:cubicBezTo>
                    <a:pt x="35380" y="59320"/>
                    <a:pt x="35495" y="59333"/>
                    <a:pt x="35648" y="59333"/>
                  </a:cubicBezTo>
                  <a:lnTo>
                    <a:pt x="57877" y="59333"/>
                  </a:lnTo>
                  <a:lnTo>
                    <a:pt x="58183" y="59333"/>
                  </a:lnTo>
                  <a:cubicBezTo>
                    <a:pt x="62716" y="59333"/>
                    <a:pt x="66598" y="62129"/>
                    <a:pt x="68232" y="66087"/>
                  </a:cubicBezTo>
                  <a:lnTo>
                    <a:pt x="67874" y="46296"/>
                  </a:lnTo>
                  <a:cubicBezTo>
                    <a:pt x="67696" y="36657"/>
                    <a:pt x="58847" y="37078"/>
                    <a:pt x="56804" y="37014"/>
                  </a:cubicBezTo>
                  <a:lnTo>
                    <a:pt x="54774" y="37014"/>
                  </a:lnTo>
                  <a:cubicBezTo>
                    <a:pt x="50523" y="37014"/>
                    <a:pt x="47050" y="33541"/>
                    <a:pt x="47050" y="29290"/>
                  </a:cubicBezTo>
                  <a:lnTo>
                    <a:pt x="47050" y="26608"/>
                  </a:lnTo>
                  <a:cubicBezTo>
                    <a:pt x="47050" y="22357"/>
                    <a:pt x="50523" y="18884"/>
                    <a:pt x="54774" y="18884"/>
                  </a:cubicBezTo>
                  <a:lnTo>
                    <a:pt x="110021" y="18884"/>
                  </a:lnTo>
                  <a:lnTo>
                    <a:pt x="110021" y="0"/>
                  </a:lnTo>
                  <a:lnTo>
                    <a:pt x="25408" y="0"/>
                  </a:lnTo>
                  <a:lnTo>
                    <a:pt x="25408" y="12985"/>
                  </a:lnTo>
                  <a:cubicBezTo>
                    <a:pt x="25408" y="17237"/>
                    <a:pt x="21935" y="20710"/>
                    <a:pt x="17684" y="20710"/>
                  </a:cubicBezTo>
                  <a:lnTo>
                    <a:pt x="0" y="20710"/>
                  </a:lnTo>
                  <a:lnTo>
                    <a:pt x="0" y="20671"/>
                  </a:lnTo>
                  <a:close/>
                  <a:moveTo>
                    <a:pt x="27847" y="51595"/>
                  </a:moveTo>
                  <a:lnTo>
                    <a:pt x="27847" y="51595"/>
                  </a:lnTo>
                  <a:lnTo>
                    <a:pt x="27847" y="51595"/>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1" name="Freeform: Shape 90">
              <a:extLst>
                <a:ext uri="{FF2B5EF4-FFF2-40B4-BE49-F238E27FC236}">
                  <a16:creationId xmlns:a16="http://schemas.microsoft.com/office/drawing/2014/main" id="{BC18EED8-BB6B-409C-BB57-3986AA1B8F2A}"/>
                </a:ext>
              </a:extLst>
            </p:cNvPr>
            <p:cNvSpPr/>
            <p:nvPr/>
          </p:nvSpPr>
          <p:spPr>
            <a:xfrm>
              <a:off x="7026242" y="799270"/>
              <a:ext cx="60009" cy="17875"/>
            </a:xfrm>
            <a:custGeom>
              <a:avLst/>
              <a:gdLst>
                <a:gd name="connsiteX0" fmla="*/ 0 w 60009"/>
                <a:gd name="connsiteY0" fmla="*/ 7725 h 17875"/>
                <a:gd name="connsiteX1" fmla="*/ 0 w 60009"/>
                <a:gd name="connsiteY1" fmla="*/ 10406 h 17875"/>
                <a:gd name="connsiteX2" fmla="*/ 7725 w 60009"/>
                <a:gd name="connsiteY2" fmla="*/ 18130 h 17875"/>
                <a:gd name="connsiteX3" fmla="*/ 52412 w 60009"/>
                <a:gd name="connsiteY3" fmla="*/ 18130 h 17875"/>
                <a:gd name="connsiteX4" fmla="*/ 60137 w 60009"/>
                <a:gd name="connsiteY4" fmla="*/ 10406 h 17875"/>
                <a:gd name="connsiteX5" fmla="*/ 60137 w 60009"/>
                <a:gd name="connsiteY5" fmla="*/ 7725 h 17875"/>
                <a:gd name="connsiteX6" fmla="*/ 52412 w 60009"/>
                <a:gd name="connsiteY6" fmla="*/ 0 h 17875"/>
                <a:gd name="connsiteX7" fmla="*/ 7725 w 60009"/>
                <a:gd name="connsiteY7" fmla="*/ 0 h 17875"/>
                <a:gd name="connsiteX8" fmla="*/ 0 w 60009"/>
                <a:gd name="connsiteY8" fmla="*/ 772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09" h="17875">
                  <a:moveTo>
                    <a:pt x="0" y="7725"/>
                  </a:moveTo>
                  <a:lnTo>
                    <a:pt x="0" y="10406"/>
                  </a:lnTo>
                  <a:cubicBezTo>
                    <a:pt x="0" y="14658"/>
                    <a:pt x="3473" y="18130"/>
                    <a:pt x="7725" y="18130"/>
                  </a:cubicBezTo>
                  <a:lnTo>
                    <a:pt x="52412" y="18130"/>
                  </a:lnTo>
                  <a:cubicBezTo>
                    <a:pt x="56664" y="18130"/>
                    <a:pt x="60137" y="14658"/>
                    <a:pt x="60137" y="10406"/>
                  </a:cubicBezTo>
                  <a:lnTo>
                    <a:pt x="60137" y="7725"/>
                  </a:lnTo>
                  <a:cubicBezTo>
                    <a:pt x="60137" y="3473"/>
                    <a:pt x="56664" y="0"/>
                    <a:pt x="52412" y="0"/>
                  </a:cubicBezTo>
                  <a:lnTo>
                    <a:pt x="7725" y="0"/>
                  </a:lnTo>
                  <a:cubicBezTo>
                    <a:pt x="3486" y="0"/>
                    <a:pt x="0" y="3473"/>
                    <a:pt x="0" y="7725"/>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2" name="Freeform: Shape 91">
              <a:extLst>
                <a:ext uri="{FF2B5EF4-FFF2-40B4-BE49-F238E27FC236}">
                  <a16:creationId xmlns:a16="http://schemas.microsoft.com/office/drawing/2014/main" id="{6E935227-CB29-488A-8AFF-39F47207B52C}"/>
                </a:ext>
              </a:extLst>
            </p:cNvPr>
            <p:cNvSpPr/>
            <p:nvPr/>
          </p:nvSpPr>
          <p:spPr>
            <a:xfrm>
              <a:off x="6939522" y="624119"/>
              <a:ext cx="126402" cy="155769"/>
            </a:xfrm>
            <a:custGeom>
              <a:avLst/>
              <a:gdLst>
                <a:gd name="connsiteX0" fmla="*/ 65921 w 126402"/>
                <a:gd name="connsiteY0" fmla="*/ 38623 h 155768"/>
                <a:gd name="connsiteX1" fmla="*/ 65882 w 126402"/>
                <a:gd name="connsiteY1" fmla="*/ 38623 h 155768"/>
                <a:gd name="connsiteX2" fmla="*/ 22574 w 126402"/>
                <a:gd name="connsiteY2" fmla="*/ 38623 h 155768"/>
                <a:gd name="connsiteX3" fmla="*/ 22574 w 126402"/>
                <a:gd name="connsiteY3" fmla="*/ 69815 h 155768"/>
                <a:gd name="connsiteX4" fmla="*/ 14849 w 126402"/>
                <a:gd name="connsiteY4" fmla="*/ 77540 h 155768"/>
                <a:gd name="connsiteX5" fmla="*/ 0 w 126402"/>
                <a:gd name="connsiteY5" fmla="*/ 77540 h 155768"/>
                <a:gd name="connsiteX6" fmla="*/ 0 w 126402"/>
                <a:gd name="connsiteY6" fmla="*/ 89018 h 155768"/>
                <a:gd name="connsiteX7" fmla="*/ 0 w 126402"/>
                <a:gd name="connsiteY7" fmla="*/ 89222 h 155768"/>
                <a:gd name="connsiteX8" fmla="*/ 0 w 126402"/>
                <a:gd name="connsiteY8" fmla="*/ 89222 h 155768"/>
                <a:gd name="connsiteX9" fmla="*/ 13 w 126402"/>
                <a:gd name="connsiteY9" fmla="*/ 89414 h 155768"/>
                <a:gd name="connsiteX10" fmla="*/ 13 w 126402"/>
                <a:gd name="connsiteY10" fmla="*/ 89414 h 155768"/>
                <a:gd name="connsiteX11" fmla="*/ 26 w 126402"/>
                <a:gd name="connsiteY11" fmla="*/ 89605 h 155768"/>
                <a:gd name="connsiteX12" fmla="*/ 26 w 126402"/>
                <a:gd name="connsiteY12" fmla="*/ 89605 h 155768"/>
                <a:gd name="connsiteX13" fmla="*/ 38 w 126402"/>
                <a:gd name="connsiteY13" fmla="*/ 89797 h 155768"/>
                <a:gd name="connsiteX14" fmla="*/ 38 w 126402"/>
                <a:gd name="connsiteY14" fmla="*/ 89797 h 155768"/>
                <a:gd name="connsiteX15" fmla="*/ 64 w 126402"/>
                <a:gd name="connsiteY15" fmla="*/ 89988 h 155768"/>
                <a:gd name="connsiteX16" fmla="*/ 64 w 126402"/>
                <a:gd name="connsiteY16" fmla="*/ 89988 h 155768"/>
                <a:gd name="connsiteX17" fmla="*/ 89 w 126402"/>
                <a:gd name="connsiteY17" fmla="*/ 90180 h 155768"/>
                <a:gd name="connsiteX18" fmla="*/ 89 w 126402"/>
                <a:gd name="connsiteY18" fmla="*/ 90180 h 155768"/>
                <a:gd name="connsiteX19" fmla="*/ 3971 w 126402"/>
                <a:gd name="connsiteY19" fmla="*/ 95759 h 155768"/>
                <a:gd name="connsiteX20" fmla="*/ 4047 w 126402"/>
                <a:gd name="connsiteY20" fmla="*/ 95798 h 155768"/>
                <a:gd name="connsiteX21" fmla="*/ 4047 w 126402"/>
                <a:gd name="connsiteY21" fmla="*/ 95798 h 155768"/>
                <a:gd name="connsiteX22" fmla="*/ 4213 w 126402"/>
                <a:gd name="connsiteY22" fmla="*/ 95887 h 155768"/>
                <a:gd name="connsiteX23" fmla="*/ 4213 w 126402"/>
                <a:gd name="connsiteY23" fmla="*/ 95887 h 155768"/>
                <a:gd name="connsiteX24" fmla="*/ 4379 w 126402"/>
                <a:gd name="connsiteY24" fmla="*/ 95976 h 155768"/>
                <a:gd name="connsiteX25" fmla="*/ 4379 w 126402"/>
                <a:gd name="connsiteY25" fmla="*/ 95976 h 155768"/>
                <a:gd name="connsiteX26" fmla="*/ 4545 w 126402"/>
                <a:gd name="connsiteY26" fmla="*/ 96053 h 155768"/>
                <a:gd name="connsiteX27" fmla="*/ 4545 w 126402"/>
                <a:gd name="connsiteY27" fmla="*/ 96053 h 155768"/>
                <a:gd name="connsiteX28" fmla="*/ 4711 w 126402"/>
                <a:gd name="connsiteY28" fmla="*/ 96130 h 155768"/>
                <a:gd name="connsiteX29" fmla="*/ 4711 w 126402"/>
                <a:gd name="connsiteY29" fmla="*/ 96130 h 155768"/>
                <a:gd name="connsiteX30" fmla="*/ 4890 w 126402"/>
                <a:gd name="connsiteY30" fmla="*/ 96206 h 155768"/>
                <a:gd name="connsiteX31" fmla="*/ 4890 w 126402"/>
                <a:gd name="connsiteY31" fmla="*/ 96206 h 155768"/>
                <a:gd name="connsiteX32" fmla="*/ 5069 w 126402"/>
                <a:gd name="connsiteY32" fmla="*/ 96270 h 155768"/>
                <a:gd name="connsiteX33" fmla="*/ 5069 w 126402"/>
                <a:gd name="connsiteY33" fmla="*/ 96270 h 155768"/>
                <a:gd name="connsiteX34" fmla="*/ 5248 w 126402"/>
                <a:gd name="connsiteY34" fmla="*/ 96334 h 155768"/>
                <a:gd name="connsiteX35" fmla="*/ 5248 w 126402"/>
                <a:gd name="connsiteY35" fmla="*/ 96334 h 155768"/>
                <a:gd name="connsiteX36" fmla="*/ 5286 w 126402"/>
                <a:gd name="connsiteY36" fmla="*/ 96347 h 155768"/>
                <a:gd name="connsiteX37" fmla="*/ 5567 w 126402"/>
                <a:gd name="connsiteY37" fmla="*/ 96436 h 155768"/>
                <a:gd name="connsiteX38" fmla="*/ 5605 w 126402"/>
                <a:gd name="connsiteY38" fmla="*/ 96449 h 155768"/>
                <a:gd name="connsiteX39" fmla="*/ 5605 w 126402"/>
                <a:gd name="connsiteY39" fmla="*/ 96449 h 155768"/>
                <a:gd name="connsiteX40" fmla="*/ 5784 w 126402"/>
                <a:gd name="connsiteY40" fmla="*/ 96500 h 155768"/>
                <a:gd name="connsiteX41" fmla="*/ 5784 w 126402"/>
                <a:gd name="connsiteY41" fmla="*/ 96500 h 155768"/>
                <a:gd name="connsiteX42" fmla="*/ 5963 w 126402"/>
                <a:gd name="connsiteY42" fmla="*/ 96551 h 155768"/>
                <a:gd name="connsiteX43" fmla="*/ 5963 w 126402"/>
                <a:gd name="connsiteY43" fmla="*/ 96551 h 155768"/>
                <a:gd name="connsiteX44" fmla="*/ 6154 w 126402"/>
                <a:gd name="connsiteY44" fmla="*/ 96589 h 155768"/>
                <a:gd name="connsiteX45" fmla="*/ 6154 w 126402"/>
                <a:gd name="connsiteY45" fmla="*/ 96589 h 155768"/>
                <a:gd name="connsiteX46" fmla="*/ 6346 w 126402"/>
                <a:gd name="connsiteY46" fmla="*/ 96628 h 155768"/>
                <a:gd name="connsiteX47" fmla="*/ 6346 w 126402"/>
                <a:gd name="connsiteY47" fmla="*/ 96628 h 155768"/>
                <a:gd name="connsiteX48" fmla="*/ 6384 w 126402"/>
                <a:gd name="connsiteY48" fmla="*/ 96628 h 155768"/>
                <a:gd name="connsiteX49" fmla="*/ 6703 w 126402"/>
                <a:gd name="connsiteY49" fmla="*/ 96679 h 155768"/>
                <a:gd name="connsiteX50" fmla="*/ 6741 w 126402"/>
                <a:gd name="connsiteY50" fmla="*/ 96679 h 155768"/>
                <a:gd name="connsiteX51" fmla="*/ 6741 w 126402"/>
                <a:gd name="connsiteY51" fmla="*/ 96679 h 155768"/>
                <a:gd name="connsiteX52" fmla="*/ 6933 w 126402"/>
                <a:gd name="connsiteY52" fmla="*/ 96704 h 155768"/>
                <a:gd name="connsiteX53" fmla="*/ 6933 w 126402"/>
                <a:gd name="connsiteY53" fmla="*/ 96704 h 155768"/>
                <a:gd name="connsiteX54" fmla="*/ 7124 w 126402"/>
                <a:gd name="connsiteY54" fmla="*/ 96717 h 155768"/>
                <a:gd name="connsiteX55" fmla="*/ 7124 w 126402"/>
                <a:gd name="connsiteY55" fmla="*/ 96717 h 155768"/>
                <a:gd name="connsiteX56" fmla="*/ 7316 w 126402"/>
                <a:gd name="connsiteY56" fmla="*/ 96730 h 155768"/>
                <a:gd name="connsiteX57" fmla="*/ 7316 w 126402"/>
                <a:gd name="connsiteY57" fmla="*/ 96730 h 155768"/>
                <a:gd name="connsiteX58" fmla="*/ 7380 w 126402"/>
                <a:gd name="connsiteY58" fmla="*/ 96730 h 155768"/>
                <a:gd name="connsiteX59" fmla="*/ 7801 w 126402"/>
                <a:gd name="connsiteY59" fmla="*/ 96742 h 155768"/>
                <a:gd name="connsiteX60" fmla="*/ 10406 w 126402"/>
                <a:gd name="connsiteY60" fmla="*/ 96742 h 155768"/>
                <a:gd name="connsiteX61" fmla="*/ 11338 w 126402"/>
                <a:gd name="connsiteY61" fmla="*/ 96742 h 155768"/>
                <a:gd name="connsiteX62" fmla="*/ 22191 w 126402"/>
                <a:gd name="connsiteY62" fmla="*/ 107595 h 155768"/>
                <a:gd name="connsiteX63" fmla="*/ 22191 w 126402"/>
                <a:gd name="connsiteY63" fmla="*/ 108910 h 155768"/>
                <a:gd name="connsiteX64" fmla="*/ 22191 w 126402"/>
                <a:gd name="connsiteY64" fmla="*/ 109115 h 155768"/>
                <a:gd name="connsiteX65" fmla="*/ 22191 w 126402"/>
                <a:gd name="connsiteY65" fmla="*/ 109115 h 155768"/>
                <a:gd name="connsiteX66" fmla="*/ 22203 w 126402"/>
                <a:gd name="connsiteY66" fmla="*/ 109306 h 155768"/>
                <a:gd name="connsiteX67" fmla="*/ 22203 w 126402"/>
                <a:gd name="connsiteY67" fmla="*/ 109306 h 155768"/>
                <a:gd name="connsiteX68" fmla="*/ 22216 w 126402"/>
                <a:gd name="connsiteY68" fmla="*/ 109498 h 155768"/>
                <a:gd name="connsiteX69" fmla="*/ 22216 w 126402"/>
                <a:gd name="connsiteY69" fmla="*/ 109498 h 155768"/>
                <a:gd name="connsiteX70" fmla="*/ 22229 w 126402"/>
                <a:gd name="connsiteY70" fmla="*/ 109689 h 155768"/>
                <a:gd name="connsiteX71" fmla="*/ 22229 w 126402"/>
                <a:gd name="connsiteY71" fmla="*/ 109689 h 155768"/>
                <a:gd name="connsiteX72" fmla="*/ 22254 w 126402"/>
                <a:gd name="connsiteY72" fmla="*/ 109881 h 155768"/>
                <a:gd name="connsiteX73" fmla="*/ 22254 w 126402"/>
                <a:gd name="connsiteY73" fmla="*/ 109881 h 155768"/>
                <a:gd name="connsiteX74" fmla="*/ 22280 w 126402"/>
                <a:gd name="connsiteY74" fmla="*/ 110072 h 155768"/>
                <a:gd name="connsiteX75" fmla="*/ 22280 w 126402"/>
                <a:gd name="connsiteY75" fmla="*/ 110072 h 155768"/>
                <a:gd name="connsiteX76" fmla="*/ 22318 w 126402"/>
                <a:gd name="connsiteY76" fmla="*/ 110264 h 155768"/>
                <a:gd name="connsiteX77" fmla="*/ 22318 w 126402"/>
                <a:gd name="connsiteY77" fmla="*/ 110264 h 155768"/>
                <a:gd name="connsiteX78" fmla="*/ 22357 w 126402"/>
                <a:gd name="connsiteY78" fmla="*/ 110455 h 155768"/>
                <a:gd name="connsiteX79" fmla="*/ 22357 w 126402"/>
                <a:gd name="connsiteY79" fmla="*/ 110455 h 155768"/>
                <a:gd name="connsiteX80" fmla="*/ 22395 w 126402"/>
                <a:gd name="connsiteY80" fmla="*/ 110647 h 155768"/>
                <a:gd name="connsiteX81" fmla="*/ 22395 w 126402"/>
                <a:gd name="connsiteY81" fmla="*/ 110647 h 155768"/>
                <a:gd name="connsiteX82" fmla="*/ 22446 w 126402"/>
                <a:gd name="connsiteY82" fmla="*/ 110838 h 155768"/>
                <a:gd name="connsiteX83" fmla="*/ 22446 w 126402"/>
                <a:gd name="connsiteY83" fmla="*/ 110838 h 155768"/>
                <a:gd name="connsiteX84" fmla="*/ 22497 w 126402"/>
                <a:gd name="connsiteY84" fmla="*/ 111017 h 155768"/>
                <a:gd name="connsiteX85" fmla="*/ 22497 w 126402"/>
                <a:gd name="connsiteY85" fmla="*/ 111017 h 155768"/>
                <a:gd name="connsiteX86" fmla="*/ 22548 w 126402"/>
                <a:gd name="connsiteY86" fmla="*/ 111196 h 155768"/>
                <a:gd name="connsiteX87" fmla="*/ 22548 w 126402"/>
                <a:gd name="connsiteY87" fmla="*/ 111196 h 155768"/>
                <a:gd name="connsiteX88" fmla="*/ 22612 w 126402"/>
                <a:gd name="connsiteY88" fmla="*/ 111375 h 155768"/>
                <a:gd name="connsiteX89" fmla="*/ 22612 w 126402"/>
                <a:gd name="connsiteY89" fmla="*/ 111375 h 155768"/>
                <a:gd name="connsiteX90" fmla="*/ 22676 w 126402"/>
                <a:gd name="connsiteY90" fmla="*/ 111553 h 155768"/>
                <a:gd name="connsiteX91" fmla="*/ 22676 w 126402"/>
                <a:gd name="connsiteY91" fmla="*/ 111553 h 155768"/>
                <a:gd name="connsiteX92" fmla="*/ 22740 w 126402"/>
                <a:gd name="connsiteY92" fmla="*/ 111732 h 155768"/>
                <a:gd name="connsiteX93" fmla="*/ 22740 w 126402"/>
                <a:gd name="connsiteY93" fmla="*/ 111732 h 155768"/>
                <a:gd name="connsiteX94" fmla="*/ 22816 w 126402"/>
                <a:gd name="connsiteY94" fmla="*/ 111911 h 155768"/>
                <a:gd name="connsiteX95" fmla="*/ 22816 w 126402"/>
                <a:gd name="connsiteY95" fmla="*/ 111911 h 155768"/>
                <a:gd name="connsiteX96" fmla="*/ 22893 w 126402"/>
                <a:gd name="connsiteY96" fmla="*/ 112077 h 155768"/>
                <a:gd name="connsiteX97" fmla="*/ 22893 w 126402"/>
                <a:gd name="connsiteY97" fmla="*/ 112077 h 155768"/>
                <a:gd name="connsiteX98" fmla="*/ 22969 w 126402"/>
                <a:gd name="connsiteY98" fmla="*/ 112243 h 155768"/>
                <a:gd name="connsiteX99" fmla="*/ 22969 w 126402"/>
                <a:gd name="connsiteY99" fmla="*/ 112243 h 155768"/>
                <a:gd name="connsiteX100" fmla="*/ 23059 w 126402"/>
                <a:gd name="connsiteY100" fmla="*/ 112409 h 155768"/>
                <a:gd name="connsiteX101" fmla="*/ 23059 w 126402"/>
                <a:gd name="connsiteY101" fmla="*/ 112409 h 155768"/>
                <a:gd name="connsiteX102" fmla="*/ 23148 w 126402"/>
                <a:gd name="connsiteY102" fmla="*/ 112575 h 155768"/>
                <a:gd name="connsiteX103" fmla="*/ 23148 w 126402"/>
                <a:gd name="connsiteY103" fmla="*/ 112575 h 155768"/>
                <a:gd name="connsiteX104" fmla="*/ 23238 w 126402"/>
                <a:gd name="connsiteY104" fmla="*/ 112741 h 155768"/>
                <a:gd name="connsiteX105" fmla="*/ 23238 w 126402"/>
                <a:gd name="connsiteY105" fmla="*/ 112741 h 155768"/>
                <a:gd name="connsiteX106" fmla="*/ 23327 w 126402"/>
                <a:gd name="connsiteY106" fmla="*/ 112907 h 155768"/>
                <a:gd name="connsiteX107" fmla="*/ 23327 w 126402"/>
                <a:gd name="connsiteY107" fmla="*/ 112907 h 155768"/>
                <a:gd name="connsiteX108" fmla="*/ 23429 w 126402"/>
                <a:gd name="connsiteY108" fmla="*/ 113060 h 155768"/>
                <a:gd name="connsiteX109" fmla="*/ 23429 w 126402"/>
                <a:gd name="connsiteY109" fmla="*/ 113060 h 155768"/>
                <a:gd name="connsiteX110" fmla="*/ 23531 w 126402"/>
                <a:gd name="connsiteY110" fmla="*/ 113213 h 155768"/>
                <a:gd name="connsiteX111" fmla="*/ 23531 w 126402"/>
                <a:gd name="connsiteY111" fmla="*/ 113213 h 155768"/>
                <a:gd name="connsiteX112" fmla="*/ 23633 w 126402"/>
                <a:gd name="connsiteY112" fmla="*/ 113366 h 155768"/>
                <a:gd name="connsiteX113" fmla="*/ 23633 w 126402"/>
                <a:gd name="connsiteY113" fmla="*/ 113366 h 155768"/>
                <a:gd name="connsiteX114" fmla="*/ 23748 w 126402"/>
                <a:gd name="connsiteY114" fmla="*/ 113520 h 155768"/>
                <a:gd name="connsiteX115" fmla="*/ 23748 w 126402"/>
                <a:gd name="connsiteY115" fmla="*/ 113520 h 155768"/>
                <a:gd name="connsiteX116" fmla="*/ 23863 w 126402"/>
                <a:gd name="connsiteY116" fmla="*/ 113673 h 155768"/>
                <a:gd name="connsiteX117" fmla="*/ 23863 w 126402"/>
                <a:gd name="connsiteY117" fmla="*/ 113673 h 155768"/>
                <a:gd name="connsiteX118" fmla="*/ 23978 w 126402"/>
                <a:gd name="connsiteY118" fmla="*/ 113813 h 155768"/>
                <a:gd name="connsiteX119" fmla="*/ 23978 w 126402"/>
                <a:gd name="connsiteY119" fmla="*/ 113813 h 155768"/>
                <a:gd name="connsiteX120" fmla="*/ 24093 w 126402"/>
                <a:gd name="connsiteY120" fmla="*/ 113954 h 155768"/>
                <a:gd name="connsiteX121" fmla="*/ 24093 w 126402"/>
                <a:gd name="connsiteY121" fmla="*/ 113954 h 155768"/>
                <a:gd name="connsiteX122" fmla="*/ 24221 w 126402"/>
                <a:gd name="connsiteY122" fmla="*/ 114094 h 155768"/>
                <a:gd name="connsiteX123" fmla="*/ 24221 w 126402"/>
                <a:gd name="connsiteY123" fmla="*/ 114094 h 155768"/>
                <a:gd name="connsiteX124" fmla="*/ 24348 w 126402"/>
                <a:gd name="connsiteY124" fmla="*/ 114235 h 155768"/>
                <a:gd name="connsiteX125" fmla="*/ 24348 w 126402"/>
                <a:gd name="connsiteY125" fmla="*/ 114235 h 155768"/>
                <a:gd name="connsiteX126" fmla="*/ 24476 w 126402"/>
                <a:gd name="connsiteY126" fmla="*/ 114362 h 155768"/>
                <a:gd name="connsiteX127" fmla="*/ 24476 w 126402"/>
                <a:gd name="connsiteY127" fmla="*/ 114362 h 155768"/>
                <a:gd name="connsiteX128" fmla="*/ 24604 w 126402"/>
                <a:gd name="connsiteY128" fmla="*/ 114490 h 155768"/>
                <a:gd name="connsiteX129" fmla="*/ 24604 w 126402"/>
                <a:gd name="connsiteY129" fmla="*/ 114490 h 155768"/>
                <a:gd name="connsiteX130" fmla="*/ 24744 w 126402"/>
                <a:gd name="connsiteY130" fmla="*/ 114618 h 155768"/>
                <a:gd name="connsiteX131" fmla="*/ 24744 w 126402"/>
                <a:gd name="connsiteY131" fmla="*/ 114618 h 155768"/>
                <a:gd name="connsiteX132" fmla="*/ 24885 w 126402"/>
                <a:gd name="connsiteY132" fmla="*/ 114745 h 155768"/>
                <a:gd name="connsiteX133" fmla="*/ 24885 w 126402"/>
                <a:gd name="connsiteY133" fmla="*/ 114745 h 155768"/>
                <a:gd name="connsiteX134" fmla="*/ 25025 w 126402"/>
                <a:gd name="connsiteY134" fmla="*/ 114860 h 155768"/>
                <a:gd name="connsiteX135" fmla="*/ 25025 w 126402"/>
                <a:gd name="connsiteY135" fmla="*/ 114860 h 155768"/>
                <a:gd name="connsiteX136" fmla="*/ 25166 w 126402"/>
                <a:gd name="connsiteY136" fmla="*/ 114975 h 155768"/>
                <a:gd name="connsiteX137" fmla="*/ 25166 w 126402"/>
                <a:gd name="connsiteY137" fmla="*/ 114975 h 155768"/>
                <a:gd name="connsiteX138" fmla="*/ 25306 w 126402"/>
                <a:gd name="connsiteY138" fmla="*/ 115090 h 155768"/>
                <a:gd name="connsiteX139" fmla="*/ 25306 w 126402"/>
                <a:gd name="connsiteY139" fmla="*/ 115090 h 155768"/>
                <a:gd name="connsiteX140" fmla="*/ 25459 w 126402"/>
                <a:gd name="connsiteY140" fmla="*/ 115205 h 155768"/>
                <a:gd name="connsiteX141" fmla="*/ 25459 w 126402"/>
                <a:gd name="connsiteY141" fmla="*/ 115205 h 155768"/>
                <a:gd name="connsiteX142" fmla="*/ 25612 w 126402"/>
                <a:gd name="connsiteY142" fmla="*/ 115307 h 155768"/>
                <a:gd name="connsiteX143" fmla="*/ 25612 w 126402"/>
                <a:gd name="connsiteY143" fmla="*/ 115307 h 155768"/>
                <a:gd name="connsiteX144" fmla="*/ 25766 w 126402"/>
                <a:gd name="connsiteY144" fmla="*/ 115409 h 155768"/>
                <a:gd name="connsiteX145" fmla="*/ 25766 w 126402"/>
                <a:gd name="connsiteY145" fmla="*/ 115409 h 155768"/>
                <a:gd name="connsiteX146" fmla="*/ 25919 w 126402"/>
                <a:gd name="connsiteY146" fmla="*/ 115511 h 155768"/>
                <a:gd name="connsiteX147" fmla="*/ 25919 w 126402"/>
                <a:gd name="connsiteY147" fmla="*/ 115511 h 155768"/>
                <a:gd name="connsiteX148" fmla="*/ 26085 w 126402"/>
                <a:gd name="connsiteY148" fmla="*/ 115601 h 155768"/>
                <a:gd name="connsiteX149" fmla="*/ 26085 w 126402"/>
                <a:gd name="connsiteY149" fmla="*/ 115601 h 155768"/>
                <a:gd name="connsiteX150" fmla="*/ 26251 w 126402"/>
                <a:gd name="connsiteY150" fmla="*/ 115690 h 155768"/>
                <a:gd name="connsiteX151" fmla="*/ 26251 w 126402"/>
                <a:gd name="connsiteY151" fmla="*/ 115690 h 155768"/>
                <a:gd name="connsiteX152" fmla="*/ 26417 w 126402"/>
                <a:gd name="connsiteY152" fmla="*/ 115779 h 155768"/>
                <a:gd name="connsiteX153" fmla="*/ 26417 w 126402"/>
                <a:gd name="connsiteY153" fmla="*/ 115779 h 155768"/>
                <a:gd name="connsiteX154" fmla="*/ 26583 w 126402"/>
                <a:gd name="connsiteY154" fmla="*/ 115869 h 155768"/>
                <a:gd name="connsiteX155" fmla="*/ 26583 w 126402"/>
                <a:gd name="connsiteY155" fmla="*/ 115869 h 155768"/>
                <a:gd name="connsiteX156" fmla="*/ 26749 w 126402"/>
                <a:gd name="connsiteY156" fmla="*/ 115945 h 155768"/>
                <a:gd name="connsiteX157" fmla="*/ 26749 w 126402"/>
                <a:gd name="connsiteY157" fmla="*/ 115945 h 155768"/>
                <a:gd name="connsiteX158" fmla="*/ 26915 w 126402"/>
                <a:gd name="connsiteY158" fmla="*/ 116022 h 155768"/>
                <a:gd name="connsiteX159" fmla="*/ 26915 w 126402"/>
                <a:gd name="connsiteY159" fmla="*/ 116022 h 155768"/>
                <a:gd name="connsiteX160" fmla="*/ 27094 w 126402"/>
                <a:gd name="connsiteY160" fmla="*/ 116099 h 155768"/>
                <a:gd name="connsiteX161" fmla="*/ 27094 w 126402"/>
                <a:gd name="connsiteY161" fmla="*/ 116099 h 155768"/>
                <a:gd name="connsiteX162" fmla="*/ 27272 w 126402"/>
                <a:gd name="connsiteY162" fmla="*/ 116163 h 155768"/>
                <a:gd name="connsiteX163" fmla="*/ 27272 w 126402"/>
                <a:gd name="connsiteY163" fmla="*/ 116163 h 155768"/>
                <a:gd name="connsiteX164" fmla="*/ 27451 w 126402"/>
                <a:gd name="connsiteY164" fmla="*/ 116226 h 155768"/>
                <a:gd name="connsiteX165" fmla="*/ 27451 w 126402"/>
                <a:gd name="connsiteY165" fmla="*/ 116226 h 155768"/>
                <a:gd name="connsiteX166" fmla="*/ 27630 w 126402"/>
                <a:gd name="connsiteY166" fmla="*/ 116290 h 155768"/>
                <a:gd name="connsiteX167" fmla="*/ 27630 w 126402"/>
                <a:gd name="connsiteY167" fmla="*/ 116290 h 155768"/>
                <a:gd name="connsiteX168" fmla="*/ 27809 w 126402"/>
                <a:gd name="connsiteY168" fmla="*/ 116341 h 155768"/>
                <a:gd name="connsiteX169" fmla="*/ 27809 w 126402"/>
                <a:gd name="connsiteY169" fmla="*/ 116341 h 155768"/>
                <a:gd name="connsiteX170" fmla="*/ 27987 w 126402"/>
                <a:gd name="connsiteY170" fmla="*/ 116392 h 155768"/>
                <a:gd name="connsiteX171" fmla="*/ 27987 w 126402"/>
                <a:gd name="connsiteY171" fmla="*/ 116392 h 155768"/>
                <a:gd name="connsiteX172" fmla="*/ 28166 w 126402"/>
                <a:gd name="connsiteY172" fmla="*/ 116443 h 155768"/>
                <a:gd name="connsiteX173" fmla="*/ 28166 w 126402"/>
                <a:gd name="connsiteY173" fmla="*/ 116443 h 155768"/>
                <a:gd name="connsiteX174" fmla="*/ 28358 w 126402"/>
                <a:gd name="connsiteY174" fmla="*/ 116482 h 155768"/>
                <a:gd name="connsiteX175" fmla="*/ 28358 w 126402"/>
                <a:gd name="connsiteY175" fmla="*/ 116482 h 155768"/>
                <a:gd name="connsiteX176" fmla="*/ 28549 w 126402"/>
                <a:gd name="connsiteY176" fmla="*/ 116520 h 155768"/>
                <a:gd name="connsiteX177" fmla="*/ 28549 w 126402"/>
                <a:gd name="connsiteY177" fmla="*/ 116520 h 155768"/>
                <a:gd name="connsiteX178" fmla="*/ 28741 w 126402"/>
                <a:gd name="connsiteY178" fmla="*/ 116558 h 155768"/>
                <a:gd name="connsiteX179" fmla="*/ 28741 w 126402"/>
                <a:gd name="connsiteY179" fmla="*/ 116558 h 155768"/>
                <a:gd name="connsiteX180" fmla="*/ 28932 w 126402"/>
                <a:gd name="connsiteY180" fmla="*/ 116584 h 155768"/>
                <a:gd name="connsiteX181" fmla="*/ 28932 w 126402"/>
                <a:gd name="connsiteY181" fmla="*/ 116584 h 155768"/>
                <a:gd name="connsiteX182" fmla="*/ 29124 w 126402"/>
                <a:gd name="connsiteY182" fmla="*/ 116609 h 155768"/>
                <a:gd name="connsiteX183" fmla="*/ 29124 w 126402"/>
                <a:gd name="connsiteY183" fmla="*/ 116609 h 155768"/>
                <a:gd name="connsiteX184" fmla="*/ 29315 w 126402"/>
                <a:gd name="connsiteY184" fmla="*/ 116622 h 155768"/>
                <a:gd name="connsiteX185" fmla="*/ 29315 w 126402"/>
                <a:gd name="connsiteY185" fmla="*/ 116622 h 155768"/>
                <a:gd name="connsiteX186" fmla="*/ 29507 w 126402"/>
                <a:gd name="connsiteY186" fmla="*/ 116635 h 155768"/>
                <a:gd name="connsiteX187" fmla="*/ 29507 w 126402"/>
                <a:gd name="connsiteY187" fmla="*/ 116635 h 155768"/>
                <a:gd name="connsiteX188" fmla="*/ 29570 w 126402"/>
                <a:gd name="connsiteY188" fmla="*/ 116635 h 155768"/>
                <a:gd name="connsiteX189" fmla="*/ 29992 w 126402"/>
                <a:gd name="connsiteY189" fmla="*/ 116648 h 155768"/>
                <a:gd name="connsiteX190" fmla="*/ 31703 w 126402"/>
                <a:gd name="connsiteY190" fmla="*/ 116648 h 155768"/>
                <a:gd name="connsiteX191" fmla="*/ 33682 w 126402"/>
                <a:gd name="connsiteY191" fmla="*/ 116648 h 155768"/>
                <a:gd name="connsiteX192" fmla="*/ 44535 w 126402"/>
                <a:gd name="connsiteY192" fmla="*/ 127500 h 155768"/>
                <a:gd name="connsiteX193" fmla="*/ 44535 w 126402"/>
                <a:gd name="connsiteY193" fmla="*/ 135991 h 155768"/>
                <a:gd name="connsiteX194" fmla="*/ 44535 w 126402"/>
                <a:gd name="connsiteY194" fmla="*/ 148721 h 155768"/>
                <a:gd name="connsiteX195" fmla="*/ 44535 w 126402"/>
                <a:gd name="connsiteY195" fmla="*/ 149142 h 155768"/>
                <a:gd name="connsiteX196" fmla="*/ 52259 w 126402"/>
                <a:gd name="connsiteY196" fmla="*/ 156867 h 155768"/>
                <a:gd name="connsiteX197" fmla="*/ 75701 w 126402"/>
                <a:gd name="connsiteY197" fmla="*/ 156867 h 155768"/>
                <a:gd name="connsiteX198" fmla="*/ 83426 w 126402"/>
                <a:gd name="connsiteY198" fmla="*/ 149142 h 155768"/>
                <a:gd name="connsiteX199" fmla="*/ 83426 w 126402"/>
                <a:gd name="connsiteY199" fmla="*/ 148057 h 155768"/>
                <a:gd name="connsiteX200" fmla="*/ 83694 w 126402"/>
                <a:gd name="connsiteY200" fmla="*/ 80514 h 155768"/>
                <a:gd name="connsiteX201" fmla="*/ 76799 w 126402"/>
                <a:gd name="connsiteY201" fmla="*/ 74986 h 155768"/>
                <a:gd name="connsiteX202" fmla="*/ 70977 w 126402"/>
                <a:gd name="connsiteY202" fmla="*/ 74986 h 155768"/>
                <a:gd name="connsiteX203" fmla="*/ 63252 w 126402"/>
                <a:gd name="connsiteY203" fmla="*/ 67261 h 155768"/>
                <a:gd name="connsiteX204" fmla="*/ 63252 w 126402"/>
                <a:gd name="connsiteY204" fmla="*/ 64580 h 155768"/>
                <a:gd name="connsiteX205" fmla="*/ 70977 w 126402"/>
                <a:gd name="connsiteY205" fmla="*/ 56856 h 155768"/>
                <a:gd name="connsiteX206" fmla="*/ 119074 w 126402"/>
                <a:gd name="connsiteY206" fmla="*/ 56715 h 155768"/>
                <a:gd name="connsiteX207" fmla="*/ 126798 w 126402"/>
                <a:gd name="connsiteY207" fmla="*/ 48990 h 155768"/>
                <a:gd name="connsiteX208" fmla="*/ 126798 w 126402"/>
                <a:gd name="connsiteY208" fmla="*/ 27923 h 155768"/>
                <a:gd name="connsiteX209" fmla="*/ 126734 w 126402"/>
                <a:gd name="connsiteY209" fmla="*/ 27081 h 155768"/>
                <a:gd name="connsiteX210" fmla="*/ 126734 w 126402"/>
                <a:gd name="connsiteY210" fmla="*/ 0 h 155768"/>
                <a:gd name="connsiteX211" fmla="*/ 114975 w 126402"/>
                <a:gd name="connsiteY211" fmla="*/ 0 h 155768"/>
                <a:gd name="connsiteX212" fmla="*/ 107583 w 126402"/>
                <a:gd name="connsiteY212" fmla="*/ 5503 h 155768"/>
                <a:gd name="connsiteX213" fmla="*/ 107583 w 126402"/>
                <a:gd name="connsiteY213" fmla="*/ 11134 h 155768"/>
                <a:gd name="connsiteX214" fmla="*/ 99858 w 126402"/>
                <a:gd name="connsiteY214" fmla="*/ 18858 h 155768"/>
                <a:gd name="connsiteX215" fmla="*/ 85188 w 126402"/>
                <a:gd name="connsiteY215" fmla="*/ 18858 h 155768"/>
                <a:gd name="connsiteX216" fmla="*/ 85188 w 126402"/>
                <a:gd name="connsiteY216" fmla="*/ 30898 h 155768"/>
                <a:gd name="connsiteX217" fmla="*/ 77463 w 126402"/>
                <a:gd name="connsiteY217" fmla="*/ 38623 h 155768"/>
                <a:gd name="connsiteX218" fmla="*/ 65921 w 126402"/>
                <a:gd name="connsiteY218" fmla="*/ 38623 h 155768"/>
                <a:gd name="connsiteX219" fmla="*/ 65921 w 126402"/>
                <a:gd name="connsiteY219" fmla="*/ 38623 h 155768"/>
                <a:gd name="connsiteX220" fmla="*/ 22203 w 126402"/>
                <a:gd name="connsiteY220" fmla="*/ 108910 h 155768"/>
                <a:gd name="connsiteX221" fmla="*/ 22203 w 126402"/>
                <a:gd name="connsiteY221" fmla="*/ 108910 h 155768"/>
                <a:gd name="connsiteX222" fmla="*/ 22203 w 126402"/>
                <a:gd name="connsiteY222" fmla="*/ 108910 h 155768"/>
                <a:gd name="connsiteX223" fmla="*/ 22203 w 126402"/>
                <a:gd name="connsiteY223" fmla="*/ 108910 h 155768"/>
                <a:gd name="connsiteX224" fmla="*/ 0 w 126402"/>
                <a:gd name="connsiteY224" fmla="*/ 89018 h 155768"/>
                <a:gd name="connsiteX225" fmla="*/ 0 w 126402"/>
                <a:gd name="connsiteY225" fmla="*/ 89018 h 155768"/>
                <a:gd name="connsiteX226" fmla="*/ 0 w 126402"/>
                <a:gd name="connsiteY226" fmla="*/ 89018 h 15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26402" h="155768">
                  <a:moveTo>
                    <a:pt x="65921" y="38623"/>
                  </a:moveTo>
                  <a:lnTo>
                    <a:pt x="65882" y="38623"/>
                  </a:lnTo>
                  <a:lnTo>
                    <a:pt x="22574" y="38623"/>
                  </a:lnTo>
                  <a:lnTo>
                    <a:pt x="22574" y="69815"/>
                  </a:lnTo>
                  <a:cubicBezTo>
                    <a:pt x="22574" y="74054"/>
                    <a:pt x="19101" y="77540"/>
                    <a:pt x="14849" y="77540"/>
                  </a:cubicBezTo>
                  <a:lnTo>
                    <a:pt x="0" y="77540"/>
                  </a:lnTo>
                  <a:lnTo>
                    <a:pt x="0" y="89018"/>
                  </a:lnTo>
                  <a:lnTo>
                    <a:pt x="0" y="89222"/>
                  </a:lnTo>
                  <a:lnTo>
                    <a:pt x="0" y="89222"/>
                  </a:lnTo>
                  <a:lnTo>
                    <a:pt x="13" y="89414"/>
                  </a:lnTo>
                  <a:lnTo>
                    <a:pt x="13" y="89414"/>
                  </a:lnTo>
                  <a:lnTo>
                    <a:pt x="26" y="89605"/>
                  </a:lnTo>
                  <a:lnTo>
                    <a:pt x="26" y="89605"/>
                  </a:lnTo>
                  <a:lnTo>
                    <a:pt x="38" y="89797"/>
                  </a:lnTo>
                  <a:lnTo>
                    <a:pt x="38" y="89797"/>
                  </a:lnTo>
                  <a:lnTo>
                    <a:pt x="64" y="89988"/>
                  </a:lnTo>
                  <a:lnTo>
                    <a:pt x="64" y="89988"/>
                  </a:lnTo>
                  <a:lnTo>
                    <a:pt x="89" y="90180"/>
                  </a:lnTo>
                  <a:lnTo>
                    <a:pt x="89" y="90180"/>
                  </a:lnTo>
                  <a:cubicBezTo>
                    <a:pt x="485" y="92555"/>
                    <a:pt x="1877" y="94559"/>
                    <a:pt x="3971" y="95759"/>
                  </a:cubicBezTo>
                  <a:lnTo>
                    <a:pt x="4047" y="95798"/>
                  </a:lnTo>
                  <a:lnTo>
                    <a:pt x="4047" y="95798"/>
                  </a:lnTo>
                  <a:lnTo>
                    <a:pt x="4213" y="95887"/>
                  </a:lnTo>
                  <a:lnTo>
                    <a:pt x="4213" y="95887"/>
                  </a:lnTo>
                  <a:lnTo>
                    <a:pt x="4379" y="95976"/>
                  </a:lnTo>
                  <a:lnTo>
                    <a:pt x="4379" y="95976"/>
                  </a:lnTo>
                  <a:lnTo>
                    <a:pt x="4545" y="96053"/>
                  </a:lnTo>
                  <a:lnTo>
                    <a:pt x="4545" y="96053"/>
                  </a:lnTo>
                  <a:cubicBezTo>
                    <a:pt x="4596" y="96079"/>
                    <a:pt x="4660" y="96104"/>
                    <a:pt x="4711" y="96130"/>
                  </a:cubicBezTo>
                  <a:lnTo>
                    <a:pt x="4711" y="96130"/>
                  </a:lnTo>
                  <a:lnTo>
                    <a:pt x="4890" y="96206"/>
                  </a:lnTo>
                  <a:lnTo>
                    <a:pt x="4890" y="96206"/>
                  </a:lnTo>
                  <a:lnTo>
                    <a:pt x="5069" y="96270"/>
                  </a:lnTo>
                  <a:lnTo>
                    <a:pt x="5069" y="96270"/>
                  </a:lnTo>
                  <a:lnTo>
                    <a:pt x="5248" y="96334"/>
                  </a:lnTo>
                  <a:lnTo>
                    <a:pt x="5248" y="96334"/>
                  </a:lnTo>
                  <a:lnTo>
                    <a:pt x="5286" y="96347"/>
                  </a:lnTo>
                  <a:cubicBezTo>
                    <a:pt x="5388" y="96372"/>
                    <a:pt x="5465" y="96411"/>
                    <a:pt x="5567" y="96436"/>
                  </a:cubicBezTo>
                  <a:lnTo>
                    <a:pt x="5605" y="96449"/>
                  </a:lnTo>
                  <a:lnTo>
                    <a:pt x="5605" y="96449"/>
                  </a:lnTo>
                  <a:lnTo>
                    <a:pt x="5784" y="96500"/>
                  </a:lnTo>
                  <a:lnTo>
                    <a:pt x="5784" y="96500"/>
                  </a:lnTo>
                  <a:lnTo>
                    <a:pt x="5963" y="96551"/>
                  </a:lnTo>
                  <a:lnTo>
                    <a:pt x="5963" y="96551"/>
                  </a:lnTo>
                  <a:lnTo>
                    <a:pt x="6154" y="96589"/>
                  </a:lnTo>
                  <a:lnTo>
                    <a:pt x="6154" y="96589"/>
                  </a:lnTo>
                  <a:cubicBezTo>
                    <a:pt x="6218" y="96602"/>
                    <a:pt x="6282" y="96615"/>
                    <a:pt x="6346" y="96628"/>
                  </a:cubicBezTo>
                  <a:lnTo>
                    <a:pt x="6346" y="96628"/>
                  </a:lnTo>
                  <a:lnTo>
                    <a:pt x="6384" y="96628"/>
                  </a:lnTo>
                  <a:cubicBezTo>
                    <a:pt x="6499" y="96640"/>
                    <a:pt x="6588" y="96666"/>
                    <a:pt x="6703" y="96679"/>
                  </a:cubicBezTo>
                  <a:lnTo>
                    <a:pt x="6741" y="96679"/>
                  </a:lnTo>
                  <a:lnTo>
                    <a:pt x="6741" y="96679"/>
                  </a:lnTo>
                  <a:lnTo>
                    <a:pt x="6933" y="96704"/>
                  </a:lnTo>
                  <a:lnTo>
                    <a:pt x="6933" y="96704"/>
                  </a:lnTo>
                  <a:lnTo>
                    <a:pt x="7124" y="96717"/>
                  </a:lnTo>
                  <a:lnTo>
                    <a:pt x="7124" y="96717"/>
                  </a:lnTo>
                  <a:lnTo>
                    <a:pt x="7316" y="96730"/>
                  </a:lnTo>
                  <a:lnTo>
                    <a:pt x="7316" y="96730"/>
                  </a:lnTo>
                  <a:lnTo>
                    <a:pt x="7380" y="96730"/>
                  </a:lnTo>
                  <a:cubicBezTo>
                    <a:pt x="7533" y="96730"/>
                    <a:pt x="7648" y="96742"/>
                    <a:pt x="7801" y="96742"/>
                  </a:cubicBezTo>
                  <a:lnTo>
                    <a:pt x="10406" y="96742"/>
                  </a:lnTo>
                  <a:lnTo>
                    <a:pt x="11338" y="96742"/>
                  </a:lnTo>
                  <a:cubicBezTo>
                    <a:pt x="17313" y="96742"/>
                    <a:pt x="22191" y="101620"/>
                    <a:pt x="22191" y="107595"/>
                  </a:cubicBezTo>
                  <a:lnTo>
                    <a:pt x="22191" y="108910"/>
                  </a:lnTo>
                  <a:lnTo>
                    <a:pt x="22191" y="109115"/>
                  </a:lnTo>
                  <a:lnTo>
                    <a:pt x="22191" y="109115"/>
                  </a:lnTo>
                  <a:lnTo>
                    <a:pt x="22203" y="109306"/>
                  </a:lnTo>
                  <a:lnTo>
                    <a:pt x="22203" y="109306"/>
                  </a:lnTo>
                  <a:lnTo>
                    <a:pt x="22216" y="109498"/>
                  </a:lnTo>
                  <a:lnTo>
                    <a:pt x="22216" y="109498"/>
                  </a:lnTo>
                  <a:lnTo>
                    <a:pt x="22229" y="109689"/>
                  </a:lnTo>
                  <a:lnTo>
                    <a:pt x="22229" y="109689"/>
                  </a:lnTo>
                  <a:lnTo>
                    <a:pt x="22254" y="109881"/>
                  </a:lnTo>
                  <a:lnTo>
                    <a:pt x="22254" y="109881"/>
                  </a:lnTo>
                  <a:lnTo>
                    <a:pt x="22280" y="110072"/>
                  </a:lnTo>
                  <a:lnTo>
                    <a:pt x="22280" y="110072"/>
                  </a:lnTo>
                  <a:lnTo>
                    <a:pt x="22318" y="110264"/>
                  </a:lnTo>
                  <a:lnTo>
                    <a:pt x="22318" y="110264"/>
                  </a:lnTo>
                  <a:cubicBezTo>
                    <a:pt x="22331" y="110328"/>
                    <a:pt x="22344" y="110391"/>
                    <a:pt x="22357" y="110455"/>
                  </a:cubicBezTo>
                  <a:lnTo>
                    <a:pt x="22357" y="110455"/>
                  </a:lnTo>
                  <a:lnTo>
                    <a:pt x="22395" y="110647"/>
                  </a:lnTo>
                  <a:lnTo>
                    <a:pt x="22395" y="110647"/>
                  </a:lnTo>
                  <a:lnTo>
                    <a:pt x="22446" y="110838"/>
                  </a:lnTo>
                  <a:lnTo>
                    <a:pt x="22446" y="110838"/>
                  </a:lnTo>
                  <a:lnTo>
                    <a:pt x="22497" y="111017"/>
                  </a:lnTo>
                  <a:lnTo>
                    <a:pt x="22497" y="111017"/>
                  </a:lnTo>
                  <a:lnTo>
                    <a:pt x="22548" y="111196"/>
                  </a:lnTo>
                  <a:lnTo>
                    <a:pt x="22548" y="111196"/>
                  </a:lnTo>
                  <a:lnTo>
                    <a:pt x="22612" y="111375"/>
                  </a:lnTo>
                  <a:lnTo>
                    <a:pt x="22612" y="111375"/>
                  </a:lnTo>
                  <a:lnTo>
                    <a:pt x="22676" y="111553"/>
                  </a:lnTo>
                  <a:lnTo>
                    <a:pt x="22676" y="111553"/>
                  </a:lnTo>
                  <a:lnTo>
                    <a:pt x="22740" y="111732"/>
                  </a:lnTo>
                  <a:lnTo>
                    <a:pt x="22740" y="111732"/>
                  </a:lnTo>
                  <a:lnTo>
                    <a:pt x="22816" y="111911"/>
                  </a:lnTo>
                  <a:lnTo>
                    <a:pt x="22816" y="111911"/>
                  </a:lnTo>
                  <a:lnTo>
                    <a:pt x="22893" y="112077"/>
                  </a:lnTo>
                  <a:lnTo>
                    <a:pt x="22893" y="112077"/>
                  </a:lnTo>
                  <a:lnTo>
                    <a:pt x="22969" y="112243"/>
                  </a:lnTo>
                  <a:lnTo>
                    <a:pt x="22969" y="112243"/>
                  </a:lnTo>
                  <a:lnTo>
                    <a:pt x="23059" y="112409"/>
                  </a:lnTo>
                  <a:lnTo>
                    <a:pt x="23059" y="112409"/>
                  </a:lnTo>
                  <a:cubicBezTo>
                    <a:pt x="23084" y="112460"/>
                    <a:pt x="23110" y="112524"/>
                    <a:pt x="23148" y="112575"/>
                  </a:cubicBezTo>
                  <a:lnTo>
                    <a:pt x="23148" y="112575"/>
                  </a:lnTo>
                  <a:lnTo>
                    <a:pt x="23238" y="112741"/>
                  </a:lnTo>
                  <a:lnTo>
                    <a:pt x="23238" y="112741"/>
                  </a:lnTo>
                  <a:cubicBezTo>
                    <a:pt x="23263" y="112792"/>
                    <a:pt x="23301" y="112843"/>
                    <a:pt x="23327" y="112907"/>
                  </a:cubicBezTo>
                  <a:lnTo>
                    <a:pt x="23327" y="112907"/>
                  </a:lnTo>
                  <a:lnTo>
                    <a:pt x="23429" y="113060"/>
                  </a:lnTo>
                  <a:lnTo>
                    <a:pt x="23429" y="113060"/>
                  </a:lnTo>
                  <a:lnTo>
                    <a:pt x="23531" y="113213"/>
                  </a:lnTo>
                  <a:lnTo>
                    <a:pt x="23531" y="113213"/>
                  </a:lnTo>
                  <a:lnTo>
                    <a:pt x="23633" y="113366"/>
                  </a:lnTo>
                  <a:lnTo>
                    <a:pt x="23633" y="113366"/>
                  </a:lnTo>
                  <a:lnTo>
                    <a:pt x="23748" y="113520"/>
                  </a:lnTo>
                  <a:lnTo>
                    <a:pt x="23748" y="113520"/>
                  </a:lnTo>
                  <a:lnTo>
                    <a:pt x="23863" y="113673"/>
                  </a:lnTo>
                  <a:lnTo>
                    <a:pt x="23863" y="113673"/>
                  </a:lnTo>
                  <a:cubicBezTo>
                    <a:pt x="23902" y="113724"/>
                    <a:pt x="23940" y="113775"/>
                    <a:pt x="23978" y="113813"/>
                  </a:cubicBezTo>
                  <a:lnTo>
                    <a:pt x="23978" y="113813"/>
                  </a:lnTo>
                  <a:lnTo>
                    <a:pt x="24093" y="113954"/>
                  </a:lnTo>
                  <a:lnTo>
                    <a:pt x="24093" y="113954"/>
                  </a:lnTo>
                  <a:lnTo>
                    <a:pt x="24221" y="114094"/>
                  </a:lnTo>
                  <a:lnTo>
                    <a:pt x="24221" y="114094"/>
                  </a:lnTo>
                  <a:lnTo>
                    <a:pt x="24348" y="114235"/>
                  </a:lnTo>
                  <a:lnTo>
                    <a:pt x="24348" y="114235"/>
                  </a:lnTo>
                  <a:lnTo>
                    <a:pt x="24476" y="114362"/>
                  </a:lnTo>
                  <a:lnTo>
                    <a:pt x="24476" y="114362"/>
                  </a:lnTo>
                  <a:lnTo>
                    <a:pt x="24604" y="114490"/>
                  </a:lnTo>
                  <a:lnTo>
                    <a:pt x="24604" y="114490"/>
                  </a:lnTo>
                  <a:lnTo>
                    <a:pt x="24744" y="114618"/>
                  </a:lnTo>
                  <a:lnTo>
                    <a:pt x="24744" y="114618"/>
                  </a:lnTo>
                  <a:lnTo>
                    <a:pt x="24885" y="114745"/>
                  </a:lnTo>
                  <a:lnTo>
                    <a:pt x="24885" y="114745"/>
                  </a:lnTo>
                  <a:lnTo>
                    <a:pt x="25025" y="114860"/>
                  </a:lnTo>
                  <a:lnTo>
                    <a:pt x="25025" y="114860"/>
                  </a:lnTo>
                  <a:cubicBezTo>
                    <a:pt x="25076" y="114899"/>
                    <a:pt x="25127" y="114937"/>
                    <a:pt x="25166" y="114975"/>
                  </a:cubicBezTo>
                  <a:lnTo>
                    <a:pt x="25166" y="114975"/>
                  </a:lnTo>
                  <a:cubicBezTo>
                    <a:pt x="25217" y="115013"/>
                    <a:pt x="25268" y="115052"/>
                    <a:pt x="25306" y="115090"/>
                  </a:cubicBezTo>
                  <a:lnTo>
                    <a:pt x="25306" y="115090"/>
                  </a:lnTo>
                  <a:lnTo>
                    <a:pt x="25459" y="115205"/>
                  </a:lnTo>
                  <a:lnTo>
                    <a:pt x="25459" y="115205"/>
                  </a:lnTo>
                  <a:lnTo>
                    <a:pt x="25612" y="115307"/>
                  </a:lnTo>
                  <a:lnTo>
                    <a:pt x="25612" y="115307"/>
                  </a:lnTo>
                  <a:lnTo>
                    <a:pt x="25766" y="115409"/>
                  </a:lnTo>
                  <a:lnTo>
                    <a:pt x="25766" y="115409"/>
                  </a:lnTo>
                  <a:lnTo>
                    <a:pt x="25919" y="115511"/>
                  </a:lnTo>
                  <a:lnTo>
                    <a:pt x="25919" y="115511"/>
                  </a:lnTo>
                  <a:lnTo>
                    <a:pt x="26085" y="115601"/>
                  </a:lnTo>
                  <a:lnTo>
                    <a:pt x="26085" y="115601"/>
                  </a:lnTo>
                  <a:lnTo>
                    <a:pt x="26251" y="115690"/>
                  </a:lnTo>
                  <a:lnTo>
                    <a:pt x="26251" y="115690"/>
                  </a:lnTo>
                  <a:lnTo>
                    <a:pt x="26417" y="115779"/>
                  </a:lnTo>
                  <a:lnTo>
                    <a:pt x="26417" y="115779"/>
                  </a:lnTo>
                  <a:lnTo>
                    <a:pt x="26583" y="115869"/>
                  </a:lnTo>
                  <a:lnTo>
                    <a:pt x="26583" y="115869"/>
                  </a:lnTo>
                  <a:lnTo>
                    <a:pt x="26749" y="115945"/>
                  </a:lnTo>
                  <a:lnTo>
                    <a:pt x="26749" y="115945"/>
                  </a:lnTo>
                  <a:cubicBezTo>
                    <a:pt x="26800" y="115971"/>
                    <a:pt x="26864" y="115997"/>
                    <a:pt x="26915" y="116022"/>
                  </a:cubicBezTo>
                  <a:lnTo>
                    <a:pt x="26915" y="116022"/>
                  </a:lnTo>
                  <a:lnTo>
                    <a:pt x="27094" y="116099"/>
                  </a:lnTo>
                  <a:lnTo>
                    <a:pt x="27094" y="116099"/>
                  </a:lnTo>
                  <a:lnTo>
                    <a:pt x="27272" y="116163"/>
                  </a:lnTo>
                  <a:lnTo>
                    <a:pt x="27272" y="116163"/>
                  </a:lnTo>
                  <a:lnTo>
                    <a:pt x="27451" y="116226"/>
                  </a:lnTo>
                  <a:lnTo>
                    <a:pt x="27451" y="116226"/>
                  </a:lnTo>
                  <a:lnTo>
                    <a:pt x="27630" y="116290"/>
                  </a:lnTo>
                  <a:lnTo>
                    <a:pt x="27630" y="116290"/>
                  </a:lnTo>
                  <a:lnTo>
                    <a:pt x="27809" y="116341"/>
                  </a:lnTo>
                  <a:lnTo>
                    <a:pt x="27809" y="116341"/>
                  </a:lnTo>
                  <a:lnTo>
                    <a:pt x="27987" y="116392"/>
                  </a:lnTo>
                  <a:lnTo>
                    <a:pt x="27987" y="116392"/>
                  </a:lnTo>
                  <a:lnTo>
                    <a:pt x="28166" y="116443"/>
                  </a:lnTo>
                  <a:lnTo>
                    <a:pt x="28166" y="116443"/>
                  </a:lnTo>
                  <a:lnTo>
                    <a:pt x="28358" y="116482"/>
                  </a:lnTo>
                  <a:lnTo>
                    <a:pt x="28358" y="116482"/>
                  </a:lnTo>
                  <a:cubicBezTo>
                    <a:pt x="28421" y="116494"/>
                    <a:pt x="28485" y="116507"/>
                    <a:pt x="28549" y="116520"/>
                  </a:cubicBezTo>
                  <a:lnTo>
                    <a:pt x="28549" y="116520"/>
                  </a:lnTo>
                  <a:lnTo>
                    <a:pt x="28741" y="116558"/>
                  </a:lnTo>
                  <a:lnTo>
                    <a:pt x="28741" y="116558"/>
                  </a:lnTo>
                  <a:lnTo>
                    <a:pt x="28932" y="116584"/>
                  </a:lnTo>
                  <a:lnTo>
                    <a:pt x="28932" y="116584"/>
                  </a:lnTo>
                  <a:lnTo>
                    <a:pt x="29124" y="116609"/>
                  </a:lnTo>
                  <a:lnTo>
                    <a:pt x="29124" y="116609"/>
                  </a:lnTo>
                  <a:lnTo>
                    <a:pt x="29315" y="116622"/>
                  </a:lnTo>
                  <a:lnTo>
                    <a:pt x="29315" y="116622"/>
                  </a:lnTo>
                  <a:lnTo>
                    <a:pt x="29507" y="116635"/>
                  </a:lnTo>
                  <a:lnTo>
                    <a:pt x="29507" y="116635"/>
                  </a:lnTo>
                  <a:lnTo>
                    <a:pt x="29570" y="116635"/>
                  </a:lnTo>
                  <a:cubicBezTo>
                    <a:pt x="29711" y="116635"/>
                    <a:pt x="29839" y="116648"/>
                    <a:pt x="29992" y="116648"/>
                  </a:cubicBezTo>
                  <a:lnTo>
                    <a:pt x="31703" y="116648"/>
                  </a:lnTo>
                  <a:lnTo>
                    <a:pt x="33682" y="116648"/>
                  </a:lnTo>
                  <a:cubicBezTo>
                    <a:pt x="39657" y="116648"/>
                    <a:pt x="44535" y="121525"/>
                    <a:pt x="44535" y="127500"/>
                  </a:cubicBezTo>
                  <a:lnTo>
                    <a:pt x="44535" y="135991"/>
                  </a:lnTo>
                  <a:lnTo>
                    <a:pt x="44535" y="148721"/>
                  </a:lnTo>
                  <a:lnTo>
                    <a:pt x="44535" y="149142"/>
                  </a:lnTo>
                  <a:cubicBezTo>
                    <a:pt x="44535" y="153381"/>
                    <a:pt x="48007" y="156867"/>
                    <a:pt x="52259" y="156867"/>
                  </a:cubicBezTo>
                  <a:lnTo>
                    <a:pt x="75701" y="156867"/>
                  </a:lnTo>
                  <a:cubicBezTo>
                    <a:pt x="79953" y="156867"/>
                    <a:pt x="83426" y="153394"/>
                    <a:pt x="83426" y="149142"/>
                  </a:cubicBezTo>
                  <a:lnTo>
                    <a:pt x="83426" y="148057"/>
                  </a:lnTo>
                  <a:lnTo>
                    <a:pt x="83694" y="80514"/>
                  </a:lnTo>
                  <a:cubicBezTo>
                    <a:pt x="83643" y="77680"/>
                    <a:pt x="82264" y="74986"/>
                    <a:pt x="76799" y="74986"/>
                  </a:cubicBezTo>
                  <a:lnTo>
                    <a:pt x="70977" y="74986"/>
                  </a:lnTo>
                  <a:cubicBezTo>
                    <a:pt x="66725" y="74986"/>
                    <a:pt x="63252" y="71513"/>
                    <a:pt x="63252" y="67261"/>
                  </a:cubicBezTo>
                  <a:lnTo>
                    <a:pt x="63252" y="64580"/>
                  </a:lnTo>
                  <a:cubicBezTo>
                    <a:pt x="63252" y="60328"/>
                    <a:pt x="66725" y="56856"/>
                    <a:pt x="70977" y="56856"/>
                  </a:cubicBezTo>
                  <a:cubicBezTo>
                    <a:pt x="87001" y="56856"/>
                    <a:pt x="102922" y="56715"/>
                    <a:pt x="119074" y="56715"/>
                  </a:cubicBezTo>
                  <a:cubicBezTo>
                    <a:pt x="123325" y="56715"/>
                    <a:pt x="126798" y="53242"/>
                    <a:pt x="126798" y="48990"/>
                  </a:cubicBezTo>
                  <a:lnTo>
                    <a:pt x="126798" y="27923"/>
                  </a:lnTo>
                  <a:cubicBezTo>
                    <a:pt x="126798" y="27528"/>
                    <a:pt x="126798" y="27145"/>
                    <a:pt x="126734" y="27081"/>
                  </a:cubicBezTo>
                  <a:lnTo>
                    <a:pt x="126734" y="0"/>
                  </a:lnTo>
                  <a:lnTo>
                    <a:pt x="114975" y="0"/>
                  </a:lnTo>
                  <a:cubicBezTo>
                    <a:pt x="111502" y="0"/>
                    <a:pt x="108540" y="2337"/>
                    <a:pt x="107583" y="5503"/>
                  </a:cubicBezTo>
                  <a:lnTo>
                    <a:pt x="107583" y="11134"/>
                  </a:lnTo>
                  <a:cubicBezTo>
                    <a:pt x="107583" y="15373"/>
                    <a:pt x="104110" y="18858"/>
                    <a:pt x="99858" y="18858"/>
                  </a:cubicBezTo>
                  <a:lnTo>
                    <a:pt x="85188" y="18858"/>
                  </a:lnTo>
                  <a:lnTo>
                    <a:pt x="85188" y="30898"/>
                  </a:lnTo>
                  <a:cubicBezTo>
                    <a:pt x="85188" y="35137"/>
                    <a:pt x="81715" y="38623"/>
                    <a:pt x="77463" y="38623"/>
                  </a:cubicBezTo>
                  <a:lnTo>
                    <a:pt x="65921" y="38623"/>
                  </a:lnTo>
                  <a:lnTo>
                    <a:pt x="65921" y="38623"/>
                  </a:lnTo>
                  <a:close/>
                  <a:moveTo>
                    <a:pt x="22203" y="108910"/>
                  </a:moveTo>
                  <a:lnTo>
                    <a:pt x="22203" y="108910"/>
                  </a:lnTo>
                  <a:lnTo>
                    <a:pt x="22203" y="108910"/>
                  </a:lnTo>
                  <a:lnTo>
                    <a:pt x="22203" y="108910"/>
                  </a:lnTo>
                  <a:close/>
                  <a:moveTo>
                    <a:pt x="0" y="89018"/>
                  </a:moveTo>
                  <a:lnTo>
                    <a:pt x="0" y="89018"/>
                  </a:lnTo>
                  <a:lnTo>
                    <a:pt x="0" y="89018"/>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3" name="Freeform: Shape 92">
              <a:extLst>
                <a:ext uri="{FF2B5EF4-FFF2-40B4-BE49-F238E27FC236}">
                  <a16:creationId xmlns:a16="http://schemas.microsoft.com/office/drawing/2014/main" id="{0C83E8CF-B398-405F-A053-7D3CD936B2CE}"/>
                </a:ext>
              </a:extLst>
            </p:cNvPr>
            <p:cNvSpPr/>
            <p:nvPr/>
          </p:nvSpPr>
          <p:spPr>
            <a:xfrm>
              <a:off x="7067891" y="642569"/>
              <a:ext cx="90652" cy="136617"/>
            </a:xfrm>
            <a:custGeom>
              <a:avLst/>
              <a:gdLst>
                <a:gd name="connsiteX0" fmla="*/ 50178 w 90652"/>
                <a:gd name="connsiteY0" fmla="*/ 136795 h 136616"/>
                <a:gd name="connsiteX1" fmla="*/ 90997 w 90652"/>
                <a:gd name="connsiteY1" fmla="*/ 136795 h 136616"/>
                <a:gd name="connsiteX2" fmla="*/ 90997 w 90652"/>
                <a:gd name="connsiteY2" fmla="*/ 0 h 136616"/>
                <a:gd name="connsiteX3" fmla="*/ 73045 w 90652"/>
                <a:gd name="connsiteY3" fmla="*/ 0 h 136616"/>
                <a:gd name="connsiteX4" fmla="*/ 63661 w 90652"/>
                <a:gd name="connsiteY4" fmla="*/ 9384 h 136616"/>
                <a:gd name="connsiteX5" fmla="*/ 63661 w 90652"/>
                <a:gd name="connsiteY5" fmla="*/ 20544 h 136616"/>
                <a:gd name="connsiteX6" fmla="*/ 31422 w 90652"/>
                <a:gd name="connsiteY6" fmla="*/ 20544 h 136616"/>
                <a:gd name="connsiteX7" fmla="*/ 22037 w 90652"/>
                <a:gd name="connsiteY7" fmla="*/ 29928 h 136616"/>
                <a:gd name="connsiteX8" fmla="*/ 22037 w 90652"/>
                <a:gd name="connsiteY8" fmla="*/ 38189 h 136616"/>
                <a:gd name="connsiteX9" fmla="*/ 9384 w 90652"/>
                <a:gd name="connsiteY9" fmla="*/ 38189 h 136616"/>
                <a:gd name="connsiteX10" fmla="*/ 0 w 90652"/>
                <a:gd name="connsiteY10" fmla="*/ 47573 h 136616"/>
                <a:gd name="connsiteX11" fmla="*/ 0 w 90652"/>
                <a:gd name="connsiteY11" fmla="*/ 88852 h 136616"/>
                <a:gd name="connsiteX12" fmla="*/ 9384 w 90652"/>
                <a:gd name="connsiteY12" fmla="*/ 98236 h 136616"/>
                <a:gd name="connsiteX13" fmla="*/ 16445 w 90652"/>
                <a:gd name="connsiteY13" fmla="*/ 98236 h 136616"/>
                <a:gd name="connsiteX14" fmla="*/ 22037 w 90652"/>
                <a:gd name="connsiteY14" fmla="*/ 104173 h 136616"/>
                <a:gd name="connsiteX15" fmla="*/ 22037 w 90652"/>
                <a:gd name="connsiteY15" fmla="*/ 108080 h 136616"/>
                <a:gd name="connsiteX16" fmla="*/ 31422 w 90652"/>
                <a:gd name="connsiteY16" fmla="*/ 117465 h 136616"/>
                <a:gd name="connsiteX17" fmla="*/ 42453 w 90652"/>
                <a:gd name="connsiteY17" fmla="*/ 117465 h 136616"/>
                <a:gd name="connsiteX18" fmla="*/ 42453 w 90652"/>
                <a:gd name="connsiteY18" fmla="*/ 129045 h 136616"/>
                <a:gd name="connsiteX19" fmla="*/ 50178 w 90652"/>
                <a:gd name="connsiteY19" fmla="*/ 136795 h 13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652" h="136616">
                  <a:moveTo>
                    <a:pt x="50178" y="136795"/>
                  </a:moveTo>
                  <a:lnTo>
                    <a:pt x="90997" y="136795"/>
                  </a:lnTo>
                  <a:lnTo>
                    <a:pt x="90997" y="0"/>
                  </a:lnTo>
                  <a:lnTo>
                    <a:pt x="73045" y="0"/>
                  </a:lnTo>
                  <a:cubicBezTo>
                    <a:pt x="67887" y="0"/>
                    <a:pt x="63661" y="4226"/>
                    <a:pt x="63661" y="9384"/>
                  </a:cubicBezTo>
                  <a:lnTo>
                    <a:pt x="63661" y="20544"/>
                  </a:lnTo>
                  <a:lnTo>
                    <a:pt x="31422" y="20544"/>
                  </a:lnTo>
                  <a:cubicBezTo>
                    <a:pt x="26264" y="20544"/>
                    <a:pt x="22037" y="24770"/>
                    <a:pt x="22037" y="29928"/>
                  </a:cubicBezTo>
                  <a:lnTo>
                    <a:pt x="22037" y="38189"/>
                  </a:lnTo>
                  <a:lnTo>
                    <a:pt x="9384" y="38189"/>
                  </a:lnTo>
                  <a:cubicBezTo>
                    <a:pt x="4226" y="38189"/>
                    <a:pt x="0" y="42415"/>
                    <a:pt x="0" y="47573"/>
                  </a:cubicBezTo>
                  <a:lnTo>
                    <a:pt x="0" y="88852"/>
                  </a:lnTo>
                  <a:cubicBezTo>
                    <a:pt x="0" y="94010"/>
                    <a:pt x="4226" y="98236"/>
                    <a:pt x="9384" y="98236"/>
                  </a:cubicBezTo>
                  <a:lnTo>
                    <a:pt x="16445" y="98236"/>
                  </a:lnTo>
                  <a:cubicBezTo>
                    <a:pt x="19982" y="98505"/>
                    <a:pt x="22191" y="101135"/>
                    <a:pt x="22037" y="104173"/>
                  </a:cubicBezTo>
                  <a:lnTo>
                    <a:pt x="22037" y="108080"/>
                  </a:lnTo>
                  <a:cubicBezTo>
                    <a:pt x="22037" y="113239"/>
                    <a:pt x="26264" y="117465"/>
                    <a:pt x="31422" y="117465"/>
                  </a:cubicBezTo>
                  <a:lnTo>
                    <a:pt x="42453" y="117465"/>
                  </a:lnTo>
                  <a:lnTo>
                    <a:pt x="42453" y="129045"/>
                  </a:lnTo>
                  <a:cubicBezTo>
                    <a:pt x="42453" y="133323"/>
                    <a:pt x="45926" y="136795"/>
                    <a:pt x="50178" y="136795"/>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4" name="Freeform: Shape 93">
              <a:extLst>
                <a:ext uri="{FF2B5EF4-FFF2-40B4-BE49-F238E27FC236}">
                  <a16:creationId xmlns:a16="http://schemas.microsoft.com/office/drawing/2014/main" id="{41E139A4-95C3-4DD4-840C-BFD437068178}"/>
                </a:ext>
              </a:extLst>
            </p:cNvPr>
            <p:cNvSpPr/>
            <p:nvPr/>
          </p:nvSpPr>
          <p:spPr>
            <a:xfrm>
              <a:off x="7003438" y="587258"/>
              <a:ext cx="114911" cy="75331"/>
            </a:xfrm>
            <a:custGeom>
              <a:avLst/>
              <a:gdLst>
                <a:gd name="connsiteX0" fmla="*/ 0 w 114911"/>
                <a:gd name="connsiteY0" fmla="*/ 28013 h 75330"/>
                <a:gd name="connsiteX1" fmla="*/ 0 w 114911"/>
                <a:gd name="connsiteY1" fmla="*/ 75484 h 75330"/>
                <a:gd name="connsiteX2" fmla="*/ 13572 w 114911"/>
                <a:gd name="connsiteY2" fmla="*/ 75484 h 75330"/>
                <a:gd name="connsiteX3" fmla="*/ 21297 w 114911"/>
                <a:gd name="connsiteY3" fmla="*/ 67759 h 75330"/>
                <a:gd name="connsiteX4" fmla="*/ 21297 w 114911"/>
                <a:gd name="connsiteY4" fmla="*/ 55719 h 75330"/>
                <a:gd name="connsiteX5" fmla="*/ 35967 w 114911"/>
                <a:gd name="connsiteY5" fmla="*/ 55719 h 75330"/>
                <a:gd name="connsiteX6" fmla="*/ 43692 w 114911"/>
                <a:gd name="connsiteY6" fmla="*/ 47995 h 75330"/>
                <a:gd name="connsiteX7" fmla="*/ 43692 w 114911"/>
                <a:gd name="connsiteY7" fmla="*/ 43104 h 75330"/>
                <a:gd name="connsiteX8" fmla="*/ 51084 w 114911"/>
                <a:gd name="connsiteY8" fmla="*/ 37601 h 75330"/>
                <a:gd name="connsiteX9" fmla="*/ 115920 w 114911"/>
                <a:gd name="connsiteY9" fmla="*/ 37589 h 75330"/>
                <a:gd name="connsiteX10" fmla="*/ 115920 w 114911"/>
                <a:gd name="connsiteY10" fmla="*/ 37321 h 75330"/>
                <a:gd name="connsiteX11" fmla="*/ 114835 w 114911"/>
                <a:gd name="connsiteY11" fmla="*/ 37321 h 75330"/>
                <a:gd name="connsiteX12" fmla="*/ 107110 w 114911"/>
                <a:gd name="connsiteY12" fmla="*/ 29596 h 75330"/>
                <a:gd name="connsiteX13" fmla="*/ 107110 w 114911"/>
                <a:gd name="connsiteY13" fmla="*/ 153 h 75330"/>
                <a:gd name="connsiteX14" fmla="*/ 105438 w 114911"/>
                <a:gd name="connsiteY14" fmla="*/ 0 h 75330"/>
                <a:gd name="connsiteX15" fmla="*/ 60801 w 114911"/>
                <a:gd name="connsiteY15" fmla="*/ 0 h 75330"/>
                <a:gd name="connsiteX16" fmla="*/ 54162 w 114911"/>
                <a:gd name="connsiteY16" fmla="*/ 0 h 75330"/>
                <a:gd name="connsiteX17" fmla="*/ 38700 w 114911"/>
                <a:gd name="connsiteY17" fmla="*/ 0 h 75330"/>
                <a:gd name="connsiteX18" fmla="*/ 29341 w 114911"/>
                <a:gd name="connsiteY18" fmla="*/ 8631 h 75330"/>
                <a:gd name="connsiteX19" fmla="*/ 18513 w 114911"/>
                <a:gd name="connsiteY19" fmla="*/ 18616 h 75330"/>
                <a:gd name="connsiteX20" fmla="*/ 9372 w 114911"/>
                <a:gd name="connsiteY20" fmla="*/ 18616 h 75330"/>
                <a:gd name="connsiteX21" fmla="*/ 0 w 114911"/>
                <a:gd name="connsiteY21" fmla="*/ 28013 h 7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11" h="75330">
                  <a:moveTo>
                    <a:pt x="0" y="28013"/>
                  </a:moveTo>
                  <a:lnTo>
                    <a:pt x="0" y="75484"/>
                  </a:lnTo>
                  <a:lnTo>
                    <a:pt x="13572" y="75484"/>
                  </a:lnTo>
                  <a:cubicBezTo>
                    <a:pt x="17824" y="75484"/>
                    <a:pt x="21297" y="72011"/>
                    <a:pt x="21297" y="67759"/>
                  </a:cubicBezTo>
                  <a:lnTo>
                    <a:pt x="21297" y="55719"/>
                  </a:lnTo>
                  <a:lnTo>
                    <a:pt x="35967" y="55719"/>
                  </a:lnTo>
                  <a:cubicBezTo>
                    <a:pt x="40219" y="55719"/>
                    <a:pt x="43692" y="52246"/>
                    <a:pt x="43692" y="47995"/>
                  </a:cubicBezTo>
                  <a:lnTo>
                    <a:pt x="43692" y="43104"/>
                  </a:lnTo>
                  <a:cubicBezTo>
                    <a:pt x="44649" y="39925"/>
                    <a:pt x="47612" y="37601"/>
                    <a:pt x="51084" y="37601"/>
                  </a:cubicBezTo>
                  <a:cubicBezTo>
                    <a:pt x="73250" y="37601"/>
                    <a:pt x="52336" y="37589"/>
                    <a:pt x="115920" y="37589"/>
                  </a:cubicBezTo>
                  <a:lnTo>
                    <a:pt x="115920" y="37321"/>
                  </a:lnTo>
                  <a:lnTo>
                    <a:pt x="114835" y="37321"/>
                  </a:lnTo>
                  <a:cubicBezTo>
                    <a:pt x="110596" y="37321"/>
                    <a:pt x="107110" y="33848"/>
                    <a:pt x="107110" y="29596"/>
                  </a:cubicBezTo>
                  <a:lnTo>
                    <a:pt x="107110" y="153"/>
                  </a:lnTo>
                  <a:cubicBezTo>
                    <a:pt x="106574" y="51"/>
                    <a:pt x="106012" y="0"/>
                    <a:pt x="105438" y="0"/>
                  </a:cubicBezTo>
                  <a:lnTo>
                    <a:pt x="60801" y="0"/>
                  </a:lnTo>
                  <a:lnTo>
                    <a:pt x="54162" y="0"/>
                  </a:lnTo>
                  <a:lnTo>
                    <a:pt x="38700" y="0"/>
                  </a:lnTo>
                  <a:cubicBezTo>
                    <a:pt x="33797" y="0"/>
                    <a:pt x="29724" y="3818"/>
                    <a:pt x="29341" y="8631"/>
                  </a:cubicBezTo>
                  <a:cubicBezTo>
                    <a:pt x="28894" y="14287"/>
                    <a:pt x="24195" y="18616"/>
                    <a:pt x="18513" y="18616"/>
                  </a:cubicBezTo>
                  <a:lnTo>
                    <a:pt x="9372" y="18616"/>
                  </a:lnTo>
                  <a:cubicBezTo>
                    <a:pt x="4226" y="18628"/>
                    <a:pt x="0" y="22855"/>
                    <a:pt x="0" y="28013"/>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5" name="Freeform: Shape 94">
              <a:extLst>
                <a:ext uri="{FF2B5EF4-FFF2-40B4-BE49-F238E27FC236}">
                  <a16:creationId xmlns:a16="http://schemas.microsoft.com/office/drawing/2014/main" id="{5993B36D-C68B-43F0-B566-3D28C47E2EC4}"/>
                </a:ext>
              </a:extLst>
            </p:cNvPr>
            <p:cNvSpPr/>
            <p:nvPr/>
          </p:nvSpPr>
          <p:spPr>
            <a:xfrm>
              <a:off x="6833867" y="486954"/>
              <a:ext cx="153215" cy="57456"/>
            </a:xfrm>
            <a:custGeom>
              <a:avLst/>
              <a:gdLst>
                <a:gd name="connsiteX0" fmla="*/ 2184 w 153215"/>
                <a:gd name="connsiteY0" fmla="*/ 58630 h 57455"/>
                <a:gd name="connsiteX1" fmla="*/ 124373 w 153215"/>
                <a:gd name="connsiteY1" fmla="*/ 58630 h 57455"/>
                <a:gd name="connsiteX2" fmla="*/ 132097 w 153215"/>
                <a:gd name="connsiteY2" fmla="*/ 50906 h 57455"/>
                <a:gd name="connsiteX3" fmla="*/ 132097 w 153215"/>
                <a:gd name="connsiteY3" fmla="*/ 28983 h 57455"/>
                <a:gd name="connsiteX4" fmla="*/ 142950 w 153215"/>
                <a:gd name="connsiteY4" fmla="*/ 18130 h 57455"/>
                <a:gd name="connsiteX5" fmla="*/ 146410 w 153215"/>
                <a:gd name="connsiteY5" fmla="*/ 18130 h 57455"/>
                <a:gd name="connsiteX6" fmla="*/ 154135 w 153215"/>
                <a:gd name="connsiteY6" fmla="*/ 10406 h 57455"/>
                <a:gd name="connsiteX7" fmla="*/ 154135 w 153215"/>
                <a:gd name="connsiteY7" fmla="*/ 7725 h 57455"/>
                <a:gd name="connsiteX8" fmla="*/ 146410 w 153215"/>
                <a:gd name="connsiteY8" fmla="*/ 0 h 57455"/>
                <a:gd name="connsiteX9" fmla="*/ 124373 w 153215"/>
                <a:gd name="connsiteY9" fmla="*/ 0 h 57455"/>
                <a:gd name="connsiteX10" fmla="*/ 93653 w 153215"/>
                <a:gd name="connsiteY10" fmla="*/ 0 h 57455"/>
                <a:gd name="connsiteX11" fmla="*/ 85967 w 153215"/>
                <a:gd name="connsiteY11" fmla="*/ 9525 h 57455"/>
                <a:gd name="connsiteX12" fmla="*/ 76608 w 153215"/>
                <a:gd name="connsiteY12" fmla="*/ 18156 h 57455"/>
                <a:gd name="connsiteX13" fmla="*/ 61146 w 153215"/>
                <a:gd name="connsiteY13" fmla="*/ 18156 h 57455"/>
                <a:gd name="connsiteX14" fmla="*/ 54507 w 153215"/>
                <a:gd name="connsiteY14" fmla="*/ 18156 h 57455"/>
                <a:gd name="connsiteX15" fmla="*/ 22153 w 153215"/>
                <a:gd name="connsiteY15" fmla="*/ 18156 h 57455"/>
                <a:gd name="connsiteX16" fmla="*/ 22153 w 153215"/>
                <a:gd name="connsiteY16" fmla="*/ 31192 h 57455"/>
                <a:gd name="connsiteX17" fmla="*/ 14428 w 153215"/>
                <a:gd name="connsiteY17" fmla="*/ 38917 h 57455"/>
                <a:gd name="connsiteX18" fmla="*/ 9755 w 153215"/>
                <a:gd name="connsiteY18" fmla="*/ 38917 h 57455"/>
                <a:gd name="connsiteX19" fmla="*/ 13 w 153215"/>
                <a:gd name="connsiteY19" fmla="*/ 49195 h 57455"/>
                <a:gd name="connsiteX20" fmla="*/ 13 w 153215"/>
                <a:gd name="connsiteY20" fmla="*/ 58311 h 57455"/>
                <a:gd name="connsiteX21" fmla="*/ 2184 w 153215"/>
                <a:gd name="connsiteY21" fmla="*/ 5863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215" h="57455">
                  <a:moveTo>
                    <a:pt x="2184" y="58630"/>
                  </a:moveTo>
                  <a:lnTo>
                    <a:pt x="124373" y="58630"/>
                  </a:lnTo>
                  <a:cubicBezTo>
                    <a:pt x="128625" y="58630"/>
                    <a:pt x="132097" y="55157"/>
                    <a:pt x="132097" y="50906"/>
                  </a:cubicBezTo>
                  <a:lnTo>
                    <a:pt x="132097" y="28983"/>
                  </a:lnTo>
                  <a:cubicBezTo>
                    <a:pt x="132097" y="23008"/>
                    <a:pt x="136975" y="18130"/>
                    <a:pt x="142950" y="18130"/>
                  </a:cubicBezTo>
                  <a:lnTo>
                    <a:pt x="146410" y="18130"/>
                  </a:lnTo>
                  <a:cubicBezTo>
                    <a:pt x="150662" y="18130"/>
                    <a:pt x="154135" y="14658"/>
                    <a:pt x="154135" y="10406"/>
                  </a:cubicBezTo>
                  <a:lnTo>
                    <a:pt x="154135" y="7725"/>
                  </a:lnTo>
                  <a:cubicBezTo>
                    <a:pt x="154135" y="3473"/>
                    <a:pt x="150662" y="0"/>
                    <a:pt x="146410" y="0"/>
                  </a:cubicBezTo>
                  <a:lnTo>
                    <a:pt x="124373" y="0"/>
                  </a:lnTo>
                  <a:lnTo>
                    <a:pt x="93653" y="0"/>
                  </a:lnTo>
                  <a:cubicBezTo>
                    <a:pt x="89465" y="1251"/>
                    <a:pt x="86337" y="4954"/>
                    <a:pt x="85967" y="9525"/>
                  </a:cubicBezTo>
                  <a:cubicBezTo>
                    <a:pt x="85584" y="14338"/>
                    <a:pt x="81524" y="18156"/>
                    <a:pt x="76608" y="18156"/>
                  </a:cubicBezTo>
                  <a:lnTo>
                    <a:pt x="61146" y="18156"/>
                  </a:lnTo>
                  <a:lnTo>
                    <a:pt x="54507" y="18156"/>
                  </a:lnTo>
                  <a:lnTo>
                    <a:pt x="22153" y="18156"/>
                  </a:lnTo>
                  <a:lnTo>
                    <a:pt x="22153" y="31192"/>
                  </a:lnTo>
                  <a:cubicBezTo>
                    <a:pt x="22153" y="35444"/>
                    <a:pt x="18680" y="38917"/>
                    <a:pt x="14428" y="38917"/>
                  </a:cubicBezTo>
                  <a:lnTo>
                    <a:pt x="9755" y="38917"/>
                  </a:lnTo>
                  <a:cubicBezTo>
                    <a:pt x="2209" y="38917"/>
                    <a:pt x="-204" y="46296"/>
                    <a:pt x="13" y="49195"/>
                  </a:cubicBezTo>
                  <a:lnTo>
                    <a:pt x="13" y="58311"/>
                  </a:lnTo>
                  <a:cubicBezTo>
                    <a:pt x="716" y="58528"/>
                    <a:pt x="1431" y="58630"/>
                    <a:pt x="2184" y="58630"/>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6" name="Freeform: Shape 95">
              <a:extLst>
                <a:ext uri="{FF2B5EF4-FFF2-40B4-BE49-F238E27FC236}">
                  <a16:creationId xmlns:a16="http://schemas.microsoft.com/office/drawing/2014/main" id="{BB369548-8CE0-4DE2-9337-85FDB837F043}"/>
                </a:ext>
              </a:extLst>
            </p:cNvPr>
            <p:cNvSpPr/>
            <p:nvPr/>
          </p:nvSpPr>
          <p:spPr>
            <a:xfrm>
              <a:off x="6912480" y="641458"/>
              <a:ext cx="48518" cy="60009"/>
            </a:xfrm>
            <a:custGeom>
              <a:avLst/>
              <a:gdLst>
                <a:gd name="connsiteX0" fmla="*/ 49591 w 48518"/>
                <a:gd name="connsiteY0" fmla="*/ 5963 h 60009"/>
                <a:gd name="connsiteX1" fmla="*/ 49591 w 48518"/>
                <a:gd name="connsiteY1" fmla="*/ 0 h 60009"/>
                <a:gd name="connsiteX2" fmla="*/ 0 w 48518"/>
                <a:gd name="connsiteY2" fmla="*/ 0 h 60009"/>
                <a:gd name="connsiteX3" fmla="*/ 13 w 48518"/>
                <a:gd name="connsiteY3" fmla="*/ 102 h 60009"/>
                <a:gd name="connsiteX4" fmla="*/ 7546 w 48518"/>
                <a:gd name="connsiteY4" fmla="*/ 7035 h 60009"/>
                <a:gd name="connsiteX5" fmla="*/ 7469 w 48518"/>
                <a:gd name="connsiteY5" fmla="*/ 33682 h 60009"/>
                <a:gd name="connsiteX6" fmla="*/ 7469 w 48518"/>
                <a:gd name="connsiteY6" fmla="*/ 34154 h 60009"/>
                <a:gd name="connsiteX7" fmla="*/ 7469 w 48518"/>
                <a:gd name="connsiteY7" fmla="*/ 34358 h 60009"/>
                <a:gd name="connsiteX8" fmla="*/ 7469 w 48518"/>
                <a:gd name="connsiteY8" fmla="*/ 34358 h 60009"/>
                <a:gd name="connsiteX9" fmla="*/ 7482 w 48518"/>
                <a:gd name="connsiteY9" fmla="*/ 34550 h 60009"/>
                <a:gd name="connsiteX10" fmla="*/ 7482 w 48518"/>
                <a:gd name="connsiteY10" fmla="*/ 34550 h 60009"/>
                <a:gd name="connsiteX11" fmla="*/ 7495 w 48518"/>
                <a:gd name="connsiteY11" fmla="*/ 34742 h 60009"/>
                <a:gd name="connsiteX12" fmla="*/ 7495 w 48518"/>
                <a:gd name="connsiteY12" fmla="*/ 34742 h 60009"/>
                <a:gd name="connsiteX13" fmla="*/ 7508 w 48518"/>
                <a:gd name="connsiteY13" fmla="*/ 34933 h 60009"/>
                <a:gd name="connsiteX14" fmla="*/ 7508 w 48518"/>
                <a:gd name="connsiteY14" fmla="*/ 34933 h 60009"/>
                <a:gd name="connsiteX15" fmla="*/ 7533 w 48518"/>
                <a:gd name="connsiteY15" fmla="*/ 35125 h 60009"/>
                <a:gd name="connsiteX16" fmla="*/ 7533 w 48518"/>
                <a:gd name="connsiteY16" fmla="*/ 35125 h 60009"/>
                <a:gd name="connsiteX17" fmla="*/ 7559 w 48518"/>
                <a:gd name="connsiteY17" fmla="*/ 35316 h 60009"/>
                <a:gd name="connsiteX18" fmla="*/ 7559 w 48518"/>
                <a:gd name="connsiteY18" fmla="*/ 35316 h 60009"/>
                <a:gd name="connsiteX19" fmla="*/ 7597 w 48518"/>
                <a:gd name="connsiteY19" fmla="*/ 35508 h 60009"/>
                <a:gd name="connsiteX20" fmla="*/ 7597 w 48518"/>
                <a:gd name="connsiteY20" fmla="*/ 35508 h 60009"/>
                <a:gd name="connsiteX21" fmla="*/ 7635 w 48518"/>
                <a:gd name="connsiteY21" fmla="*/ 35699 h 60009"/>
                <a:gd name="connsiteX22" fmla="*/ 7635 w 48518"/>
                <a:gd name="connsiteY22" fmla="*/ 35699 h 60009"/>
                <a:gd name="connsiteX23" fmla="*/ 7674 w 48518"/>
                <a:gd name="connsiteY23" fmla="*/ 35891 h 60009"/>
                <a:gd name="connsiteX24" fmla="*/ 7674 w 48518"/>
                <a:gd name="connsiteY24" fmla="*/ 35891 h 60009"/>
                <a:gd name="connsiteX25" fmla="*/ 7725 w 48518"/>
                <a:gd name="connsiteY25" fmla="*/ 36082 h 60009"/>
                <a:gd name="connsiteX26" fmla="*/ 7725 w 48518"/>
                <a:gd name="connsiteY26" fmla="*/ 36082 h 60009"/>
                <a:gd name="connsiteX27" fmla="*/ 14607 w 48518"/>
                <a:gd name="connsiteY27" fmla="*/ 41853 h 60009"/>
                <a:gd name="connsiteX28" fmla="*/ 14607 w 48518"/>
                <a:gd name="connsiteY28" fmla="*/ 41853 h 60009"/>
                <a:gd name="connsiteX29" fmla="*/ 14798 w 48518"/>
                <a:gd name="connsiteY29" fmla="*/ 41866 h 60009"/>
                <a:gd name="connsiteX30" fmla="*/ 14798 w 48518"/>
                <a:gd name="connsiteY30" fmla="*/ 41866 h 60009"/>
                <a:gd name="connsiteX31" fmla="*/ 14862 w 48518"/>
                <a:gd name="connsiteY31" fmla="*/ 41866 h 60009"/>
                <a:gd name="connsiteX32" fmla="*/ 15283 w 48518"/>
                <a:gd name="connsiteY32" fmla="*/ 41879 h 60009"/>
                <a:gd name="connsiteX33" fmla="*/ 16279 w 48518"/>
                <a:gd name="connsiteY33" fmla="*/ 41879 h 60009"/>
                <a:gd name="connsiteX34" fmla="*/ 27132 w 48518"/>
                <a:gd name="connsiteY34" fmla="*/ 52731 h 60009"/>
                <a:gd name="connsiteX35" fmla="*/ 27132 w 48518"/>
                <a:gd name="connsiteY35" fmla="*/ 60111 h 60009"/>
                <a:gd name="connsiteX36" fmla="*/ 41981 w 48518"/>
                <a:gd name="connsiteY36" fmla="*/ 60111 h 60009"/>
                <a:gd name="connsiteX37" fmla="*/ 49591 w 48518"/>
                <a:gd name="connsiteY37" fmla="*/ 53612 h 60009"/>
                <a:gd name="connsiteX38" fmla="*/ 49591 w 48518"/>
                <a:gd name="connsiteY38" fmla="*/ 6805 h 60009"/>
                <a:gd name="connsiteX39" fmla="*/ 49616 w 48518"/>
                <a:gd name="connsiteY39" fmla="*/ 6384 h 60009"/>
                <a:gd name="connsiteX40" fmla="*/ 49591 w 48518"/>
                <a:gd name="connsiteY40" fmla="*/ 5963 h 6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8518" h="60009">
                  <a:moveTo>
                    <a:pt x="49591" y="5963"/>
                  </a:moveTo>
                  <a:cubicBezTo>
                    <a:pt x="49591" y="5963"/>
                    <a:pt x="49591" y="2694"/>
                    <a:pt x="49591" y="0"/>
                  </a:cubicBezTo>
                  <a:lnTo>
                    <a:pt x="0" y="0"/>
                  </a:lnTo>
                  <a:cubicBezTo>
                    <a:pt x="13" y="306"/>
                    <a:pt x="26" y="-204"/>
                    <a:pt x="13" y="102"/>
                  </a:cubicBezTo>
                  <a:cubicBezTo>
                    <a:pt x="3881" y="460"/>
                    <a:pt x="7559" y="1966"/>
                    <a:pt x="7546" y="7035"/>
                  </a:cubicBezTo>
                  <a:lnTo>
                    <a:pt x="7469" y="33682"/>
                  </a:lnTo>
                  <a:lnTo>
                    <a:pt x="7469" y="34154"/>
                  </a:lnTo>
                  <a:lnTo>
                    <a:pt x="7469" y="34358"/>
                  </a:lnTo>
                  <a:lnTo>
                    <a:pt x="7469" y="34358"/>
                  </a:lnTo>
                  <a:lnTo>
                    <a:pt x="7482" y="34550"/>
                  </a:lnTo>
                  <a:lnTo>
                    <a:pt x="7482" y="34550"/>
                  </a:lnTo>
                  <a:lnTo>
                    <a:pt x="7495" y="34742"/>
                  </a:lnTo>
                  <a:lnTo>
                    <a:pt x="7495" y="34742"/>
                  </a:lnTo>
                  <a:lnTo>
                    <a:pt x="7508" y="34933"/>
                  </a:lnTo>
                  <a:lnTo>
                    <a:pt x="7508" y="34933"/>
                  </a:lnTo>
                  <a:lnTo>
                    <a:pt x="7533" y="35125"/>
                  </a:lnTo>
                  <a:lnTo>
                    <a:pt x="7533" y="35125"/>
                  </a:lnTo>
                  <a:lnTo>
                    <a:pt x="7559" y="35316"/>
                  </a:lnTo>
                  <a:lnTo>
                    <a:pt x="7559" y="35316"/>
                  </a:lnTo>
                  <a:lnTo>
                    <a:pt x="7597" y="35508"/>
                  </a:lnTo>
                  <a:lnTo>
                    <a:pt x="7597" y="35508"/>
                  </a:lnTo>
                  <a:cubicBezTo>
                    <a:pt x="7610" y="35571"/>
                    <a:pt x="7622" y="35635"/>
                    <a:pt x="7635" y="35699"/>
                  </a:cubicBezTo>
                  <a:lnTo>
                    <a:pt x="7635" y="35699"/>
                  </a:lnTo>
                  <a:lnTo>
                    <a:pt x="7674" y="35891"/>
                  </a:lnTo>
                  <a:lnTo>
                    <a:pt x="7674" y="35891"/>
                  </a:lnTo>
                  <a:lnTo>
                    <a:pt x="7725" y="36082"/>
                  </a:lnTo>
                  <a:lnTo>
                    <a:pt x="7725" y="36082"/>
                  </a:lnTo>
                  <a:cubicBezTo>
                    <a:pt x="8555" y="39185"/>
                    <a:pt x="11274" y="41572"/>
                    <a:pt x="14607" y="41853"/>
                  </a:cubicBezTo>
                  <a:lnTo>
                    <a:pt x="14607" y="41853"/>
                  </a:lnTo>
                  <a:lnTo>
                    <a:pt x="14798" y="41866"/>
                  </a:lnTo>
                  <a:lnTo>
                    <a:pt x="14798" y="41866"/>
                  </a:lnTo>
                  <a:lnTo>
                    <a:pt x="14862" y="41866"/>
                  </a:lnTo>
                  <a:cubicBezTo>
                    <a:pt x="15015" y="41866"/>
                    <a:pt x="15130" y="41879"/>
                    <a:pt x="15283" y="41879"/>
                  </a:cubicBezTo>
                  <a:lnTo>
                    <a:pt x="16279" y="41879"/>
                  </a:lnTo>
                  <a:cubicBezTo>
                    <a:pt x="22255" y="41879"/>
                    <a:pt x="27132" y="46756"/>
                    <a:pt x="27132" y="52731"/>
                  </a:cubicBezTo>
                  <a:lnTo>
                    <a:pt x="27132" y="60111"/>
                  </a:lnTo>
                  <a:lnTo>
                    <a:pt x="41981" y="60111"/>
                  </a:lnTo>
                  <a:cubicBezTo>
                    <a:pt x="45811" y="60111"/>
                    <a:pt x="49003" y="57277"/>
                    <a:pt x="49591" y="53612"/>
                  </a:cubicBezTo>
                  <a:lnTo>
                    <a:pt x="49591" y="6805"/>
                  </a:lnTo>
                  <a:cubicBezTo>
                    <a:pt x="49591" y="6665"/>
                    <a:pt x="49603" y="6524"/>
                    <a:pt x="49616" y="6384"/>
                  </a:cubicBezTo>
                  <a:cubicBezTo>
                    <a:pt x="49603" y="6244"/>
                    <a:pt x="49591" y="6103"/>
                    <a:pt x="49591" y="5963"/>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7" name="Freeform: Shape 96">
              <a:extLst>
                <a:ext uri="{FF2B5EF4-FFF2-40B4-BE49-F238E27FC236}">
                  <a16:creationId xmlns:a16="http://schemas.microsoft.com/office/drawing/2014/main" id="{871FDD90-631C-431F-B933-F794C373D3E7}"/>
                </a:ext>
              </a:extLst>
            </p:cNvPr>
            <p:cNvSpPr/>
            <p:nvPr/>
          </p:nvSpPr>
          <p:spPr>
            <a:xfrm>
              <a:off x="6962275" y="625600"/>
              <a:ext cx="40857" cy="37027"/>
            </a:xfrm>
            <a:custGeom>
              <a:avLst/>
              <a:gdLst>
                <a:gd name="connsiteX0" fmla="*/ 15436 w 40857"/>
                <a:gd name="connsiteY0" fmla="*/ 13 h 37026"/>
                <a:gd name="connsiteX1" fmla="*/ 0 w 40857"/>
                <a:gd name="connsiteY1" fmla="*/ 15334 h 37026"/>
                <a:gd name="connsiteX2" fmla="*/ 0 w 40857"/>
                <a:gd name="connsiteY2" fmla="*/ 22037 h 37026"/>
                <a:gd name="connsiteX3" fmla="*/ 25 w 40857"/>
                <a:gd name="connsiteY3" fmla="*/ 22459 h 37026"/>
                <a:gd name="connsiteX4" fmla="*/ 0 w 40857"/>
                <a:gd name="connsiteY4" fmla="*/ 22880 h 37026"/>
                <a:gd name="connsiteX5" fmla="*/ 0 w 40857"/>
                <a:gd name="connsiteY5" fmla="*/ 37346 h 37026"/>
                <a:gd name="connsiteX6" fmla="*/ 15436 w 40857"/>
                <a:gd name="connsiteY6" fmla="*/ 37346 h 37026"/>
                <a:gd name="connsiteX7" fmla="*/ 20684 w 40857"/>
                <a:gd name="connsiteY7" fmla="*/ 37346 h 37026"/>
                <a:gd name="connsiteX8" fmla="*/ 41266 w 40857"/>
                <a:gd name="connsiteY8" fmla="*/ 37346 h 37026"/>
                <a:gd name="connsiteX9" fmla="*/ 41266 w 40857"/>
                <a:gd name="connsiteY9" fmla="*/ 0 h 37026"/>
                <a:gd name="connsiteX10" fmla="*/ 15436 w 40857"/>
                <a:gd name="connsiteY10" fmla="*/ 0 h 3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57" h="37026">
                  <a:moveTo>
                    <a:pt x="15436" y="13"/>
                  </a:moveTo>
                  <a:cubicBezTo>
                    <a:pt x="6946" y="13"/>
                    <a:pt x="0" y="6907"/>
                    <a:pt x="0" y="15334"/>
                  </a:cubicBezTo>
                  <a:lnTo>
                    <a:pt x="0" y="22037"/>
                  </a:lnTo>
                  <a:cubicBezTo>
                    <a:pt x="0" y="22178"/>
                    <a:pt x="13" y="22318"/>
                    <a:pt x="25" y="22459"/>
                  </a:cubicBezTo>
                  <a:cubicBezTo>
                    <a:pt x="13" y="22599"/>
                    <a:pt x="0" y="22740"/>
                    <a:pt x="0" y="22880"/>
                  </a:cubicBezTo>
                  <a:lnTo>
                    <a:pt x="0" y="37346"/>
                  </a:lnTo>
                  <a:lnTo>
                    <a:pt x="15436" y="37346"/>
                  </a:lnTo>
                  <a:lnTo>
                    <a:pt x="20684" y="37346"/>
                  </a:lnTo>
                  <a:lnTo>
                    <a:pt x="41266" y="37346"/>
                  </a:lnTo>
                  <a:lnTo>
                    <a:pt x="41266" y="0"/>
                  </a:lnTo>
                  <a:lnTo>
                    <a:pt x="15436" y="0"/>
                  </a:lnTo>
                  <a:close/>
                </a:path>
              </a:pathLst>
            </a:custGeom>
            <a:solidFill>
              <a:srgbClr val="B8BC53"/>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8" name="Freeform: Shape 97">
              <a:extLst>
                <a:ext uri="{FF2B5EF4-FFF2-40B4-BE49-F238E27FC236}">
                  <a16:creationId xmlns:a16="http://schemas.microsoft.com/office/drawing/2014/main" id="{56434257-5BFF-4169-92C3-9B75F6492180}"/>
                </a:ext>
              </a:extLst>
            </p:cNvPr>
            <p:cNvSpPr/>
            <p:nvPr/>
          </p:nvSpPr>
          <p:spPr>
            <a:xfrm>
              <a:off x="6855611" y="564493"/>
              <a:ext cx="62563" cy="56179"/>
            </a:xfrm>
            <a:custGeom>
              <a:avLst/>
              <a:gdLst>
                <a:gd name="connsiteX0" fmla="*/ 7725 w 62562"/>
                <a:gd name="connsiteY0" fmla="*/ 77 h 56178"/>
                <a:gd name="connsiteX1" fmla="*/ 0 w 62562"/>
                <a:gd name="connsiteY1" fmla="*/ 7801 h 56178"/>
                <a:gd name="connsiteX2" fmla="*/ 0 w 62562"/>
                <a:gd name="connsiteY2" fmla="*/ 10482 h 56178"/>
                <a:gd name="connsiteX3" fmla="*/ 7725 w 62562"/>
                <a:gd name="connsiteY3" fmla="*/ 18207 h 56178"/>
                <a:gd name="connsiteX4" fmla="*/ 9755 w 62562"/>
                <a:gd name="connsiteY4" fmla="*/ 18207 h 56178"/>
                <a:gd name="connsiteX5" fmla="*/ 20824 w 62562"/>
                <a:gd name="connsiteY5" fmla="*/ 27489 h 56178"/>
                <a:gd name="connsiteX6" fmla="*/ 21105 w 62562"/>
                <a:gd name="connsiteY6" fmla="*/ 42887 h 56178"/>
                <a:gd name="connsiteX7" fmla="*/ 21297 w 62562"/>
                <a:gd name="connsiteY7" fmla="*/ 43692 h 56178"/>
                <a:gd name="connsiteX8" fmla="*/ 21297 w 62562"/>
                <a:gd name="connsiteY8" fmla="*/ 46628 h 56178"/>
                <a:gd name="connsiteX9" fmla="*/ 30860 w 62562"/>
                <a:gd name="connsiteY9" fmla="*/ 56192 h 56178"/>
                <a:gd name="connsiteX10" fmla="*/ 39312 w 62562"/>
                <a:gd name="connsiteY10" fmla="*/ 56192 h 56178"/>
                <a:gd name="connsiteX11" fmla="*/ 39312 w 62562"/>
                <a:gd name="connsiteY11" fmla="*/ 56077 h 56178"/>
                <a:gd name="connsiteX12" fmla="*/ 51302 w 62562"/>
                <a:gd name="connsiteY12" fmla="*/ 56077 h 56178"/>
                <a:gd name="connsiteX13" fmla="*/ 63112 w 62562"/>
                <a:gd name="connsiteY13" fmla="*/ 44266 h 56178"/>
                <a:gd name="connsiteX14" fmla="*/ 63112 w 62562"/>
                <a:gd name="connsiteY14" fmla="*/ 0 h 56178"/>
                <a:gd name="connsiteX15" fmla="*/ 7725 w 62562"/>
                <a:gd name="connsiteY15" fmla="*/ 77 h 5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62" h="56178">
                  <a:moveTo>
                    <a:pt x="7725" y="77"/>
                  </a:moveTo>
                  <a:cubicBezTo>
                    <a:pt x="3473" y="77"/>
                    <a:pt x="0" y="3549"/>
                    <a:pt x="0" y="7801"/>
                  </a:cubicBezTo>
                  <a:lnTo>
                    <a:pt x="0" y="10482"/>
                  </a:lnTo>
                  <a:cubicBezTo>
                    <a:pt x="0" y="14734"/>
                    <a:pt x="3473" y="18207"/>
                    <a:pt x="7725" y="18207"/>
                  </a:cubicBezTo>
                  <a:lnTo>
                    <a:pt x="9755" y="18207"/>
                  </a:lnTo>
                  <a:cubicBezTo>
                    <a:pt x="11798" y="18271"/>
                    <a:pt x="20658" y="17850"/>
                    <a:pt x="20824" y="27489"/>
                  </a:cubicBezTo>
                  <a:lnTo>
                    <a:pt x="21105" y="42887"/>
                  </a:lnTo>
                  <a:cubicBezTo>
                    <a:pt x="21182" y="43143"/>
                    <a:pt x="21246" y="43411"/>
                    <a:pt x="21297" y="43692"/>
                  </a:cubicBezTo>
                  <a:lnTo>
                    <a:pt x="21297" y="46628"/>
                  </a:lnTo>
                  <a:cubicBezTo>
                    <a:pt x="21297" y="51889"/>
                    <a:pt x="25600" y="56192"/>
                    <a:pt x="30860" y="56192"/>
                  </a:cubicBezTo>
                  <a:lnTo>
                    <a:pt x="39312" y="56192"/>
                  </a:lnTo>
                  <a:lnTo>
                    <a:pt x="39312" y="56077"/>
                  </a:lnTo>
                  <a:lnTo>
                    <a:pt x="51302" y="56077"/>
                  </a:lnTo>
                  <a:cubicBezTo>
                    <a:pt x="57800" y="56077"/>
                    <a:pt x="63112" y="50765"/>
                    <a:pt x="63112" y="44266"/>
                  </a:cubicBezTo>
                  <a:lnTo>
                    <a:pt x="63112" y="0"/>
                  </a:lnTo>
                  <a:lnTo>
                    <a:pt x="7725" y="77"/>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9" name="Freeform: Shape 98">
              <a:extLst>
                <a:ext uri="{FF2B5EF4-FFF2-40B4-BE49-F238E27FC236}">
                  <a16:creationId xmlns:a16="http://schemas.microsoft.com/office/drawing/2014/main" id="{9756A355-6548-45EE-BB27-5207B7D916CD}"/>
                </a:ext>
              </a:extLst>
            </p:cNvPr>
            <p:cNvSpPr/>
            <p:nvPr/>
          </p:nvSpPr>
          <p:spPr>
            <a:xfrm>
              <a:off x="6965939" y="485575"/>
              <a:ext cx="191519" cy="126402"/>
            </a:xfrm>
            <a:custGeom>
              <a:avLst/>
              <a:gdLst>
                <a:gd name="connsiteX0" fmla="*/ 178457 w 191518"/>
                <a:gd name="connsiteY0" fmla="*/ 16471 h 126402"/>
                <a:gd name="connsiteX1" fmla="*/ 163136 w 191518"/>
                <a:gd name="connsiteY1" fmla="*/ 1149 h 126402"/>
                <a:gd name="connsiteX2" fmla="*/ 163136 w 191518"/>
                <a:gd name="connsiteY2" fmla="*/ 0 h 126402"/>
                <a:gd name="connsiteX3" fmla="*/ 68219 w 191518"/>
                <a:gd name="connsiteY3" fmla="*/ 0 h 126402"/>
                <a:gd name="connsiteX4" fmla="*/ 61580 w 191518"/>
                <a:gd name="connsiteY4" fmla="*/ 0 h 126402"/>
                <a:gd name="connsiteX5" fmla="*/ 46118 w 191518"/>
                <a:gd name="connsiteY5" fmla="*/ 0 h 126402"/>
                <a:gd name="connsiteX6" fmla="*/ 36759 w 191518"/>
                <a:gd name="connsiteY6" fmla="*/ 8631 h 126402"/>
                <a:gd name="connsiteX7" fmla="*/ 25932 w 191518"/>
                <a:gd name="connsiteY7" fmla="*/ 18616 h 126402"/>
                <a:gd name="connsiteX8" fmla="*/ 9384 w 191518"/>
                <a:gd name="connsiteY8" fmla="*/ 18616 h 126402"/>
                <a:gd name="connsiteX9" fmla="*/ 0 w 191518"/>
                <a:gd name="connsiteY9" fmla="*/ 28000 h 126402"/>
                <a:gd name="connsiteX10" fmla="*/ 0 w 191518"/>
                <a:gd name="connsiteY10" fmla="*/ 59920 h 126402"/>
                <a:gd name="connsiteX11" fmla="*/ 29890 w 191518"/>
                <a:gd name="connsiteY11" fmla="*/ 59920 h 126402"/>
                <a:gd name="connsiteX12" fmla="*/ 37767 w 191518"/>
                <a:gd name="connsiteY12" fmla="*/ 67798 h 126402"/>
                <a:gd name="connsiteX13" fmla="*/ 37767 w 191518"/>
                <a:gd name="connsiteY13" fmla="*/ 72688 h 126402"/>
                <a:gd name="connsiteX14" fmla="*/ 37767 w 191518"/>
                <a:gd name="connsiteY14" fmla="*/ 127551 h 126402"/>
                <a:gd name="connsiteX15" fmla="*/ 46897 w 191518"/>
                <a:gd name="connsiteY15" fmla="*/ 120299 h 126402"/>
                <a:gd name="connsiteX16" fmla="*/ 56038 w 191518"/>
                <a:gd name="connsiteY16" fmla="*/ 120299 h 126402"/>
                <a:gd name="connsiteX17" fmla="*/ 66866 w 191518"/>
                <a:gd name="connsiteY17" fmla="*/ 110315 h 126402"/>
                <a:gd name="connsiteX18" fmla="*/ 76225 w 191518"/>
                <a:gd name="connsiteY18" fmla="*/ 101684 h 126402"/>
                <a:gd name="connsiteX19" fmla="*/ 91686 w 191518"/>
                <a:gd name="connsiteY19" fmla="*/ 101684 h 126402"/>
                <a:gd name="connsiteX20" fmla="*/ 98326 w 191518"/>
                <a:gd name="connsiteY20" fmla="*/ 101684 h 126402"/>
                <a:gd name="connsiteX21" fmla="*/ 142962 w 191518"/>
                <a:gd name="connsiteY21" fmla="*/ 101684 h 126402"/>
                <a:gd name="connsiteX22" fmla="*/ 144635 w 191518"/>
                <a:gd name="connsiteY22" fmla="*/ 101837 h 126402"/>
                <a:gd name="connsiteX23" fmla="*/ 144635 w 191518"/>
                <a:gd name="connsiteY23" fmla="*/ 82774 h 126402"/>
                <a:gd name="connsiteX24" fmla="*/ 152360 w 191518"/>
                <a:gd name="connsiteY24" fmla="*/ 75050 h 126402"/>
                <a:gd name="connsiteX25" fmla="*/ 155041 w 191518"/>
                <a:gd name="connsiteY25" fmla="*/ 75050 h 126402"/>
                <a:gd name="connsiteX26" fmla="*/ 155271 w 191518"/>
                <a:gd name="connsiteY26" fmla="*/ 75050 h 126402"/>
                <a:gd name="connsiteX27" fmla="*/ 162089 w 191518"/>
                <a:gd name="connsiteY27" fmla="*/ 75050 h 126402"/>
                <a:gd name="connsiteX28" fmla="*/ 169813 w 191518"/>
                <a:gd name="connsiteY28" fmla="*/ 67325 h 126402"/>
                <a:gd name="connsiteX29" fmla="*/ 169813 w 191518"/>
                <a:gd name="connsiteY29" fmla="*/ 57073 h 126402"/>
                <a:gd name="connsiteX30" fmla="*/ 180845 w 191518"/>
                <a:gd name="connsiteY30" fmla="*/ 57073 h 126402"/>
                <a:gd name="connsiteX31" fmla="*/ 192030 w 191518"/>
                <a:gd name="connsiteY31" fmla="*/ 45888 h 126402"/>
                <a:gd name="connsiteX32" fmla="*/ 192030 w 191518"/>
                <a:gd name="connsiteY32" fmla="*/ 16458 h 126402"/>
                <a:gd name="connsiteX33" fmla="*/ 178457 w 191518"/>
                <a:gd name="connsiteY33" fmla="*/ 16458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518" h="126402">
                  <a:moveTo>
                    <a:pt x="178457" y="16471"/>
                  </a:moveTo>
                  <a:cubicBezTo>
                    <a:pt x="170030" y="16471"/>
                    <a:pt x="163136" y="9576"/>
                    <a:pt x="163136" y="1149"/>
                  </a:cubicBezTo>
                  <a:lnTo>
                    <a:pt x="163136" y="0"/>
                  </a:lnTo>
                  <a:lnTo>
                    <a:pt x="68219" y="0"/>
                  </a:lnTo>
                  <a:lnTo>
                    <a:pt x="61580" y="0"/>
                  </a:lnTo>
                  <a:lnTo>
                    <a:pt x="46118" y="0"/>
                  </a:lnTo>
                  <a:cubicBezTo>
                    <a:pt x="41215" y="0"/>
                    <a:pt x="37142" y="3818"/>
                    <a:pt x="36759" y="8631"/>
                  </a:cubicBezTo>
                  <a:cubicBezTo>
                    <a:pt x="36312" y="14287"/>
                    <a:pt x="31613" y="18616"/>
                    <a:pt x="25932" y="18616"/>
                  </a:cubicBezTo>
                  <a:lnTo>
                    <a:pt x="9384" y="18616"/>
                  </a:lnTo>
                  <a:cubicBezTo>
                    <a:pt x="4226" y="18616"/>
                    <a:pt x="0" y="22855"/>
                    <a:pt x="0" y="28000"/>
                  </a:cubicBezTo>
                  <a:lnTo>
                    <a:pt x="0" y="59920"/>
                  </a:lnTo>
                  <a:lnTo>
                    <a:pt x="29890" y="59920"/>
                  </a:lnTo>
                  <a:cubicBezTo>
                    <a:pt x="34218" y="59920"/>
                    <a:pt x="37767" y="63469"/>
                    <a:pt x="37767" y="67798"/>
                  </a:cubicBezTo>
                  <a:lnTo>
                    <a:pt x="37767" y="72688"/>
                  </a:lnTo>
                  <a:lnTo>
                    <a:pt x="37767" y="127551"/>
                  </a:lnTo>
                  <a:cubicBezTo>
                    <a:pt x="38738" y="123415"/>
                    <a:pt x="42479" y="120299"/>
                    <a:pt x="46897" y="120299"/>
                  </a:cubicBezTo>
                  <a:lnTo>
                    <a:pt x="56038" y="120299"/>
                  </a:lnTo>
                  <a:cubicBezTo>
                    <a:pt x="61707" y="120299"/>
                    <a:pt x="66406" y="115971"/>
                    <a:pt x="66866" y="110315"/>
                  </a:cubicBezTo>
                  <a:cubicBezTo>
                    <a:pt x="67249" y="105501"/>
                    <a:pt x="71322" y="101684"/>
                    <a:pt x="76225" y="101684"/>
                  </a:cubicBezTo>
                  <a:lnTo>
                    <a:pt x="91686" y="101684"/>
                  </a:lnTo>
                  <a:lnTo>
                    <a:pt x="98326" y="101684"/>
                  </a:lnTo>
                  <a:lnTo>
                    <a:pt x="142962" y="101684"/>
                  </a:lnTo>
                  <a:cubicBezTo>
                    <a:pt x="143537" y="101684"/>
                    <a:pt x="144086" y="101735"/>
                    <a:pt x="144635" y="101837"/>
                  </a:cubicBezTo>
                  <a:lnTo>
                    <a:pt x="144635" y="82774"/>
                  </a:lnTo>
                  <a:cubicBezTo>
                    <a:pt x="144635" y="78523"/>
                    <a:pt x="148108" y="75050"/>
                    <a:pt x="152360" y="75050"/>
                  </a:cubicBezTo>
                  <a:lnTo>
                    <a:pt x="155041" y="75050"/>
                  </a:lnTo>
                  <a:cubicBezTo>
                    <a:pt x="155118" y="75050"/>
                    <a:pt x="155194" y="75050"/>
                    <a:pt x="155271" y="75050"/>
                  </a:cubicBezTo>
                  <a:lnTo>
                    <a:pt x="162089" y="75050"/>
                  </a:lnTo>
                  <a:cubicBezTo>
                    <a:pt x="166340" y="75050"/>
                    <a:pt x="169813" y="71577"/>
                    <a:pt x="169813" y="67325"/>
                  </a:cubicBezTo>
                  <a:lnTo>
                    <a:pt x="169813" y="57073"/>
                  </a:lnTo>
                  <a:lnTo>
                    <a:pt x="180845" y="57073"/>
                  </a:lnTo>
                  <a:cubicBezTo>
                    <a:pt x="186999" y="57073"/>
                    <a:pt x="192030" y="52042"/>
                    <a:pt x="192030" y="45888"/>
                  </a:cubicBezTo>
                  <a:lnTo>
                    <a:pt x="192030" y="16458"/>
                  </a:lnTo>
                  <a:lnTo>
                    <a:pt x="178457" y="16458"/>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0" name="Freeform: Shape 99">
              <a:extLst>
                <a:ext uri="{FF2B5EF4-FFF2-40B4-BE49-F238E27FC236}">
                  <a16:creationId xmlns:a16="http://schemas.microsoft.com/office/drawing/2014/main" id="{FF3BA67E-88CB-400E-933B-FFAEC8848180}"/>
                </a:ext>
              </a:extLst>
            </p:cNvPr>
            <p:cNvSpPr/>
            <p:nvPr/>
          </p:nvSpPr>
          <p:spPr>
            <a:xfrm>
              <a:off x="6889357" y="545507"/>
              <a:ext cx="113635" cy="95759"/>
            </a:xfrm>
            <a:custGeom>
              <a:avLst/>
              <a:gdLst>
                <a:gd name="connsiteX0" fmla="*/ 106472 w 113634"/>
                <a:gd name="connsiteY0" fmla="*/ 0 h 95759"/>
                <a:gd name="connsiteX1" fmla="*/ 92785 w 113634"/>
                <a:gd name="connsiteY1" fmla="*/ 0 h 95759"/>
                <a:gd name="connsiteX2" fmla="*/ 66048 w 113634"/>
                <a:gd name="connsiteY2" fmla="*/ 0 h 95759"/>
                <a:gd name="connsiteX3" fmla="*/ 62512 w 113634"/>
                <a:gd name="connsiteY3" fmla="*/ 0 h 95759"/>
                <a:gd name="connsiteX4" fmla="*/ 60711 w 113634"/>
                <a:gd name="connsiteY4" fmla="*/ 115 h 95759"/>
                <a:gd name="connsiteX5" fmla="*/ 40449 w 113634"/>
                <a:gd name="connsiteY5" fmla="*/ 166 h 95759"/>
                <a:gd name="connsiteX6" fmla="*/ 29494 w 113634"/>
                <a:gd name="connsiteY6" fmla="*/ 102 h 95759"/>
                <a:gd name="connsiteX7" fmla="*/ 29494 w 113634"/>
                <a:gd name="connsiteY7" fmla="*/ 18986 h 95759"/>
                <a:gd name="connsiteX8" fmla="*/ 29392 w 113634"/>
                <a:gd name="connsiteY8" fmla="*/ 18986 h 95759"/>
                <a:gd name="connsiteX9" fmla="*/ 29392 w 113634"/>
                <a:gd name="connsiteY9" fmla="*/ 63252 h 95759"/>
                <a:gd name="connsiteX10" fmla="*/ 17581 w 113634"/>
                <a:gd name="connsiteY10" fmla="*/ 75063 h 95759"/>
                <a:gd name="connsiteX11" fmla="*/ 5592 w 113634"/>
                <a:gd name="connsiteY11" fmla="*/ 75063 h 95759"/>
                <a:gd name="connsiteX12" fmla="*/ 5592 w 113634"/>
                <a:gd name="connsiteY12" fmla="*/ 75177 h 95759"/>
                <a:gd name="connsiteX13" fmla="*/ 0 w 113634"/>
                <a:gd name="connsiteY13" fmla="*/ 75177 h 95759"/>
                <a:gd name="connsiteX14" fmla="*/ 10227 w 113634"/>
                <a:gd name="connsiteY14" fmla="*/ 86005 h 95759"/>
                <a:gd name="connsiteX15" fmla="*/ 10227 w 113634"/>
                <a:gd name="connsiteY15" fmla="*/ 88239 h 95759"/>
                <a:gd name="connsiteX16" fmla="*/ 10227 w 113634"/>
                <a:gd name="connsiteY16" fmla="*/ 88443 h 95759"/>
                <a:gd name="connsiteX17" fmla="*/ 10227 w 113634"/>
                <a:gd name="connsiteY17" fmla="*/ 88443 h 95759"/>
                <a:gd name="connsiteX18" fmla="*/ 10240 w 113634"/>
                <a:gd name="connsiteY18" fmla="*/ 88635 h 95759"/>
                <a:gd name="connsiteX19" fmla="*/ 10240 w 113634"/>
                <a:gd name="connsiteY19" fmla="*/ 88635 h 95759"/>
                <a:gd name="connsiteX20" fmla="*/ 10253 w 113634"/>
                <a:gd name="connsiteY20" fmla="*/ 88826 h 95759"/>
                <a:gd name="connsiteX21" fmla="*/ 10253 w 113634"/>
                <a:gd name="connsiteY21" fmla="*/ 88826 h 95759"/>
                <a:gd name="connsiteX22" fmla="*/ 10265 w 113634"/>
                <a:gd name="connsiteY22" fmla="*/ 89018 h 95759"/>
                <a:gd name="connsiteX23" fmla="*/ 10265 w 113634"/>
                <a:gd name="connsiteY23" fmla="*/ 89018 h 95759"/>
                <a:gd name="connsiteX24" fmla="*/ 10291 w 113634"/>
                <a:gd name="connsiteY24" fmla="*/ 89209 h 95759"/>
                <a:gd name="connsiteX25" fmla="*/ 10291 w 113634"/>
                <a:gd name="connsiteY25" fmla="*/ 89209 h 95759"/>
                <a:gd name="connsiteX26" fmla="*/ 10316 w 113634"/>
                <a:gd name="connsiteY26" fmla="*/ 89401 h 95759"/>
                <a:gd name="connsiteX27" fmla="*/ 10316 w 113634"/>
                <a:gd name="connsiteY27" fmla="*/ 89401 h 95759"/>
                <a:gd name="connsiteX28" fmla="*/ 10355 w 113634"/>
                <a:gd name="connsiteY28" fmla="*/ 89592 h 95759"/>
                <a:gd name="connsiteX29" fmla="*/ 10355 w 113634"/>
                <a:gd name="connsiteY29" fmla="*/ 89592 h 95759"/>
                <a:gd name="connsiteX30" fmla="*/ 13342 w 113634"/>
                <a:gd name="connsiteY30" fmla="*/ 94419 h 95759"/>
                <a:gd name="connsiteX31" fmla="*/ 13342 w 113634"/>
                <a:gd name="connsiteY31" fmla="*/ 94419 h 95759"/>
                <a:gd name="connsiteX32" fmla="*/ 13496 w 113634"/>
                <a:gd name="connsiteY32" fmla="*/ 94534 h 95759"/>
                <a:gd name="connsiteX33" fmla="*/ 13496 w 113634"/>
                <a:gd name="connsiteY33" fmla="*/ 94534 h 95759"/>
                <a:gd name="connsiteX34" fmla="*/ 13649 w 113634"/>
                <a:gd name="connsiteY34" fmla="*/ 94636 h 95759"/>
                <a:gd name="connsiteX35" fmla="*/ 13649 w 113634"/>
                <a:gd name="connsiteY35" fmla="*/ 94636 h 95759"/>
                <a:gd name="connsiteX36" fmla="*/ 13802 w 113634"/>
                <a:gd name="connsiteY36" fmla="*/ 94738 h 95759"/>
                <a:gd name="connsiteX37" fmla="*/ 13802 w 113634"/>
                <a:gd name="connsiteY37" fmla="*/ 94738 h 95759"/>
                <a:gd name="connsiteX38" fmla="*/ 13955 w 113634"/>
                <a:gd name="connsiteY38" fmla="*/ 94840 h 95759"/>
                <a:gd name="connsiteX39" fmla="*/ 14032 w 113634"/>
                <a:gd name="connsiteY39" fmla="*/ 94878 h 95759"/>
                <a:gd name="connsiteX40" fmla="*/ 14211 w 113634"/>
                <a:gd name="connsiteY40" fmla="*/ 94981 h 95759"/>
                <a:gd name="connsiteX41" fmla="*/ 14287 w 113634"/>
                <a:gd name="connsiteY41" fmla="*/ 95019 h 95759"/>
                <a:gd name="connsiteX42" fmla="*/ 14287 w 113634"/>
                <a:gd name="connsiteY42" fmla="*/ 95019 h 95759"/>
                <a:gd name="connsiteX43" fmla="*/ 14453 w 113634"/>
                <a:gd name="connsiteY43" fmla="*/ 95108 h 95759"/>
                <a:gd name="connsiteX44" fmla="*/ 14453 w 113634"/>
                <a:gd name="connsiteY44" fmla="*/ 95108 h 95759"/>
                <a:gd name="connsiteX45" fmla="*/ 14619 w 113634"/>
                <a:gd name="connsiteY45" fmla="*/ 95198 h 95759"/>
                <a:gd name="connsiteX46" fmla="*/ 14619 w 113634"/>
                <a:gd name="connsiteY46" fmla="*/ 95198 h 95759"/>
                <a:gd name="connsiteX47" fmla="*/ 14785 w 113634"/>
                <a:gd name="connsiteY47" fmla="*/ 95274 h 95759"/>
                <a:gd name="connsiteX48" fmla="*/ 14785 w 113634"/>
                <a:gd name="connsiteY48" fmla="*/ 95274 h 95759"/>
                <a:gd name="connsiteX49" fmla="*/ 14951 w 113634"/>
                <a:gd name="connsiteY49" fmla="*/ 95351 h 95759"/>
                <a:gd name="connsiteX50" fmla="*/ 14951 w 113634"/>
                <a:gd name="connsiteY50" fmla="*/ 95351 h 95759"/>
                <a:gd name="connsiteX51" fmla="*/ 15130 w 113634"/>
                <a:gd name="connsiteY51" fmla="*/ 95427 h 95759"/>
                <a:gd name="connsiteX52" fmla="*/ 15130 w 113634"/>
                <a:gd name="connsiteY52" fmla="*/ 95427 h 95759"/>
                <a:gd name="connsiteX53" fmla="*/ 15309 w 113634"/>
                <a:gd name="connsiteY53" fmla="*/ 95491 h 95759"/>
                <a:gd name="connsiteX54" fmla="*/ 15309 w 113634"/>
                <a:gd name="connsiteY54" fmla="*/ 95491 h 95759"/>
                <a:gd name="connsiteX55" fmla="*/ 15488 w 113634"/>
                <a:gd name="connsiteY55" fmla="*/ 95555 h 95759"/>
                <a:gd name="connsiteX56" fmla="*/ 15488 w 113634"/>
                <a:gd name="connsiteY56" fmla="*/ 95555 h 95759"/>
                <a:gd name="connsiteX57" fmla="*/ 15526 w 113634"/>
                <a:gd name="connsiteY57" fmla="*/ 95568 h 95759"/>
                <a:gd name="connsiteX58" fmla="*/ 15807 w 113634"/>
                <a:gd name="connsiteY58" fmla="*/ 95657 h 95759"/>
                <a:gd name="connsiteX59" fmla="*/ 15845 w 113634"/>
                <a:gd name="connsiteY59" fmla="*/ 95670 h 95759"/>
                <a:gd name="connsiteX60" fmla="*/ 15845 w 113634"/>
                <a:gd name="connsiteY60" fmla="*/ 95670 h 95759"/>
                <a:gd name="connsiteX61" fmla="*/ 16024 w 113634"/>
                <a:gd name="connsiteY61" fmla="*/ 95721 h 95759"/>
                <a:gd name="connsiteX62" fmla="*/ 16024 w 113634"/>
                <a:gd name="connsiteY62" fmla="*/ 95721 h 95759"/>
                <a:gd name="connsiteX63" fmla="*/ 16203 w 113634"/>
                <a:gd name="connsiteY63" fmla="*/ 95772 h 95759"/>
                <a:gd name="connsiteX64" fmla="*/ 16203 w 113634"/>
                <a:gd name="connsiteY64" fmla="*/ 95772 h 95759"/>
                <a:gd name="connsiteX65" fmla="*/ 16394 w 113634"/>
                <a:gd name="connsiteY65" fmla="*/ 95810 h 95759"/>
                <a:gd name="connsiteX66" fmla="*/ 16394 w 113634"/>
                <a:gd name="connsiteY66" fmla="*/ 95810 h 95759"/>
                <a:gd name="connsiteX67" fmla="*/ 16586 w 113634"/>
                <a:gd name="connsiteY67" fmla="*/ 95849 h 95759"/>
                <a:gd name="connsiteX68" fmla="*/ 16586 w 113634"/>
                <a:gd name="connsiteY68" fmla="*/ 95849 h 95759"/>
                <a:gd name="connsiteX69" fmla="*/ 16624 w 113634"/>
                <a:gd name="connsiteY69" fmla="*/ 95849 h 95759"/>
                <a:gd name="connsiteX70" fmla="*/ 16930 w 113634"/>
                <a:gd name="connsiteY70" fmla="*/ 95900 h 95759"/>
                <a:gd name="connsiteX71" fmla="*/ 72739 w 113634"/>
                <a:gd name="connsiteY71" fmla="*/ 95900 h 95759"/>
                <a:gd name="connsiteX72" fmla="*/ 72739 w 113634"/>
                <a:gd name="connsiteY72" fmla="*/ 95236 h 95759"/>
                <a:gd name="connsiteX73" fmla="*/ 88060 w 113634"/>
                <a:gd name="connsiteY73" fmla="*/ 79914 h 95759"/>
                <a:gd name="connsiteX74" fmla="*/ 114362 w 113634"/>
                <a:gd name="connsiteY74" fmla="*/ 79914 h 95759"/>
                <a:gd name="connsiteX75" fmla="*/ 114362 w 113634"/>
                <a:gd name="connsiteY75" fmla="*/ 68755 h 95759"/>
                <a:gd name="connsiteX76" fmla="*/ 114362 w 113634"/>
                <a:gd name="connsiteY76" fmla="*/ 31243 h 95759"/>
                <a:gd name="connsiteX77" fmla="*/ 114362 w 113634"/>
                <a:gd name="connsiteY77" fmla="*/ 7878 h 95759"/>
                <a:gd name="connsiteX78" fmla="*/ 106472 w 113634"/>
                <a:gd name="connsiteY78" fmla="*/ 0 h 9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3634" h="95759">
                  <a:moveTo>
                    <a:pt x="106472" y="0"/>
                  </a:moveTo>
                  <a:lnTo>
                    <a:pt x="92785" y="0"/>
                  </a:lnTo>
                  <a:lnTo>
                    <a:pt x="66048" y="0"/>
                  </a:lnTo>
                  <a:lnTo>
                    <a:pt x="62512" y="0"/>
                  </a:lnTo>
                  <a:cubicBezTo>
                    <a:pt x="61899" y="0"/>
                    <a:pt x="61299" y="51"/>
                    <a:pt x="60711" y="115"/>
                  </a:cubicBezTo>
                  <a:lnTo>
                    <a:pt x="40449" y="166"/>
                  </a:lnTo>
                  <a:lnTo>
                    <a:pt x="29494" y="102"/>
                  </a:lnTo>
                  <a:lnTo>
                    <a:pt x="29494" y="18986"/>
                  </a:lnTo>
                  <a:lnTo>
                    <a:pt x="29392" y="18986"/>
                  </a:lnTo>
                  <a:lnTo>
                    <a:pt x="29392" y="63252"/>
                  </a:lnTo>
                  <a:cubicBezTo>
                    <a:pt x="29392" y="69751"/>
                    <a:pt x="24080" y="75063"/>
                    <a:pt x="17581" y="75063"/>
                  </a:cubicBezTo>
                  <a:lnTo>
                    <a:pt x="5592" y="75063"/>
                  </a:lnTo>
                  <a:lnTo>
                    <a:pt x="5592" y="75177"/>
                  </a:lnTo>
                  <a:lnTo>
                    <a:pt x="0" y="75177"/>
                  </a:lnTo>
                  <a:cubicBezTo>
                    <a:pt x="5694" y="75509"/>
                    <a:pt x="10227" y="80234"/>
                    <a:pt x="10227" y="86005"/>
                  </a:cubicBezTo>
                  <a:lnTo>
                    <a:pt x="10227" y="88239"/>
                  </a:lnTo>
                  <a:lnTo>
                    <a:pt x="10227" y="88443"/>
                  </a:lnTo>
                  <a:lnTo>
                    <a:pt x="10227" y="88443"/>
                  </a:lnTo>
                  <a:lnTo>
                    <a:pt x="10240" y="88635"/>
                  </a:lnTo>
                  <a:lnTo>
                    <a:pt x="10240" y="88635"/>
                  </a:lnTo>
                  <a:lnTo>
                    <a:pt x="10253" y="88826"/>
                  </a:lnTo>
                  <a:lnTo>
                    <a:pt x="10253" y="88826"/>
                  </a:lnTo>
                  <a:lnTo>
                    <a:pt x="10265" y="89018"/>
                  </a:lnTo>
                  <a:lnTo>
                    <a:pt x="10265" y="89018"/>
                  </a:lnTo>
                  <a:lnTo>
                    <a:pt x="10291" y="89209"/>
                  </a:lnTo>
                  <a:lnTo>
                    <a:pt x="10291" y="89209"/>
                  </a:lnTo>
                  <a:lnTo>
                    <a:pt x="10316" y="89401"/>
                  </a:lnTo>
                  <a:lnTo>
                    <a:pt x="10316" y="89401"/>
                  </a:lnTo>
                  <a:lnTo>
                    <a:pt x="10355" y="89592"/>
                  </a:lnTo>
                  <a:lnTo>
                    <a:pt x="10355" y="89592"/>
                  </a:lnTo>
                  <a:cubicBezTo>
                    <a:pt x="10687" y="91495"/>
                    <a:pt x="11785" y="93231"/>
                    <a:pt x="13342" y="94419"/>
                  </a:cubicBezTo>
                  <a:lnTo>
                    <a:pt x="13342" y="94419"/>
                  </a:lnTo>
                  <a:lnTo>
                    <a:pt x="13496" y="94534"/>
                  </a:lnTo>
                  <a:lnTo>
                    <a:pt x="13496" y="94534"/>
                  </a:lnTo>
                  <a:lnTo>
                    <a:pt x="13649" y="94636"/>
                  </a:lnTo>
                  <a:lnTo>
                    <a:pt x="13649" y="94636"/>
                  </a:lnTo>
                  <a:lnTo>
                    <a:pt x="13802" y="94738"/>
                  </a:lnTo>
                  <a:lnTo>
                    <a:pt x="13802" y="94738"/>
                  </a:lnTo>
                  <a:lnTo>
                    <a:pt x="13955" y="94840"/>
                  </a:lnTo>
                  <a:lnTo>
                    <a:pt x="14032" y="94878"/>
                  </a:lnTo>
                  <a:cubicBezTo>
                    <a:pt x="14096" y="94917"/>
                    <a:pt x="14147" y="94942"/>
                    <a:pt x="14211" y="94981"/>
                  </a:cubicBezTo>
                  <a:lnTo>
                    <a:pt x="14287" y="95019"/>
                  </a:lnTo>
                  <a:lnTo>
                    <a:pt x="14287" y="95019"/>
                  </a:lnTo>
                  <a:lnTo>
                    <a:pt x="14453" y="95108"/>
                  </a:lnTo>
                  <a:lnTo>
                    <a:pt x="14453" y="95108"/>
                  </a:lnTo>
                  <a:lnTo>
                    <a:pt x="14619" y="95198"/>
                  </a:lnTo>
                  <a:lnTo>
                    <a:pt x="14619" y="95198"/>
                  </a:lnTo>
                  <a:lnTo>
                    <a:pt x="14785" y="95274"/>
                  </a:lnTo>
                  <a:lnTo>
                    <a:pt x="14785" y="95274"/>
                  </a:lnTo>
                  <a:cubicBezTo>
                    <a:pt x="14836" y="95300"/>
                    <a:pt x="14900" y="95325"/>
                    <a:pt x="14951" y="95351"/>
                  </a:cubicBezTo>
                  <a:lnTo>
                    <a:pt x="14951" y="95351"/>
                  </a:lnTo>
                  <a:lnTo>
                    <a:pt x="15130" y="95427"/>
                  </a:lnTo>
                  <a:lnTo>
                    <a:pt x="15130" y="95427"/>
                  </a:lnTo>
                  <a:lnTo>
                    <a:pt x="15309" y="95491"/>
                  </a:lnTo>
                  <a:lnTo>
                    <a:pt x="15309" y="95491"/>
                  </a:lnTo>
                  <a:lnTo>
                    <a:pt x="15488" y="95555"/>
                  </a:lnTo>
                  <a:lnTo>
                    <a:pt x="15488" y="95555"/>
                  </a:lnTo>
                  <a:lnTo>
                    <a:pt x="15526" y="95568"/>
                  </a:lnTo>
                  <a:cubicBezTo>
                    <a:pt x="15628" y="95593"/>
                    <a:pt x="15705" y="95619"/>
                    <a:pt x="15807" y="95657"/>
                  </a:cubicBezTo>
                  <a:lnTo>
                    <a:pt x="15845" y="95670"/>
                  </a:lnTo>
                  <a:lnTo>
                    <a:pt x="15845" y="95670"/>
                  </a:lnTo>
                  <a:lnTo>
                    <a:pt x="16024" y="95721"/>
                  </a:lnTo>
                  <a:lnTo>
                    <a:pt x="16024" y="95721"/>
                  </a:lnTo>
                  <a:lnTo>
                    <a:pt x="16203" y="95772"/>
                  </a:lnTo>
                  <a:lnTo>
                    <a:pt x="16203" y="95772"/>
                  </a:lnTo>
                  <a:lnTo>
                    <a:pt x="16394" y="95810"/>
                  </a:lnTo>
                  <a:lnTo>
                    <a:pt x="16394" y="95810"/>
                  </a:lnTo>
                  <a:cubicBezTo>
                    <a:pt x="16458" y="95823"/>
                    <a:pt x="16522" y="95836"/>
                    <a:pt x="16586" y="95849"/>
                  </a:cubicBezTo>
                  <a:lnTo>
                    <a:pt x="16586" y="95849"/>
                  </a:lnTo>
                  <a:lnTo>
                    <a:pt x="16624" y="95849"/>
                  </a:lnTo>
                  <a:cubicBezTo>
                    <a:pt x="16726" y="95862"/>
                    <a:pt x="16815" y="95887"/>
                    <a:pt x="16930" y="95900"/>
                  </a:cubicBezTo>
                  <a:lnTo>
                    <a:pt x="72739" y="95900"/>
                  </a:lnTo>
                  <a:lnTo>
                    <a:pt x="72739" y="95236"/>
                  </a:lnTo>
                  <a:cubicBezTo>
                    <a:pt x="72739" y="86809"/>
                    <a:pt x="79634" y="79914"/>
                    <a:pt x="88060" y="79914"/>
                  </a:cubicBezTo>
                  <a:lnTo>
                    <a:pt x="114362" y="79914"/>
                  </a:lnTo>
                  <a:lnTo>
                    <a:pt x="114362" y="68755"/>
                  </a:lnTo>
                  <a:lnTo>
                    <a:pt x="114362" y="31243"/>
                  </a:lnTo>
                  <a:lnTo>
                    <a:pt x="114362" y="7878"/>
                  </a:lnTo>
                  <a:cubicBezTo>
                    <a:pt x="114337" y="3537"/>
                    <a:pt x="110800" y="0"/>
                    <a:pt x="106472" y="0"/>
                  </a:cubicBez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1" name="Freeform: Shape 100">
              <a:extLst>
                <a:ext uri="{FF2B5EF4-FFF2-40B4-BE49-F238E27FC236}">
                  <a16:creationId xmlns:a16="http://schemas.microsoft.com/office/drawing/2014/main" id="{BB165618-6048-4CAA-BD97-5770D5C70DFE}"/>
                </a:ext>
              </a:extLst>
            </p:cNvPr>
            <p:cNvSpPr/>
            <p:nvPr/>
          </p:nvSpPr>
          <p:spPr>
            <a:xfrm>
              <a:off x="6730332" y="83475"/>
              <a:ext cx="153215" cy="245144"/>
            </a:xfrm>
            <a:custGeom>
              <a:avLst/>
              <a:gdLst>
                <a:gd name="connsiteX0" fmla="*/ 125394 w 153215"/>
                <a:gd name="connsiteY0" fmla="*/ 0 h 245143"/>
                <a:gd name="connsiteX1" fmla="*/ 86375 w 153215"/>
                <a:gd name="connsiteY1" fmla="*/ 0 h 245143"/>
                <a:gd name="connsiteX2" fmla="*/ 58567 w 153215"/>
                <a:gd name="connsiteY2" fmla="*/ 0 h 245143"/>
                <a:gd name="connsiteX3" fmla="*/ 45582 w 153215"/>
                <a:gd name="connsiteY3" fmla="*/ 12985 h 245143"/>
                <a:gd name="connsiteX4" fmla="*/ 45582 w 153215"/>
                <a:gd name="connsiteY4" fmla="*/ 52783 h 245143"/>
                <a:gd name="connsiteX5" fmla="*/ 13240 w 153215"/>
                <a:gd name="connsiteY5" fmla="*/ 52783 h 245143"/>
                <a:gd name="connsiteX6" fmla="*/ 255 w 153215"/>
                <a:gd name="connsiteY6" fmla="*/ 65768 h 245143"/>
                <a:gd name="connsiteX7" fmla="*/ 255 w 153215"/>
                <a:gd name="connsiteY7" fmla="*/ 88418 h 245143"/>
                <a:gd name="connsiteX8" fmla="*/ 0 w 153215"/>
                <a:gd name="connsiteY8" fmla="*/ 88456 h 245143"/>
                <a:gd name="connsiteX9" fmla="*/ 0 w 153215"/>
                <a:gd name="connsiteY9" fmla="*/ 122827 h 245143"/>
                <a:gd name="connsiteX10" fmla="*/ 0 w 153215"/>
                <a:gd name="connsiteY10" fmla="*/ 133833 h 245143"/>
                <a:gd name="connsiteX11" fmla="*/ 0 w 153215"/>
                <a:gd name="connsiteY11" fmla="*/ 176350 h 245143"/>
                <a:gd name="connsiteX12" fmla="*/ 10521 w 153215"/>
                <a:gd name="connsiteY12" fmla="*/ 187510 h 245143"/>
                <a:gd name="connsiteX13" fmla="*/ 20735 w 153215"/>
                <a:gd name="connsiteY13" fmla="*/ 198350 h 245143"/>
                <a:gd name="connsiteX14" fmla="*/ 20735 w 153215"/>
                <a:gd name="connsiteY14" fmla="*/ 214654 h 245143"/>
                <a:gd name="connsiteX15" fmla="*/ 31435 w 153215"/>
                <a:gd name="connsiteY15" fmla="*/ 225826 h 245143"/>
                <a:gd name="connsiteX16" fmla="*/ 41828 w 153215"/>
                <a:gd name="connsiteY16" fmla="*/ 236679 h 245143"/>
                <a:gd name="connsiteX17" fmla="*/ 41828 w 153215"/>
                <a:gd name="connsiteY17" fmla="*/ 238147 h 245143"/>
                <a:gd name="connsiteX18" fmla="*/ 49552 w 153215"/>
                <a:gd name="connsiteY18" fmla="*/ 245872 h 245143"/>
                <a:gd name="connsiteX19" fmla="*/ 52234 w 153215"/>
                <a:gd name="connsiteY19" fmla="*/ 245872 h 245143"/>
                <a:gd name="connsiteX20" fmla="*/ 59958 w 153215"/>
                <a:gd name="connsiteY20" fmla="*/ 238147 h 245143"/>
                <a:gd name="connsiteX21" fmla="*/ 59958 w 153215"/>
                <a:gd name="connsiteY21" fmla="*/ 236692 h 245143"/>
                <a:gd name="connsiteX22" fmla="*/ 70811 w 153215"/>
                <a:gd name="connsiteY22" fmla="*/ 225839 h 245143"/>
                <a:gd name="connsiteX23" fmla="*/ 91329 w 153215"/>
                <a:gd name="connsiteY23" fmla="*/ 225839 h 245143"/>
                <a:gd name="connsiteX24" fmla="*/ 102514 w 153215"/>
                <a:gd name="connsiteY24" fmla="*/ 214654 h 245143"/>
                <a:gd name="connsiteX25" fmla="*/ 102514 w 153215"/>
                <a:gd name="connsiteY25" fmla="*/ 180806 h 245143"/>
                <a:gd name="connsiteX26" fmla="*/ 91329 w 153215"/>
                <a:gd name="connsiteY26" fmla="*/ 169622 h 245143"/>
                <a:gd name="connsiteX27" fmla="*/ 80719 w 153215"/>
                <a:gd name="connsiteY27" fmla="*/ 159101 h 245143"/>
                <a:gd name="connsiteX28" fmla="*/ 91572 w 153215"/>
                <a:gd name="connsiteY28" fmla="*/ 148248 h 245143"/>
                <a:gd name="connsiteX29" fmla="*/ 115397 w 153215"/>
                <a:gd name="connsiteY29" fmla="*/ 148248 h 245143"/>
                <a:gd name="connsiteX30" fmla="*/ 123121 w 153215"/>
                <a:gd name="connsiteY30" fmla="*/ 140524 h 245143"/>
                <a:gd name="connsiteX31" fmla="*/ 123121 w 153215"/>
                <a:gd name="connsiteY31" fmla="*/ 137842 h 245143"/>
                <a:gd name="connsiteX32" fmla="*/ 115397 w 153215"/>
                <a:gd name="connsiteY32" fmla="*/ 130118 h 245143"/>
                <a:gd name="connsiteX33" fmla="*/ 113366 w 153215"/>
                <a:gd name="connsiteY33" fmla="*/ 130118 h 245143"/>
                <a:gd name="connsiteX34" fmla="*/ 102514 w 153215"/>
                <a:gd name="connsiteY34" fmla="*/ 119265 h 245143"/>
                <a:gd name="connsiteX35" fmla="*/ 102514 w 153215"/>
                <a:gd name="connsiteY35" fmla="*/ 101748 h 245143"/>
                <a:gd name="connsiteX36" fmla="*/ 102399 w 153215"/>
                <a:gd name="connsiteY36" fmla="*/ 97892 h 245143"/>
                <a:gd name="connsiteX37" fmla="*/ 107085 w 153215"/>
                <a:gd name="connsiteY37" fmla="*/ 97892 h 245143"/>
                <a:gd name="connsiteX38" fmla="*/ 125381 w 153215"/>
                <a:gd name="connsiteY38" fmla="*/ 85915 h 245143"/>
                <a:gd name="connsiteX39" fmla="*/ 125381 w 153215"/>
                <a:gd name="connsiteY39" fmla="*/ 85328 h 245143"/>
                <a:gd name="connsiteX40" fmla="*/ 125381 w 153215"/>
                <a:gd name="connsiteY40" fmla="*/ 83987 h 245143"/>
                <a:gd name="connsiteX41" fmla="*/ 134880 w 153215"/>
                <a:gd name="connsiteY41" fmla="*/ 83987 h 245143"/>
                <a:gd name="connsiteX42" fmla="*/ 154134 w 153215"/>
                <a:gd name="connsiteY42" fmla="*/ 65691 h 245143"/>
                <a:gd name="connsiteX43" fmla="*/ 154134 w 153215"/>
                <a:gd name="connsiteY43" fmla="*/ 0 h 245143"/>
                <a:gd name="connsiteX44" fmla="*/ 125394 w 153215"/>
                <a:gd name="connsiteY44" fmla="*/ 0 h 24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3215" h="245143">
                  <a:moveTo>
                    <a:pt x="125394" y="0"/>
                  </a:moveTo>
                  <a:lnTo>
                    <a:pt x="86375" y="0"/>
                  </a:lnTo>
                  <a:lnTo>
                    <a:pt x="58567" y="0"/>
                  </a:lnTo>
                  <a:cubicBezTo>
                    <a:pt x="51404" y="0"/>
                    <a:pt x="45582" y="5809"/>
                    <a:pt x="45582" y="12985"/>
                  </a:cubicBezTo>
                  <a:lnTo>
                    <a:pt x="45582" y="52783"/>
                  </a:lnTo>
                  <a:lnTo>
                    <a:pt x="13240" y="52783"/>
                  </a:lnTo>
                  <a:cubicBezTo>
                    <a:pt x="6078" y="52783"/>
                    <a:pt x="255" y="58592"/>
                    <a:pt x="255" y="65768"/>
                  </a:cubicBezTo>
                  <a:lnTo>
                    <a:pt x="255" y="88418"/>
                  </a:lnTo>
                  <a:lnTo>
                    <a:pt x="0" y="88456"/>
                  </a:lnTo>
                  <a:lnTo>
                    <a:pt x="0" y="122827"/>
                  </a:lnTo>
                  <a:lnTo>
                    <a:pt x="0" y="133833"/>
                  </a:lnTo>
                  <a:lnTo>
                    <a:pt x="0" y="176350"/>
                  </a:lnTo>
                  <a:cubicBezTo>
                    <a:pt x="0" y="182275"/>
                    <a:pt x="4673" y="187165"/>
                    <a:pt x="10521" y="187510"/>
                  </a:cubicBezTo>
                  <a:cubicBezTo>
                    <a:pt x="16266" y="187854"/>
                    <a:pt x="20735" y="192591"/>
                    <a:pt x="20735" y="198350"/>
                  </a:cubicBezTo>
                  <a:lnTo>
                    <a:pt x="20735" y="214654"/>
                  </a:lnTo>
                  <a:cubicBezTo>
                    <a:pt x="20735" y="220642"/>
                    <a:pt x="25510" y="225571"/>
                    <a:pt x="31435" y="225826"/>
                  </a:cubicBezTo>
                  <a:cubicBezTo>
                    <a:pt x="37244" y="226081"/>
                    <a:pt x="41828" y="230857"/>
                    <a:pt x="41828" y="236679"/>
                  </a:cubicBezTo>
                  <a:lnTo>
                    <a:pt x="41828" y="238147"/>
                  </a:lnTo>
                  <a:cubicBezTo>
                    <a:pt x="41828" y="242399"/>
                    <a:pt x="45301" y="245872"/>
                    <a:pt x="49552" y="245872"/>
                  </a:cubicBezTo>
                  <a:lnTo>
                    <a:pt x="52234" y="245872"/>
                  </a:lnTo>
                  <a:cubicBezTo>
                    <a:pt x="56485" y="245872"/>
                    <a:pt x="59958" y="242399"/>
                    <a:pt x="59958" y="238147"/>
                  </a:cubicBezTo>
                  <a:lnTo>
                    <a:pt x="59958" y="236692"/>
                  </a:lnTo>
                  <a:cubicBezTo>
                    <a:pt x="59958" y="230716"/>
                    <a:pt x="64836" y="225839"/>
                    <a:pt x="70811" y="225839"/>
                  </a:cubicBezTo>
                  <a:lnTo>
                    <a:pt x="91329" y="225839"/>
                  </a:lnTo>
                  <a:cubicBezTo>
                    <a:pt x="97483" y="225839"/>
                    <a:pt x="102514" y="220808"/>
                    <a:pt x="102514" y="214654"/>
                  </a:cubicBezTo>
                  <a:lnTo>
                    <a:pt x="102514" y="180806"/>
                  </a:lnTo>
                  <a:cubicBezTo>
                    <a:pt x="102514" y="174652"/>
                    <a:pt x="97407" y="168664"/>
                    <a:pt x="91329" y="169622"/>
                  </a:cubicBezTo>
                  <a:cubicBezTo>
                    <a:pt x="84919" y="170630"/>
                    <a:pt x="80566" y="168409"/>
                    <a:pt x="80719" y="159101"/>
                  </a:cubicBezTo>
                  <a:cubicBezTo>
                    <a:pt x="80821" y="153126"/>
                    <a:pt x="85596" y="148248"/>
                    <a:pt x="91572" y="148248"/>
                  </a:cubicBezTo>
                  <a:lnTo>
                    <a:pt x="115397" y="148248"/>
                  </a:lnTo>
                  <a:cubicBezTo>
                    <a:pt x="119648" y="148248"/>
                    <a:pt x="123121" y="144775"/>
                    <a:pt x="123121" y="140524"/>
                  </a:cubicBezTo>
                  <a:lnTo>
                    <a:pt x="123121" y="137842"/>
                  </a:lnTo>
                  <a:cubicBezTo>
                    <a:pt x="123121" y="133591"/>
                    <a:pt x="119648" y="130118"/>
                    <a:pt x="115397" y="130118"/>
                  </a:cubicBezTo>
                  <a:lnTo>
                    <a:pt x="113366" y="130118"/>
                  </a:lnTo>
                  <a:cubicBezTo>
                    <a:pt x="107391" y="130118"/>
                    <a:pt x="102514" y="125240"/>
                    <a:pt x="102514" y="119265"/>
                  </a:cubicBezTo>
                  <a:lnTo>
                    <a:pt x="102514" y="101748"/>
                  </a:lnTo>
                  <a:cubicBezTo>
                    <a:pt x="102514" y="100394"/>
                    <a:pt x="102463" y="99322"/>
                    <a:pt x="102399" y="97892"/>
                  </a:cubicBezTo>
                  <a:lnTo>
                    <a:pt x="107085" y="97892"/>
                  </a:lnTo>
                  <a:cubicBezTo>
                    <a:pt x="117197" y="97892"/>
                    <a:pt x="125381" y="96028"/>
                    <a:pt x="125381" y="85915"/>
                  </a:cubicBezTo>
                  <a:lnTo>
                    <a:pt x="125381" y="85328"/>
                  </a:lnTo>
                  <a:lnTo>
                    <a:pt x="125381" y="83987"/>
                  </a:lnTo>
                  <a:lnTo>
                    <a:pt x="134880" y="83987"/>
                  </a:lnTo>
                  <a:cubicBezTo>
                    <a:pt x="144993" y="83987"/>
                    <a:pt x="154134" y="75790"/>
                    <a:pt x="154134" y="65691"/>
                  </a:cubicBezTo>
                  <a:lnTo>
                    <a:pt x="154134" y="0"/>
                  </a:lnTo>
                  <a:lnTo>
                    <a:pt x="125394"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2" name="Freeform: Shape 101">
              <a:extLst>
                <a:ext uri="{FF2B5EF4-FFF2-40B4-BE49-F238E27FC236}">
                  <a16:creationId xmlns:a16="http://schemas.microsoft.com/office/drawing/2014/main" id="{C58FC8FC-D8A6-4305-8768-B08138E28F47}"/>
                </a:ext>
              </a:extLst>
            </p:cNvPr>
            <p:cNvSpPr/>
            <p:nvPr/>
          </p:nvSpPr>
          <p:spPr>
            <a:xfrm>
              <a:off x="6939152" y="28994"/>
              <a:ext cx="218332" cy="474966"/>
            </a:xfrm>
            <a:custGeom>
              <a:avLst/>
              <a:gdLst>
                <a:gd name="connsiteX0" fmla="*/ 200661 w 218331"/>
                <a:gd name="connsiteY0" fmla="*/ 165370 h 474966"/>
                <a:gd name="connsiteX1" fmla="*/ 192617 w 218331"/>
                <a:gd name="connsiteY1" fmla="*/ 157326 h 474966"/>
                <a:gd name="connsiteX2" fmla="*/ 192617 w 218331"/>
                <a:gd name="connsiteY2" fmla="*/ 154530 h 474966"/>
                <a:gd name="connsiteX3" fmla="*/ 200661 w 218331"/>
                <a:gd name="connsiteY3" fmla="*/ 146486 h 474966"/>
                <a:gd name="connsiteX4" fmla="*/ 218408 w 218331"/>
                <a:gd name="connsiteY4" fmla="*/ 146486 h 474966"/>
                <a:gd name="connsiteX5" fmla="*/ 218472 w 218331"/>
                <a:gd name="connsiteY5" fmla="*/ 80017 h 474966"/>
                <a:gd name="connsiteX6" fmla="*/ 169494 w 218331"/>
                <a:gd name="connsiteY6" fmla="*/ 80017 h 474966"/>
                <a:gd name="connsiteX7" fmla="*/ 169494 w 218331"/>
                <a:gd name="connsiteY7" fmla="*/ 12985 h 474966"/>
                <a:gd name="connsiteX8" fmla="*/ 156509 w 218331"/>
                <a:gd name="connsiteY8" fmla="*/ 0 h 474966"/>
                <a:gd name="connsiteX9" fmla="*/ 0 w 218331"/>
                <a:gd name="connsiteY9" fmla="*/ 0 h 474966"/>
                <a:gd name="connsiteX10" fmla="*/ 0 w 218331"/>
                <a:gd name="connsiteY10" fmla="*/ 38265 h 474966"/>
                <a:gd name="connsiteX11" fmla="*/ 11031 w 218331"/>
                <a:gd name="connsiteY11" fmla="*/ 38265 h 474966"/>
                <a:gd name="connsiteX12" fmla="*/ 29328 w 218331"/>
                <a:gd name="connsiteY12" fmla="*/ 56562 h 474966"/>
                <a:gd name="connsiteX13" fmla="*/ 29328 w 218331"/>
                <a:gd name="connsiteY13" fmla="*/ 80425 h 474966"/>
                <a:gd name="connsiteX14" fmla="*/ 118308 w 218331"/>
                <a:gd name="connsiteY14" fmla="*/ 80425 h 474966"/>
                <a:gd name="connsiteX15" fmla="*/ 117950 w 218331"/>
                <a:gd name="connsiteY15" fmla="*/ 142669 h 474966"/>
                <a:gd name="connsiteX16" fmla="*/ 117950 w 218331"/>
                <a:gd name="connsiteY16" fmla="*/ 144303 h 474966"/>
                <a:gd name="connsiteX17" fmla="*/ 117018 w 218331"/>
                <a:gd name="connsiteY17" fmla="*/ 144303 h 474966"/>
                <a:gd name="connsiteX18" fmla="*/ 115843 w 218331"/>
                <a:gd name="connsiteY18" fmla="*/ 144303 h 474966"/>
                <a:gd name="connsiteX19" fmla="*/ 114745 w 218331"/>
                <a:gd name="connsiteY19" fmla="*/ 144354 h 474966"/>
                <a:gd name="connsiteX20" fmla="*/ 114401 w 218331"/>
                <a:gd name="connsiteY20" fmla="*/ 144405 h 474966"/>
                <a:gd name="connsiteX21" fmla="*/ 113686 w 218331"/>
                <a:gd name="connsiteY21" fmla="*/ 144520 h 474966"/>
                <a:gd name="connsiteX22" fmla="*/ 113596 w 218331"/>
                <a:gd name="connsiteY22" fmla="*/ 144546 h 474966"/>
                <a:gd name="connsiteX23" fmla="*/ 113290 w 218331"/>
                <a:gd name="connsiteY23" fmla="*/ 144622 h 474966"/>
                <a:gd name="connsiteX24" fmla="*/ 112664 w 218331"/>
                <a:gd name="connsiteY24" fmla="*/ 144788 h 474966"/>
                <a:gd name="connsiteX25" fmla="*/ 112256 w 218331"/>
                <a:gd name="connsiteY25" fmla="*/ 144929 h 474966"/>
                <a:gd name="connsiteX26" fmla="*/ 111668 w 218331"/>
                <a:gd name="connsiteY26" fmla="*/ 145146 h 474966"/>
                <a:gd name="connsiteX27" fmla="*/ 111272 w 218331"/>
                <a:gd name="connsiteY27" fmla="*/ 145324 h 474966"/>
                <a:gd name="connsiteX28" fmla="*/ 110723 w 218331"/>
                <a:gd name="connsiteY28" fmla="*/ 145593 h 474966"/>
                <a:gd name="connsiteX29" fmla="*/ 110519 w 218331"/>
                <a:gd name="connsiteY29" fmla="*/ 145707 h 474966"/>
                <a:gd name="connsiteX30" fmla="*/ 110328 w 218331"/>
                <a:gd name="connsiteY30" fmla="*/ 145810 h 474966"/>
                <a:gd name="connsiteX31" fmla="*/ 109804 w 218331"/>
                <a:gd name="connsiteY31" fmla="*/ 146129 h 474966"/>
                <a:gd name="connsiteX32" fmla="*/ 109740 w 218331"/>
                <a:gd name="connsiteY32" fmla="*/ 146167 h 474966"/>
                <a:gd name="connsiteX33" fmla="*/ 109447 w 218331"/>
                <a:gd name="connsiteY33" fmla="*/ 146371 h 474966"/>
                <a:gd name="connsiteX34" fmla="*/ 108949 w 218331"/>
                <a:gd name="connsiteY34" fmla="*/ 146742 h 474966"/>
                <a:gd name="connsiteX35" fmla="*/ 108617 w 218331"/>
                <a:gd name="connsiteY35" fmla="*/ 147010 h 474966"/>
                <a:gd name="connsiteX36" fmla="*/ 108144 w 218331"/>
                <a:gd name="connsiteY36" fmla="*/ 147431 h 474966"/>
                <a:gd name="connsiteX37" fmla="*/ 107851 w 218331"/>
                <a:gd name="connsiteY37" fmla="*/ 147712 h 474966"/>
                <a:gd name="connsiteX38" fmla="*/ 107391 w 218331"/>
                <a:gd name="connsiteY38" fmla="*/ 148210 h 474966"/>
                <a:gd name="connsiteX39" fmla="*/ 107161 w 218331"/>
                <a:gd name="connsiteY39" fmla="*/ 148478 h 474966"/>
                <a:gd name="connsiteX40" fmla="*/ 106689 w 218331"/>
                <a:gd name="connsiteY40" fmla="*/ 149104 h 474966"/>
                <a:gd name="connsiteX41" fmla="*/ 106676 w 218331"/>
                <a:gd name="connsiteY41" fmla="*/ 149129 h 474966"/>
                <a:gd name="connsiteX42" fmla="*/ 106548 w 218331"/>
                <a:gd name="connsiteY42" fmla="*/ 149308 h 474966"/>
                <a:gd name="connsiteX43" fmla="*/ 105999 w 218331"/>
                <a:gd name="connsiteY43" fmla="*/ 150202 h 474966"/>
                <a:gd name="connsiteX44" fmla="*/ 105961 w 218331"/>
                <a:gd name="connsiteY44" fmla="*/ 150278 h 474966"/>
                <a:gd name="connsiteX45" fmla="*/ 105540 w 218331"/>
                <a:gd name="connsiteY45" fmla="*/ 151147 h 474966"/>
                <a:gd name="connsiteX46" fmla="*/ 105425 w 218331"/>
                <a:gd name="connsiteY46" fmla="*/ 151466 h 474966"/>
                <a:gd name="connsiteX47" fmla="*/ 105182 w 218331"/>
                <a:gd name="connsiteY47" fmla="*/ 152130 h 474966"/>
                <a:gd name="connsiteX48" fmla="*/ 105080 w 218331"/>
                <a:gd name="connsiteY48" fmla="*/ 152500 h 474966"/>
                <a:gd name="connsiteX49" fmla="*/ 105080 w 218331"/>
                <a:gd name="connsiteY49" fmla="*/ 152526 h 474966"/>
                <a:gd name="connsiteX50" fmla="*/ 104914 w 218331"/>
                <a:gd name="connsiteY50" fmla="*/ 153151 h 474966"/>
                <a:gd name="connsiteX51" fmla="*/ 104901 w 218331"/>
                <a:gd name="connsiteY51" fmla="*/ 153215 h 474966"/>
                <a:gd name="connsiteX52" fmla="*/ 104837 w 218331"/>
                <a:gd name="connsiteY52" fmla="*/ 153585 h 474966"/>
                <a:gd name="connsiteX53" fmla="*/ 104659 w 218331"/>
                <a:gd name="connsiteY53" fmla="*/ 155539 h 474966"/>
                <a:gd name="connsiteX54" fmla="*/ 95108 w 218331"/>
                <a:gd name="connsiteY54" fmla="*/ 163327 h 474966"/>
                <a:gd name="connsiteX55" fmla="*/ 94215 w 218331"/>
                <a:gd name="connsiteY55" fmla="*/ 163378 h 474966"/>
                <a:gd name="connsiteX56" fmla="*/ 93934 w 218331"/>
                <a:gd name="connsiteY56" fmla="*/ 163404 h 474966"/>
                <a:gd name="connsiteX57" fmla="*/ 93806 w 218331"/>
                <a:gd name="connsiteY57" fmla="*/ 163417 h 474966"/>
                <a:gd name="connsiteX58" fmla="*/ 93002 w 218331"/>
                <a:gd name="connsiteY58" fmla="*/ 163544 h 474966"/>
                <a:gd name="connsiteX59" fmla="*/ 92836 w 218331"/>
                <a:gd name="connsiteY59" fmla="*/ 163570 h 474966"/>
                <a:gd name="connsiteX60" fmla="*/ 84051 w 218331"/>
                <a:gd name="connsiteY60" fmla="*/ 173044 h 474966"/>
                <a:gd name="connsiteX61" fmla="*/ 84013 w 218331"/>
                <a:gd name="connsiteY61" fmla="*/ 182288 h 474966"/>
                <a:gd name="connsiteX62" fmla="*/ 83936 w 218331"/>
                <a:gd name="connsiteY62" fmla="*/ 182288 h 474966"/>
                <a:gd name="connsiteX63" fmla="*/ 83936 w 218331"/>
                <a:gd name="connsiteY63" fmla="*/ 182288 h 474966"/>
                <a:gd name="connsiteX64" fmla="*/ 118946 w 218331"/>
                <a:gd name="connsiteY64" fmla="*/ 182288 h 474966"/>
                <a:gd name="connsiteX65" fmla="*/ 128330 w 218331"/>
                <a:gd name="connsiteY65" fmla="*/ 191672 h 474966"/>
                <a:gd name="connsiteX66" fmla="*/ 128330 w 218331"/>
                <a:gd name="connsiteY66" fmla="*/ 194941 h 474966"/>
                <a:gd name="connsiteX67" fmla="*/ 118946 w 218331"/>
                <a:gd name="connsiteY67" fmla="*/ 204325 h 474966"/>
                <a:gd name="connsiteX68" fmla="*/ 83936 w 218331"/>
                <a:gd name="connsiteY68" fmla="*/ 204325 h 474966"/>
                <a:gd name="connsiteX69" fmla="*/ 83936 w 218331"/>
                <a:gd name="connsiteY69" fmla="*/ 243216 h 474966"/>
                <a:gd name="connsiteX70" fmla="*/ 83936 w 218331"/>
                <a:gd name="connsiteY70" fmla="*/ 282005 h 474966"/>
                <a:gd name="connsiteX71" fmla="*/ 83949 w 218331"/>
                <a:gd name="connsiteY71" fmla="*/ 282005 h 474966"/>
                <a:gd name="connsiteX72" fmla="*/ 83949 w 218331"/>
                <a:gd name="connsiteY72" fmla="*/ 290457 h 474966"/>
                <a:gd name="connsiteX73" fmla="*/ 83949 w 218331"/>
                <a:gd name="connsiteY73" fmla="*/ 292181 h 474966"/>
                <a:gd name="connsiteX74" fmla="*/ 83949 w 218331"/>
                <a:gd name="connsiteY74" fmla="*/ 293279 h 474966"/>
                <a:gd name="connsiteX75" fmla="*/ 83936 w 218331"/>
                <a:gd name="connsiteY75" fmla="*/ 293445 h 474966"/>
                <a:gd name="connsiteX76" fmla="*/ 83936 w 218331"/>
                <a:gd name="connsiteY76" fmla="*/ 293649 h 474966"/>
                <a:gd name="connsiteX77" fmla="*/ 83911 w 218331"/>
                <a:gd name="connsiteY77" fmla="*/ 293879 h 474966"/>
                <a:gd name="connsiteX78" fmla="*/ 83872 w 218331"/>
                <a:gd name="connsiteY78" fmla="*/ 294275 h 474966"/>
                <a:gd name="connsiteX79" fmla="*/ 83809 w 218331"/>
                <a:gd name="connsiteY79" fmla="*/ 294684 h 474966"/>
                <a:gd name="connsiteX80" fmla="*/ 83732 w 218331"/>
                <a:gd name="connsiteY80" fmla="*/ 295067 h 474966"/>
                <a:gd name="connsiteX81" fmla="*/ 83630 w 218331"/>
                <a:gd name="connsiteY81" fmla="*/ 295462 h 474966"/>
                <a:gd name="connsiteX82" fmla="*/ 83515 w 218331"/>
                <a:gd name="connsiteY82" fmla="*/ 295833 h 474966"/>
                <a:gd name="connsiteX83" fmla="*/ 83375 w 218331"/>
                <a:gd name="connsiteY83" fmla="*/ 296203 h 474966"/>
                <a:gd name="connsiteX84" fmla="*/ 83234 w 218331"/>
                <a:gd name="connsiteY84" fmla="*/ 296560 h 474966"/>
                <a:gd name="connsiteX85" fmla="*/ 83068 w 218331"/>
                <a:gd name="connsiteY85" fmla="*/ 296905 h 474966"/>
                <a:gd name="connsiteX86" fmla="*/ 82889 w 218331"/>
                <a:gd name="connsiteY86" fmla="*/ 297250 h 474966"/>
                <a:gd name="connsiteX87" fmla="*/ 82685 w 218331"/>
                <a:gd name="connsiteY87" fmla="*/ 297582 h 474966"/>
                <a:gd name="connsiteX88" fmla="*/ 82481 w 218331"/>
                <a:gd name="connsiteY88" fmla="*/ 297901 h 474966"/>
                <a:gd name="connsiteX89" fmla="*/ 82251 w 218331"/>
                <a:gd name="connsiteY89" fmla="*/ 298207 h 474966"/>
                <a:gd name="connsiteX90" fmla="*/ 82008 w 218331"/>
                <a:gd name="connsiteY90" fmla="*/ 298514 h 474966"/>
                <a:gd name="connsiteX91" fmla="*/ 81753 w 218331"/>
                <a:gd name="connsiteY91" fmla="*/ 298795 h 474966"/>
                <a:gd name="connsiteX92" fmla="*/ 81485 w 218331"/>
                <a:gd name="connsiteY92" fmla="*/ 299076 h 474966"/>
                <a:gd name="connsiteX93" fmla="*/ 81191 w 218331"/>
                <a:gd name="connsiteY93" fmla="*/ 299331 h 474966"/>
                <a:gd name="connsiteX94" fmla="*/ 80910 w 218331"/>
                <a:gd name="connsiteY94" fmla="*/ 299574 h 474966"/>
                <a:gd name="connsiteX95" fmla="*/ 80591 w 218331"/>
                <a:gd name="connsiteY95" fmla="*/ 299803 h 474966"/>
                <a:gd name="connsiteX96" fmla="*/ 80285 w 218331"/>
                <a:gd name="connsiteY96" fmla="*/ 300021 h 474966"/>
                <a:gd name="connsiteX97" fmla="*/ 79940 w 218331"/>
                <a:gd name="connsiteY97" fmla="*/ 300225 h 474966"/>
                <a:gd name="connsiteX98" fmla="*/ 79621 w 218331"/>
                <a:gd name="connsiteY98" fmla="*/ 300416 h 474966"/>
                <a:gd name="connsiteX99" fmla="*/ 79250 w 218331"/>
                <a:gd name="connsiteY99" fmla="*/ 300595 h 474966"/>
                <a:gd name="connsiteX100" fmla="*/ 78919 w 218331"/>
                <a:gd name="connsiteY100" fmla="*/ 300748 h 474966"/>
                <a:gd name="connsiteX101" fmla="*/ 78510 w 218331"/>
                <a:gd name="connsiteY101" fmla="*/ 300901 h 474966"/>
                <a:gd name="connsiteX102" fmla="*/ 78191 w 218331"/>
                <a:gd name="connsiteY102" fmla="*/ 301016 h 474966"/>
                <a:gd name="connsiteX103" fmla="*/ 77744 w 218331"/>
                <a:gd name="connsiteY103" fmla="*/ 301131 h 474966"/>
                <a:gd name="connsiteX104" fmla="*/ 77425 w 218331"/>
                <a:gd name="connsiteY104" fmla="*/ 301208 h 474966"/>
                <a:gd name="connsiteX105" fmla="*/ 76901 w 218331"/>
                <a:gd name="connsiteY105" fmla="*/ 301285 h 474966"/>
                <a:gd name="connsiteX106" fmla="*/ 76633 w 218331"/>
                <a:gd name="connsiteY106" fmla="*/ 301323 h 474966"/>
                <a:gd name="connsiteX107" fmla="*/ 75816 w 218331"/>
                <a:gd name="connsiteY107" fmla="*/ 301361 h 474966"/>
                <a:gd name="connsiteX108" fmla="*/ 63738 w 218331"/>
                <a:gd name="connsiteY108" fmla="*/ 301361 h 474966"/>
                <a:gd name="connsiteX109" fmla="*/ 63738 w 218331"/>
                <a:gd name="connsiteY109" fmla="*/ 311512 h 474966"/>
                <a:gd name="connsiteX110" fmla="*/ 55630 w 218331"/>
                <a:gd name="connsiteY110" fmla="*/ 319619 h 474966"/>
                <a:gd name="connsiteX111" fmla="*/ 42632 w 218331"/>
                <a:gd name="connsiteY111" fmla="*/ 319619 h 474966"/>
                <a:gd name="connsiteX112" fmla="*/ 42632 w 218331"/>
                <a:gd name="connsiteY112" fmla="*/ 364971 h 474966"/>
                <a:gd name="connsiteX113" fmla="*/ 42632 w 218331"/>
                <a:gd name="connsiteY113" fmla="*/ 371993 h 474966"/>
                <a:gd name="connsiteX114" fmla="*/ 48339 w 218331"/>
                <a:gd name="connsiteY114" fmla="*/ 379731 h 474966"/>
                <a:gd name="connsiteX115" fmla="*/ 50740 w 218331"/>
                <a:gd name="connsiteY115" fmla="*/ 380101 h 474966"/>
                <a:gd name="connsiteX116" fmla="*/ 63393 w 218331"/>
                <a:gd name="connsiteY116" fmla="*/ 380101 h 474966"/>
                <a:gd name="connsiteX117" fmla="*/ 63610 w 218331"/>
                <a:gd name="connsiteY117" fmla="*/ 380101 h 474966"/>
                <a:gd name="connsiteX118" fmla="*/ 63699 w 218331"/>
                <a:gd name="connsiteY118" fmla="*/ 417179 h 474966"/>
                <a:gd name="connsiteX119" fmla="*/ 63699 w 218331"/>
                <a:gd name="connsiteY119" fmla="*/ 417473 h 474966"/>
                <a:gd name="connsiteX120" fmla="*/ 63699 w 218331"/>
                <a:gd name="connsiteY120" fmla="*/ 417473 h 474966"/>
                <a:gd name="connsiteX121" fmla="*/ 52732 w 218331"/>
                <a:gd name="connsiteY121" fmla="*/ 417473 h 474966"/>
                <a:gd name="connsiteX122" fmla="*/ 43219 w 218331"/>
                <a:gd name="connsiteY122" fmla="*/ 424661 h 474966"/>
                <a:gd name="connsiteX123" fmla="*/ 43002 w 218331"/>
                <a:gd name="connsiteY123" fmla="*/ 426538 h 474966"/>
                <a:gd name="connsiteX124" fmla="*/ 42977 w 218331"/>
                <a:gd name="connsiteY124" fmla="*/ 430687 h 474966"/>
                <a:gd name="connsiteX125" fmla="*/ 34869 w 218331"/>
                <a:gd name="connsiteY125" fmla="*/ 438795 h 474966"/>
                <a:gd name="connsiteX126" fmla="*/ 21552 w 218331"/>
                <a:gd name="connsiteY126" fmla="*/ 438795 h 474966"/>
                <a:gd name="connsiteX127" fmla="*/ 21552 w 218331"/>
                <a:gd name="connsiteY127" fmla="*/ 457526 h 474966"/>
                <a:gd name="connsiteX128" fmla="*/ 21501 w 218331"/>
                <a:gd name="connsiteY128" fmla="*/ 457526 h 474966"/>
                <a:gd name="connsiteX129" fmla="*/ 21501 w 218331"/>
                <a:gd name="connsiteY129" fmla="*/ 457985 h 474966"/>
                <a:gd name="connsiteX130" fmla="*/ 41087 w 218331"/>
                <a:gd name="connsiteY130" fmla="*/ 457985 h 474966"/>
                <a:gd name="connsiteX131" fmla="*/ 48812 w 218331"/>
                <a:gd name="connsiteY131" fmla="*/ 465710 h 474966"/>
                <a:gd name="connsiteX132" fmla="*/ 48812 w 218331"/>
                <a:gd name="connsiteY132" fmla="*/ 468391 h 474966"/>
                <a:gd name="connsiteX133" fmla="*/ 44675 w 218331"/>
                <a:gd name="connsiteY133" fmla="*/ 475222 h 474966"/>
                <a:gd name="connsiteX134" fmla="*/ 52680 w 218331"/>
                <a:gd name="connsiteY134" fmla="*/ 475222 h 474966"/>
                <a:gd name="connsiteX135" fmla="*/ 63508 w 218331"/>
                <a:gd name="connsiteY135" fmla="*/ 465237 h 474966"/>
                <a:gd name="connsiteX136" fmla="*/ 72867 w 218331"/>
                <a:gd name="connsiteY136" fmla="*/ 456606 h 474966"/>
                <a:gd name="connsiteX137" fmla="*/ 88329 w 218331"/>
                <a:gd name="connsiteY137" fmla="*/ 456606 h 474966"/>
                <a:gd name="connsiteX138" fmla="*/ 94968 w 218331"/>
                <a:gd name="connsiteY138" fmla="*/ 456606 h 474966"/>
                <a:gd name="connsiteX139" fmla="*/ 189885 w 218331"/>
                <a:gd name="connsiteY139" fmla="*/ 456606 h 474966"/>
                <a:gd name="connsiteX140" fmla="*/ 189885 w 218331"/>
                <a:gd name="connsiteY140" fmla="*/ 457755 h 474966"/>
                <a:gd name="connsiteX141" fmla="*/ 205206 w 218331"/>
                <a:gd name="connsiteY141" fmla="*/ 473077 h 474966"/>
                <a:gd name="connsiteX142" fmla="*/ 218740 w 218331"/>
                <a:gd name="connsiteY142" fmla="*/ 473077 h 474966"/>
                <a:gd name="connsiteX143" fmla="*/ 218740 w 218331"/>
                <a:gd name="connsiteY143" fmla="*/ 470894 h 474966"/>
                <a:gd name="connsiteX144" fmla="*/ 218740 w 218331"/>
                <a:gd name="connsiteY144" fmla="*/ 410195 h 474966"/>
                <a:gd name="connsiteX145" fmla="*/ 218740 w 218331"/>
                <a:gd name="connsiteY145" fmla="*/ 165370 h 474966"/>
                <a:gd name="connsiteX146" fmla="*/ 200661 w 218331"/>
                <a:gd name="connsiteY146" fmla="*/ 165370 h 474966"/>
                <a:gd name="connsiteX147" fmla="*/ 171231 w 218331"/>
                <a:gd name="connsiteY147" fmla="*/ 175865 h 474966"/>
                <a:gd name="connsiteX148" fmla="*/ 163187 w 218331"/>
                <a:gd name="connsiteY148" fmla="*/ 183909 h 474966"/>
                <a:gd name="connsiteX149" fmla="*/ 160391 w 218331"/>
                <a:gd name="connsiteY149" fmla="*/ 183909 h 474966"/>
                <a:gd name="connsiteX150" fmla="*/ 152347 w 218331"/>
                <a:gd name="connsiteY150" fmla="*/ 176019 h 474966"/>
                <a:gd name="connsiteX151" fmla="*/ 141494 w 218331"/>
                <a:gd name="connsiteY151" fmla="*/ 165357 h 474966"/>
                <a:gd name="connsiteX152" fmla="*/ 136221 w 218331"/>
                <a:gd name="connsiteY152" fmla="*/ 165357 h 474966"/>
                <a:gd name="connsiteX153" fmla="*/ 128177 w 218331"/>
                <a:gd name="connsiteY153" fmla="*/ 157313 h 474966"/>
                <a:gd name="connsiteX154" fmla="*/ 128177 w 218331"/>
                <a:gd name="connsiteY154" fmla="*/ 154517 h 474966"/>
                <a:gd name="connsiteX155" fmla="*/ 136221 w 218331"/>
                <a:gd name="connsiteY155" fmla="*/ 146474 h 474966"/>
                <a:gd name="connsiteX156" fmla="*/ 158310 w 218331"/>
                <a:gd name="connsiteY156" fmla="*/ 146474 h 474966"/>
                <a:gd name="connsiteX157" fmla="*/ 159510 w 218331"/>
                <a:gd name="connsiteY157" fmla="*/ 146410 h 474966"/>
                <a:gd name="connsiteX158" fmla="*/ 160391 w 218331"/>
                <a:gd name="connsiteY158" fmla="*/ 146359 h 474966"/>
                <a:gd name="connsiteX159" fmla="*/ 163187 w 218331"/>
                <a:gd name="connsiteY159" fmla="*/ 146359 h 474966"/>
                <a:gd name="connsiteX160" fmla="*/ 171231 w 218331"/>
                <a:gd name="connsiteY160" fmla="*/ 154402 h 474966"/>
                <a:gd name="connsiteX161" fmla="*/ 171231 w 218331"/>
                <a:gd name="connsiteY161" fmla="*/ 175865 h 47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218331" h="474966">
                  <a:moveTo>
                    <a:pt x="200661" y="165370"/>
                  </a:moveTo>
                  <a:cubicBezTo>
                    <a:pt x="196243" y="165370"/>
                    <a:pt x="192617" y="161744"/>
                    <a:pt x="192617" y="157326"/>
                  </a:cubicBezTo>
                  <a:lnTo>
                    <a:pt x="192617" y="154530"/>
                  </a:lnTo>
                  <a:cubicBezTo>
                    <a:pt x="192617" y="150112"/>
                    <a:pt x="196230" y="146486"/>
                    <a:pt x="200661" y="146486"/>
                  </a:cubicBezTo>
                  <a:lnTo>
                    <a:pt x="218408" y="146486"/>
                  </a:lnTo>
                  <a:lnTo>
                    <a:pt x="218472" y="80017"/>
                  </a:lnTo>
                  <a:lnTo>
                    <a:pt x="169494" y="80017"/>
                  </a:lnTo>
                  <a:lnTo>
                    <a:pt x="169494" y="12985"/>
                  </a:lnTo>
                  <a:cubicBezTo>
                    <a:pt x="169494" y="5822"/>
                    <a:pt x="163685" y="0"/>
                    <a:pt x="156509" y="0"/>
                  </a:cubicBezTo>
                  <a:lnTo>
                    <a:pt x="0" y="0"/>
                  </a:lnTo>
                  <a:lnTo>
                    <a:pt x="0" y="38265"/>
                  </a:lnTo>
                  <a:lnTo>
                    <a:pt x="11031" y="38265"/>
                  </a:lnTo>
                  <a:cubicBezTo>
                    <a:pt x="21144" y="38265"/>
                    <a:pt x="29328" y="46462"/>
                    <a:pt x="29328" y="56562"/>
                  </a:cubicBezTo>
                  <a:lnTo>
                    <a:pt x="29328" y="80425"/>
                  </a:lnTo>
                  <a:lnTo>
                    <a:pt x="118308" y="80425"/>
                  </a:lnTo>
                  <a:cubicBezTo>
                    <a:pt x="118308" y="106012"/>
                    <a:pt x="117912" y="123364"/>
                    <a:pt x="117950" y="142669"/>
                  </a:cubicBezTo>
                  <a:cubicBezTo>
                    <a:pt x="118091" y="143728"/>
                    <a:pt x="118103" y="144303"/>
                    <a:pt x="117950" y="144303"/>
                  </a:cubicBezTo>
                  <a:lnTo>
                    <a:pt x="117018" y="144303"/>
                  </a:lnTo>
                  <a:cubicBezTo>
                    <a:pt x="116558" y="144316"/>
                    <a:pt x="116150" y="144303"/>
                    <a:pt x="115843" y="144303"/>
                  </a:cubicBezTo>
                  <a:cubicBezTo>
                    <a:pt x="115473" y="144303"/>
                    <a:pt x="115103" y="144329"/>
                    <a:pt x="114745" y="144354"/>
                  </a:cubicBezTo>
                  <a:cubicBezTo>
                    <a:pt x="114630" y="144367"/>
                    <a:pt x="114515" y="144392"/>
                    <a:pt x="114401" y="144405"/>
                  </a:cubicBezTo>
                  <a:cubicBezTo>
                    <a:pt x="114158" y="144431"/>
                    <a:pt x="113915" y="144469"/>
                    <a:pt x="113686" y="144520"/>
                  </a:cubicBezTo>
                  <a:cubicBezTo>
                    <a:pt x="113660" y="144520"/>
                    <a:pt x="113622" y="144533"/>
                    <a:pt x="113596" y="144546"/>
                  </a:cubicBezTo>
                  <a:cubicBezTo>
                    <a:pt x="113494" y="144571"/>
                    <a:pt x="113392" y="144597"/>
                    <a:pt x="113290" y="144622"/>
                  </a:cubicBezTo>
                  <a:cubicBezTo>
                    <a:pt x="113073" y="144673"/>
                    <a:pt x="112868" y="144724"/>
                    <a:pt x="112664" y="144788"/>
                  </a:cubicBezTo>
                  <a:cubicBezTo>
                    <a:pt x="112524" y="144826"/>
                    <a:pt x="112396" y="144878"/>
                    <a:pt x="112256" y="144929"/>
                  </a:cubicBezTo>
                  <a:cubicBezTo>
                    <a:pt x="112064" y="144992"/>
                    <a:pt x="111860" y="145069"/>
                    <a:pt x="111668" y="145146"/>
                  </a:cubicBezTo>
                  <a:cubicBezTo>
                    <a:pt x="111528" y="145197"/>
                    <a:pt x="111400" y="145261"/>
                    <a:pt x="111272" y="145324"/>
                  </a:cubicBezTo>
                  <a:cubicBezTo>
                    <a:pt x="111081" y="145414"/>
                    <a:pt x="110902" y="145490"/>
                    <a:pt x="110723" y="145593"/>
                  </a:cubicBezTo>
                  <a:cubicBezTo>
                    <a:pt x="110660" y="145631"/>
                    <a:pt x="110596" y="145669"/>
                    <a:pt x="110519" y="145707"/>
                  </a:cubicBezTo>
                  <a:cubicBezTo>
                    <a:pt x="110455" y="145746"/>
                    <a:pt x="110391" y="145771"/>
                    <a:pt x="110328" y="145810"/>
                  </a:cubicBezTo>
                  <a:cubicBezTo>
                    <a:pt x="110149" y="145912"/>
                    <a:pt x="109983" y="146014"/>
                    <a:pt x="109804" y="146129"/>
                  </a:cubicBezTo>
                  <a:cubicBezTo>
                    <a:pt x="109779" y="146142"/>
                    <a:pt x="109766" y="146154"/>
                    <a:pt x="109740" y="146167"/>
                  </a:cubicBezTo>
                  <a:cubicBezTo>
                    <a:pt x="109638" y="146231"/>
                    <a:pt x="109536" y="146295"/>
                    <a:pt x="109447" y="146371"/>
                  </a:cubicBezTo>
                  <a:cubicBezTo>
                    <a:pt x="109281" y="146486"/>
                    <a:pt x="109115" y="146614"/>
                    <a:pt x="108949" y="146742"/>
                  </a:cubicBezTo>
                  <a:cubicBezTo>
                    <a:pt x="108834" y="146831"/>
                    <a:pt x="108732" y="146908"/>
                    <a:pt x="108617" y="147010"/>
                  </a:cubicBezTo>
                  <a:cubicBezTo>
                    <a:pt x="108451" y="147150"/>
                    <a:pt x="108298" y="147291"/>
                    <a:pt x="108144" y="147431"/>
                  </a:cubicBezTo>
                  <a:cubicBezTo>
                    <a:pt x="108042" y="147521"/>
                    <a:pt x="107953" y="147610"/>
                    <a:pt x="107851" y="147712"/>
                  </a:cubicBezTo>
                  <a:cubicBezTo>
                    <a:pt x="107697" y="147878"/>
                    <a:pt x="107544" y="148044"/>
                    <a:pt x="107391" y="148210"/>
                  </a:cubicBezTo>
                  <a:cubicBezTo>
                    <a:pt x="107314" y="148299"/>
                    <a:pt x="107225" y="148389"/>
                    <a:pt x="107161" y="148478"/>
                  </a:cubicBezTo>
                  <a:cubicBezTo>
                    <a:pt x="106995" y="148682"/>
                    <a:pt x="106842" y="148887"/>
                    <a:pt x="106689" y="149104"/>
                  </a:cubicBezTo>
                  <a:cubicBezTo>
                    <a:pt x="106689" y="149116"/>
                    <a:pt x="106676" y="149116"/>
                    <a:pt x="106676" y="149129"/>
                  </a:cubicBezTo>
                  <a:cubicBezTo>
                    <a:pt x="106638" y="149193"/>
                    <a:pt x="106587" y="149244"/>
                    <a:pt x="106548" y="149308"/>
                  </a:cubicBezTo>
                  <a:cubicBezTo>
                    <a:pt x="106357" y="149602"/>
                    <a:pt x="106165" y="149895"/>
                    <a:pt x="105999" y="150202"/>
                  </a:cubicBezTo>
                  <a:cubicBezTo>
                    <a:pt x="105987" y="150227"/>
                    <a:pt x="105974" y="150253"/>
                    <a:pt x="105961" y="150278"/>
                  </a:cubicBezTo>
                  <a:cubicBezTo>
                    <a:pt x="105808" y="150559"/>
                    <a:pt x="105667" y="150853"/>
                    <a:pt x="105540" y="151147"/>
                  </a:cubicBezTo>
                  <a:cubicBezTo>
                    <a:pt x="105501" y="151249"/>
                    <a:pt x="105463" y="151351"/>
                    <a:pt x="105425" y="151466"/>
                  </a:cubicBezTo>
                  <a:cubicBezTo>
                    <a:pt x="105335" y="151683"/>
                    <a:pt x="105246" y="151913"/>
                    <a:pt x="105182" y="152130"/>
                  </a:cubicBezTo>
                  <a:cubicBezTo>
                    <a:pt x="105144" y="152257"/>
                    <a:pt x="105106" y="152372"/>
                    <a:pt x="105080" y="152500"/>
                  </a:cubicBezTo>
                  <a:cubicBezTo>
                    <a:pt x="105080" y="152513"/>
                    <a:pt x="105080" y="152513"/>
                    <a:pt x="105080" y="152526"/>
                  </a:cubicBezTo>
                  <a:cubicBezTo>
                    <a:pt x="105016" y="152730"/>
                    <a:pt x="104965" y="152947"/>
                    <a:pt x="104914" y="153151"/>
                  </a:cubicBezTo>
                  <a:cubicBezTo>
                    <a:pt x="104914" y="153177"/>
                    <a:pt x="104901" y="153202"/>
                    <a:pt x="104901" y="153215"/>
                  </a:cubicBezTo>
                  <a:cubicBezTo>
                    <a:pt x="104876" y="153343"/>
                    <a:pt x="104850" y="153458"/>
                    <a:pt x="104837" y="153585"/>
                  </a:cubicBezTo>
                  <a:cubicBezTo>
                    <a:pt x="104723" y="154224"/>
                    <a:pt x="104659" y="154862"/>
                    <a:pt x="104659" y="155539"/>
                  </a:cubicBezTo>
                  <a:cubicBezTo>
                    <a:pt x="104595" y="158961"/>
                    <a:pt x="99832" y="163238"/>
                    <a:pt x="95108" y="163327"/>
                  </a:cubicBezTo>
                  <a:cubicBezTo>
                    <a:pt x="94802" y="163327"/>
                    <a:pt x="94508" y="163353"/>
                    <a:pt x="94215" y="163378"/>
                  </a:cubicBezTo>
                  <a:cubicBezTo>
                    <a:pt x="94125" y="163391"/>
                    <a:pt x="94023" y="163391"/>
                    <a:pt x="93934" y="163404"/>
                  </a:cubicBezTo>
                  <a:cubicBezTo>
                    <a:pt x="93895" y="163404"/>
                    <a:pt x="93844" y="163417"/>
                    <a:pt x="93806" y="163417"/>
                  </a:cubicBezTo>
                  <a:cubicBezTo>
                    <a:pt x="93538" y="163455"/>
                    <a:pt x="93270" y="163493"/>
                    <a:pt x="93002" y="163544"/>
                  </a:cubicBezTo>
                  <a:cubicBezTo>
                    <a:pt x="92951" y="163557"/>
                    <a:pt x="92887" y="163570"/>
                    <a:pt x="92836" y="163570"/>
                  </a:cubicBezTo>
                  <a:cubicBezTo>
                    <a:pt x="88239" y="164540"/>
                    <a:pt x="84677" y="168345"/>
                    <a:pt x="84051" y="173044"/>
                  </a:cubicBezTo>
                  <a:lnTo>
                    <a:pt x="84013" y="182288"/>
                  </a:lnTo>
                  <a:lnTo>
                    <a:pt x="83936" y="182288"/>
                  </a:lnTo>
                  <a:lnTo>
                    <a:pt x="83936" y="182288"/>
                  </a:lnTo>
                  <a:lnTo>
                    <a:pt x="118946" y="182288"/>
                  </a:lnTo>
                  <a:cubicBezTo>
                    <a:pt x="124104" y="182288"/>
                    <a:pt x="128330" y="186514"/>
                    <a:pt x="128330" y="191672"/>
                  </a:cubicBezTo>
                  <a:lnTo>
                    <a:pt x="128330" y="194941"/>
                  </a:lnTo>
                  <a:cubicBezTo>
                    <a:pt x="128330" y="200099"/>
                    <a:pt x="124104" y="204325"/>
                    <a:pt x="118946" y="204325"/>
                  </a:cubicBezTo>
                  <a:lnTo>
                    <a:pt x="83936" y="204325"/>
                  </a:lnTo>
                  <a:lnTo>
                    <a:pt x="83936" y="243216"/>
                  </a:lnTo>
                  <a:lnTo>
                    <a:pt x="83936" y="282005"/>
                  </a:lnTo>
                  <a:lnTo>
                    <a:pt x="83949" y="282005"/>
                  </a:lnTo>
                  <a:lnTo>
                    <a:pt x="83949" y="290457"/>
                  </a:lnTo>
                  <a:lnTo>
                    <a:pt x="83949" y="292181"/>
                  </a:lnTo>
                  <a:lnTo>
                    <a:pt x="83949" y="293279"/>
                  </a:lnTo>
                  <a:cubicBezTo>
                    <a:pt x="83949" y="293330"/>
                    <a:pt x="83936" y="293394"/>
                    <a:pt x="83936" y="293445"/>
                  </a:cubicBezTo>
                  <a:lnTo>
                    <a:pt x="83936" y="293649"/>
                  </a:lnTo>
                  <a:cubicBezTo>
                    <a:pt x="83936" y="293726"/>
                    <a:pt x="83924" y="293803"/>
                    <a:pt x="83911" y="293879"/>
                  </a:cubicBezTo>
                  <a:cubicBezTo>
                    <a:pt x="83898" y="294007"/>
                    <a:pt x="83885" y="294134"/>
                    <a:pt x="83872" y="294275"/>
                  </a:cubicBezTo>
                  <a:cubicBezTo>
                    <a:pt x="83860" y="294415"/>
                    <a:pt x="83834" y="294543"/>
                    <a:pt x="83809" y="294684"/>
                  </a:cubicBezTo>
                  <a:cubicBezTo>
                    <a:pt x="83783" y="294811"/>
                    <a:pt x="83758" y="294939"/>
                    <a:pt x="83732" y="295067"/>
                  </a:cubicBezTo>
                  <a:cubicBezTo>
                    <a:pt x="83706" y="295194"/>
                    <a:pt x="83668" y="295322"/>
                    <a:pt x="83630" y="295462"/>
                  </a:cubicBezTo>
                  <a:cubicBezTo>
                    <a:pt x="83592" y="295590"/>
                    <a:pt x="83566" y="295705"/>
                    <a:pt x="83515" y="295833"/>
                  </a:cubicBezTo>
                  <a:cubicBezTo>
                    <a:pt x="83477" y="295960"/>
                    <a:pt x="83426" y="296075"/>
                    <a:pt x="83375" y="296203"/>
                  </a:cubicBezTo>
                  <a:cubicBezTo>
                    <a:pt x="83323" y="296318"/>
                    <a:pt x="83285" y="296445"/>
                    <a:pt x="83234" y="296560"/>
                  </a:cubicBezTo>
                  <a:cubicBezTo>
                    <a:pt x="83183" y="296675"/>
                    <a:pt x="83119" y="296790"/>
                    <a:pt x="83068" y="296905"/>
                  </a:cubicBezTo>
                  <a:cubicBezTo>
                    <a:pt x="83004" y="297020"/>
                    <a:pt x="82953" y="297135"/>
                    <a:pt x="82889" y="297250"/>
                  </a:cubicBezTo>
                  <a:cubicBezTo>
                    <a:pt x="82825" y="297365"/>
                    <a:pt x="82762" y="297467"/>
                    <a:pt x="82685" y="297582"/>
                  </a:cubicBezTo>
                  <a:cubicBezTo>
                    <a:pt x="82621" y="297684"/>
                    <a:pt x="82545" y="297799"/>
                    <a:pt x="82481" y="297901"/>
                  </a:cubicBezTo>
                  <a:cubicBezTo>
                    <a:pt x="82404" y="298003"/>
                    <a:pt x="82328" y="298105"/>
                    <a:pt x="82251" y="298207"/>
                  </a:cubicBezTo>
                  <a:cubicBezTo>
                    <a:pt x="82174" y="298310"/>
                    <a:pt x="82098" y="298412"/>
                    <a:pt x="82008" y="298514"/>
                  </a:cubicBezTo>
                  <a:cubicBezTo>
                    <a:pt x="81932" y="298616"/>
                    <a:pt x="81842" y="298705"/>
                    <a:pt x="81753" y="298795"/>
                  </a:cubicBezTo>
                  <a:cubicBezTo>
                    <a:pt x="81664" y="298884"/>
                    <a:pt x="81574" y="298986"/>
                    <a:pt x="81485" y="299076"/>
                  </a:cubicBezTo>
                  <a:cubicBezTo>
                    <a:pt x="81395" y="299165"/>
                    <a:pt x="81293" y="299254"/>
                    <a:pt x="81191" y="299331"/>
                  </a:cubicBezTo>
                  <a:cubicBezTo>
                    <a:pt x="81102" y="299420"/>
                    <a:pt x="81000" y="299497"/>
                    <a:pt x="80910" y="299574"/>
                  </a:cubicBezTo>
                  <a:cubicBezTo>
                    <a:pt x="80808" y="299650"/>
                    <a:pt x="80706" y="299727"/>
                    <a:pt x="80591" y="299803"/>
                  </a:cubicBezTo>
                  <a:cubicBezTo>
                    <a:pt x="80489" y="299880"/>
                    <a:pt x="80387" y="299957"/>
                    <a:pt x="80285" y="300021"/>
                  </a:cubicBezTo>
                  <a:cubicBezTo>
                    <a:pt x="80170" y="300097"/>
                    <a:pt x="80055" y="300161"/>
                    <a:pt x="79940" y="300225"/>
                  </a:cubicBezTo>
                  <a:cubicBezTo>
                    <a:pt x="79838" y="300289"/>
                    <a:pt x="79736" y="300352"/>
                    <a:pt x="79621" y="300416"/>
                  </a:cubicBezTo>
                  <a:cubicBezTo>
                    <a:pt x="79493" y="300480"/>
                    <a:pt x="79378" y="300544"/>
                    <a:pt x="79250" y="300595"/>
                  </a:cubicBezTo>
                  <a:cubicBezTo>
                    <a:pt x="79136" y="300646"/>
                    <a:pt x="79033" y="300697"/>
                    <a:pt x="78919" y="300748"/>
                  </a:cubicBezTo>
                  <a:cubicBezTo>
                    <a:pt x="78791" y="300799"/>
                    <a:pt x="78650" y="300850"/>
                    <a:pt x="78510" y="300901"/>
                  </a:cubicBezTo>
                  <a:cubicBezTo>
                    <a:pt x="78408" y="300940"/>
                    <a:pt x="78293" y="300978"/>
                    <a:pt x="78191" y="301016"/>
                  </a:cubicBezTo>
                  <a:cubicBezTo>
                    <a:pt x="78038" y="301067"/>
                    <a:pt x="77897" y="301093"/>
                    <a:pt x="77744" y="301131"/>
                  </a:cubicBezTo>
                  <a:cubicBezTo>
                    <a:pt x="77642" y="301157"/>
                    <a:pt x="77540" y="301195"/>
                    <a:pt x="77425" y="301208"/>
                  </a:cubicBezTo>
                  <a:cubicBezTo>
                    <a:pt x="77246" y="301246"/>
                    <a:pt x="77067" y="301259"/>
                    <a:pt x="76901" y="301285"/>
                  </a:cubicBezTo>
                  <a:cubicBezTo>
                    <a:pt x="76812" y="301297"/>
                    <a:pt x="76722" y="301310"/>
                    <a:pt x="76633" y="301323"/>
                  </a:cubicBezTo>
                  <a:cubicBezTo>
                    <a:pt x="76365" y="301348"/>
                    <a:pt x="76097" y="301361"/>
                    <a:pt x="75816" y="301361"/>
                  </a:cubicBezTo>
                  <a:lnTo>
                    <a:pt x="63738" y="301361"/>
                  </a:lnTo>
                  <a:lnTo>
                    <a:pt x="63738" y="311512"/>
                  </a:lnTo>
                  <a:cubicBezTo>
                    <a:pt x="63738" y="315968"/>
                    <a:pt x="60086" y="319619"/>
                    <a:pt x="55630" y="319619"/>
                  </a:cubicBezTo>
                  <a:lnTo>
                    <a:pt x="42632" y="319619"/>
                  </a:lnTo>
                  <a:lnTo>
                    <a:pt x="42632" y="364971"/>
                  </a:lnTo>
                  <a:lnTo>
                    <a:pt x="42632" y="371993"/>
                  </a:lnTo>
                  <a:cubicBezTo>
                    <a:pt x="42632" y="375619"/>
                    <a:pt x="45045" y="378696"/>
                    <a:pt x="48339" y="379731"/>
                  </a:cubicBezTo>
                  <a:cubicBezTo>
                    <a:pt x="49105" y="379973"/>
                    <a:pt x="49910" y="380101"/>
                    <a:pt x="50740" y="380101"/>
                  </a:cubicBezTo>
                  <a:lnTo>
                    <a:pt x="63393" y="380101"/>
                  </a:lnTo>
                  <a:lnTo>
                    <a:pt x="63610" y="380101"/>
                  </a:lnTo>
                  <a:lnTo>
                    <a:pt x="63699" y="417179"/>
                  </a:lnTo>
                  <a:lnTo>
                    <a:pt x="63699" y="417473"/>
                  </a:lnTo>
                  <a:lnTo>
                    <a:pt x="63699" y="417473"/>
                  </a:lnTo>
                  <a:lnTo>
                    <a:pt x="52732" y="417473"/>
                  </a:lnTo>
                  <a:cubicBezTo>
                    <a:pt x="48212" y="417473"/>
                    <a:pt x="44177" y="420460"/>
                    <a:pt x="43219" y="424661"/>
                  </a:cubicBezTo>
                  <a:cubicBezTo>
                    <a:pt x="43079" y="425261"/>
                    <a:pt x="43015" y="425887"/>
                    <a:pt x="43002" y="426538"/>
                  </a:cubicBezTo>
                  <a:lnTo>
                    <a:pt x="42977" y="430687"/>
                  </a:lnTo>
                  <a:cubicBezTo>
                    <a:pt x="42951" y="435143"/>
                    <a:pt x="39325" y="438795"/>
                    <a:pt x="34869" y="438795"/>
                  </a:cubicBezTo>
                  <a:lnTo>
                    <a:pt x="21552" y="438795"/>
                  </a:lnTo>
                  <a:lnTo>
                    <a:pt x="21552" y="457526"/>
                  </a:lnTo>
                  <a:lnTo>
                    <a:pt x="21501" y="457526"/>
                  </a:lnTo>
                  <a:lnTo>
                    <a:pt x="21501" y="457985"/>
                  </a:lnTo>
                  <a:lnTo>
                    <a:pt x="41087" y="457985"/>
                  </a:lnTo>
                  <a:cubicBezTo>
                    <a:pt x="45339" y="457985"/>
                    <a:pt x="48812" y="461458"/>
                    <a:pt x="48812" y="465710"/>
                  </a:cubicBezTo>
                  <a:lnTo>
                    <a:pt x="48812" y="468391"/>
                  </a:lnTo>
                  <a:cubicBezTo>
                    <a:pt x="48812" y="471340"/>
                    <a:pt x="47126" y="473920"/>
                    <a:pt x="44675" y="475222"/>
                  </a:cubicBezTo>
                  <a:lnTo>
                    <a:pt x="52680" y="475222"/>
                  </a:lnTo>
                  <a:cubicBezTo>
                    <a:pt x="58349" y="475222"/>
                    <a:pt x="63048" y="470894"/>
                    <a:pt x="63508" y="465237"/>
                  </a:cubicBezTo>
                  <a:cubicBezTo>
                    <a:pt x="63891" y="460424"/>
                    <a:pt x="67964" y="456606"/>
                    <a:pt x="72867" y="456606"/>
                  </a:cubicBezTo>
                  <a:lnTo>
                    <a:pt x="88329" y="456606"/>
                  </a:lnTo>
                  <a:lnTo>
                    <a:pt x="94968" y="456606"/>
                  </a:lnTo>
                  <a:lnTo>
                    <a:pt x="189885" y="456606"/>
                  </a:lnTo>
                  <a:lnTo>
                    <a:pt x="189885" y="457755"/>
                  </a:lnTo>
                  <a:cubicBezTo>
                    <a:pt x="189885" y="466182"/>
                    <a:pt x="196779" y="473077"/>
                    <a:pt x="205206" y="473077"/>
                  </a:cubicBezTo>
                  <a:lnTo>
                    <a:pt x="218740" y="473077"/>
                  </a:lnTo>
                  <a:lnTo>
                    <a:pt x="218740" y="470894"/>
                  </a:lnTo>
                  <a:lnTo>
                    <a:pt x="218740" y="410195"/>
                  </a:lnTo>
                  <a:lnTo>
                    <a:pt x="218740" y="165370"/>
                  </a:lnTo>
                  <a:lnTo>
                    <a:pt x="200661" y="165370"/>
                  </a:lnTo>
                  <a:close/>
                  <a:moveTo>
                    <a:pt x="171231" y="175865"/>
                  </a:moveTo>
                  <a:cubicBezTo>
                    <a:pt x="171231" y="180283"/>
                    <a:pt x="167617" y="183909"/>
                    <a:pt x="163187" y="183909"/>
                  </a:cubicBezTo>
                  <a:lnTo>
                    <a:pt x="160391" y="183909"/>
                  </a:lnTo>
                  <a:cubicBezTo>
                    <a:pt x="156024" y="183909"/>
                    <a:pt x="152436" y="180372"/>
                    <a:pt x="152347" y="176019"/>
                  </a:cubicBezTo>
                  <a:cubicBezTo>
                    <a:pt x="152232" y="170107"/>
                    <a:pt x="147406" y="165357"/>
                    <a:pt x="141494" y="165357"/>
                  </a:cubicBezTo>
                  <a:lnTo>
                    <a:pt x="136221" y="165357"/>
                  </a:lnTo>
                  <a:cubicBezTo>
                    <a:pt x="131803" y="165357"/>
                    <a:pt x="128177" y="161744"/>
                    <a:pt x="128177" y="157313"/>
                  </a:cubicBezTo>
                  <a:lnTo>
                    <a:pt x="128177" y="154517"/>
                  </a:lnTo>
                  <a:cubicBezTo>
                    <a:pt x="128177" y="150100"/>
                    <a:pt x="131791" y="146474"/>
                    <a:pt x="136221" y="146474"/>
                  </a:cubicBezTo>
                  <a:lnTo>
                    <a:pt x="158310" y="146474"/>
                  </a:lnTo>
                  <a:cubicBezTo>
                    <a:pt x="158731" y="146474"/>
                    <a:pt x="159088" y="146448"/>
                    <a:pt x="159510" y="146410"/>
                  </a:cubicBezTo>
                  <a:cubicBezTo>
                    <a:pt x="159803" y="146371"/>
                    <a:pt x="160097" y="146359"/>
                    <a:pt x="160391" y="146359"/>
                  </a:cubicBezTo>
                  <a:lnTo>
                    <a:pt x="163187" y="146359"/>
                  </a:lnTo>
                  <a:cubicBezTo>
                    <a:pt x="167605" y="146359"/>
                    <a:pt x="171231" y="149972"/>
                    <a:pt x="171231" y="154402"/>
                  </a:cubicBezTo>
                  <a:lnTo>
                    <a:pt x="171231" y="175865"/>
                  </a:lnTo>
                  <a:close/>
                </a:path>
              </a:pathLst>
            </a:custGeom>
            <a:solidFill>
              <a:srgbClr val="D1D3D4"/>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3" name="Freeform: Shape 102">
              <a:extLst>
                <a:ext uri="{FF2B5EF4-FFF2-40B4-BE49-F238E27FC236}">
                  <a16:creationId xmlns:a16="http://schemas.microsoft.com/office/drawing/2014/main" id="{A440D3BC-AA6E-4A96-8F40-7E6DC57C0906}"/>
                </a:ext>
              </a:extLst>
            </p:cNvPr>
            <p:cNvSpPr/>
            <p:nvPr/>
          </p:nvSpPr>
          <p:spPr>
            <a:xfrm>
              <a:off x="6884492" y="67272"/>
              <a:ext cx="172367" cy="143001"/>
            </a:xfrm>
            <a:custGeom>
              <a:avLst/>
              <a:gdLst>
                <a:gd name="connsiteX0" fmla="*/ 172967 w 172366"/>
                <a:gd name="connsiteY0" fmla="*/ 42160 h 143000"/>
                <a:gd name="connsiteX1" fmla="*/ 83987 w 172366"/>
                <a:gd name="connsiteY1" fmla="*/ 42160 h 143000"/>
                <a:gd name="connsiteX2" fmla="*/ 83987 w 172366"/>
                <a:gd name="connsiteY2" fmla="*/ 18296 h 143000"/>
                <a:gd name="connsiteX3" fmla="*/ 65691 w 172366"/>
                <a:gd name="connsiteY3" fmla="*/ 0 h 143000"/>
                <a:gd name="connsiteX4" fmla="*/ 54659 w 172366"/>
                <a:gd name="connsiteY4" fmla="*/ 0 h 143000"/>
                <a:gd name="connsiteX5" fmla="*/ 54659 w 172366"/>
                <a:gd name="connsiteY5" fmla="*/ 38 h 143000"/>
                <a:gd name="connsiteX6" fmla="*/ 33375 w 172366"/>
                <a:gd name="connsiteY6" fmla="*/ 38 h 143000"/>
                <a:gd name="connsiteX7" fmla="*/ 33375 w 172366"/>
                <a:gd name="connsiteY7" fmla="*/ 3869 h 143000"/>
                <a:gd name="connsiteX8" fmla="*/ 21029 w 172366"/>
                <a:gd name="connsiteY8" fmla="*/ 16215 h 143000"/>
                <a:gd name="connsiteX9" fmla="*/ 0 w 172366"/>
                <a:gd name="connsiteY9" fmla="*/ 16215 h 143000"/>
                <a:gd name="connsiteX10" fmla="*/ 0 w 172366"/>
                <a:gd name="connsiteY10" fmla="*/ 79812 h 143000"/>
                <a:gd name="connsiteX11" fmla="*/ 36325 w 172366"/>
                <a:gd name="connsiteY11" fmla="*/ 79812 h 143000"/>
                <a:gd name="connsiteX12" fmla="*/ 36325 w 172366"/>
                <a:gd name="connsiteY12" fmla="*/ 132812 h 143000"/>
                <a:gd name="connsiteX13" fmla="*/ 47509 w 172366"/>
                <a:gd name="connsiteY13" fmla="*/ 143997 h 143000"/>
                <a:gd name="connsiteX14" fmla="*/ 127947 w 172366"/>
                <a:gd name="connsiteY14" fmla="*/ 143997 h 143000"/>
                <a:gd name="connsiteX15" fmla="*/ 138660 w 172366"/>
                <a:gd name="connsiteY15" fmla="*/ 143997 h 143000"/>
                <a:gd name="connsiteX16" fmla="*/ 138698 w 172366"/>
                <a:gd name="connsiteY16" fmla="*/ 134663 h 143000"/>
                <a:gd name="connsiteX17" fmla="*/ 149219 w 172366"/>
                <a:gd name="connsiteY17" fmla="*/ 125062 h 143000"/>
                <a:gd name="connsiteX18" fmla="*/ 159433 w 172366"/>
                <a:gd name="connsiteY18" fmla="*/ 115716 h 143000"/>
                <a:gd name="connsiteX19" fmla="*/ 170516 w 172366"/>
                <a:gd name="connsiteY19" fmla="*/ 106076 h 143000"/>
                <a:gd name="connsiteX20" fmla="*/ 172622 w 172366"/>
                <a:gd name="connsiteY20" fmla="*/ 106076 h 143000"/>
                <a:gd name="connsiteX21" fmla="*/ 172967 w 172366"/>
                <a:gd name="connsiteY21" fmla="*/ 42160 h 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2366" h="143000">
                  <a:moveTo>
                    <a:pt x="172967" y="42160"/>
                  </a:moveTo>
                  <a:lnTo>
                    <a:pt x="83987" y="42160"/>
                  </a:lnTo>
                  <a:lnTo>
                    <a:pt x="83987" y="18296"/>
                  </a:lnTo>
                  <a:cubicBezTo>
                    <a:pt x="83987" y="8184"/>
                    <a:pt x="75790" y="0"/>
                    <a:pt x="65691" y="0"/>
                  </a:cubicBezTo>
                  <a:lnTo>
                    <a:pt x="54659" y="0"/>
                  </a:lnTo>
                  <a:lnTo>
                    <a:pt x="54659" y="38"/>
                  </a:lnTo>
                  <a:lnTo>
                    <a:pt x="33375" y="38"/>
                  </a:lnTo>
                  <a:lnTo>
                    <a:pt x="33375" y="3869"/>
                  </a:lnTo>
                  <a:cubicBezTo>
                    <a:pt x="33375" y="10687"/>
                    <a:pt x="27847" y="16215"/>
                    <a:pt x="21029" y="16215"/>
                  </a:cubicBezTo>
                  <a:lnTo>
                    <a:pt x="0" y="16215"/>
                  </a:lnTo>
                  <a:lnTo>
                    <a:pt x="0" y="79812"/>
                  </a:lnTo>
                  <a:lnTo>
                    <a:pt x="36325" y="79812"/>
                  </a:lnTo>
                  <a:lnTo>
                    <a:pt x="36325" y="132812"/>
                  </a:lnTo>
                  <a:cubicBezTo>
                    <a:pt x="36325" y="138966"/>
                    <a:pt x="41355" y="143997"/>
                    <a:pt x="47509" y="143997"/>
                  </a:cubicBezTo>
                  <a:lnTo>
                    <a:pt x="127947" y="143997"/>
                  </a:lnTo>
                  <a:lnTo>
                    <a:pt x="138660" y="143997"/>
                  </a:lnTo>
                  <a:lnTo>
                    <a:pt x="138698" y="134663"/>
                  </a:lnTo>
                  <a:cubicBezTo>
                    <a:pt x="138724" y="129377"/>
                    <a:pt x="143843" y="125317"/>
                    <a:pt x="149219" y="125062"/>
                  </a:cubicBezTo>
                  <a:cubicBezTo>
                    <a:pt x="154479" y="124806"/>
                    <a:pt x="158705" y="120925"/>
                    <a:pt x="159433" y="115716"/>
                  </a:cubicBezTo>
                  <a:cubicBezTo>
                    <a:pt x="160186" y="110289"/>
                    <a:pt x="164885" y="106076"/>
                    <a:pt x="170516" y="106076"/>
                  </a:cubicBezTo>
                  <a:lnTo>
                    <a:pt x="172622" y="106076"/>
                  </a:lnTo>
                  <a:cubicBezTo>
                    <a:pt x="172546" y="90244"/>
                    <a:pt x="172967" y="68551"/>
                    <a:pt x="172967" y="42160"/>
                  </a:cubicBez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4" name="Freeform: Shape 103">
              <a:extLst>
                <a:ext uri="{FF2B5EF4-FFF2-40B4-BE49-F238E27FC236}">
                  <a16:creationId xmlns:a16="http://schemas.microsoft.com/office/drawing/2014/main" id="{35272BC1-9445-4173-8E3F-18BBB55C2852}"/>
                </a:ext>
              </a:extLst>
            </p:cNvPr>
            <p:cNvSpPr/>
            <p:nvPr/>
          </p:nvSpPr>
          <p:spPr>
            <a:xfrm>
              <a:off x="6624588" y="28994"/>
              <a:ext cx="314091" cy="242590"/>
            </a:xfrm>
            <a:custGeom>
              <a:avLst/>
              <a:gdLst>
                <a:gd name="connsiteX0" fmla="*/ 115588 w 314090"/>
                <a:gd name="connsiteY0" fmla="*/ 0 h 242590"/>
                <a:gd name="connsiteX1" fmla="*/ 87716 w 314090"/>
                <a:gd name="connsiteY1" fmla="*/ 27872 h 242590"/>
                <a:gd name="connsiteX2" fmla="*/ 87716 w 314090"/>
                <a:gd name="connsiteY2" fmla="*/ 59575 h 242590"/>
                <a:gd name="connsiteX3" fmla="*/ 68781 w 314090"/>
                <a:gd name="connsiteY3" fmla="*/ 59575 h 242590"/>
                <a:gd name="connsiteX4" fmla="*/ 40908 w 314090"/>
                <a:gd name="connsiteY4" fmla="*/ 87447 h 242590"/>
                <a:gd name="connsiteX5" fmla="*/ 40908 w 314090"/>
                <a:gd name="connsiteY5" fmla="*/ 142962 h 242590"/>
                <a:gd name="connsiteX6" fmla="*/ 35967 w 314090"/>
                <a:gd name="connsiteY6" fmla="*/ 144520 h 242590"/>
                <a:gd name="connsiteX7" fmla="*/ 31562 w 314090"/>
                <a:gd name="connsiteY7" fmla="*/ 146154 h 242590"/>
                <a:gd name="connsiteX8" fmla="*/ 21782 w 314090"/>
                <a:gd name="connsiteY8" fmla="*/ 157250 h 242590"/>
                <a:gd name="connsiteX9" fmla="*/ 21782 w 314090"/>
                <a:gd name="connsiteY9" fmla="*/ 193191 h 242590"/>
                <a:gd name="connsiteX10" fmla="*/ 10980 w 314090"/>
                <a:gd name="connsiteY10" fmla="*/ 204044 h 242590"/>
                <a:gd name="connsiteX11" fmla="*/ 0 w 314090"/>
                <a:gd name="connsiteY11" fmla="*/ 215229 h 242590"/>
                <a:gd name="connsiteX12" fmla="*/ 0 w 314090"/>
                <a:gd name="connsiteY12" fmla="*/ 231853 h 242590"/>
                <a:gd name="connsiteX13" fmla="*/ 11185 w 314090"/>
                <a:gd name="connsiteY13" fmla="*/ 243037 h 242590"/>
                <a:gd name="connsiteX14" fmla="*/ 48812 w 314090"/>
                <a:gd name="connsiteY14" fmla="*/ 243037 h 242590"/>
                <a:gd name="connsiteX15" fmla="*/ 59984 w 314090"/>
                <a:gd name="connsiteY15" fmla="*/ 232338 h 242590"/>
                <a:gd name="connsiteX16" fmla="*/ 70722 w 314090"/>
                <a:gd name="connsiteY16" fmla="*/ 221945 h 242590"/>
                <a:gd name="connsiteX17" fmla="*/ 81715 w 314090"/>
                <a:gd name="connsiteY17" fmla="*/ 212037 h 242590"/>
                <a:gd name="connsiteX18" fmla="*/ 92210 w 314090"/>
                <a:gd name="connsiteY18" fmla="*/ 202269 h 242590"/>
                <a:gd name="connsiteX19" fmla="*/ 94930 w 314090"/>
                <a:gd name="connsiteY19" fmla="*/ 202269 h 242590"/>
                <a:gd name="connsiteX20" fmla="*/ 105782 w 314090"/>
                <a:gd name="connsiteY20" fmla="*/ 213122 h 242590"/>
                <a:gd name="connsiteX21" fmla="*/ 105782 w 314090"/>
                <a:gd name="connsiteY21" fmla="*/ 188276 h 242590"/>
                <a:gd name="connsiteX22" fmla="*/ 105782 w 314090"/>
                <a:gd name="connsiteY22" fmla="*/ 177270 h 242590"/>
                <a:gd name="connsiteX23" fmla="*/ 105782 w 314090"/>
                <a:gd name="connsiteY23" fmla="*/ 142899 h 242590"/>
                <a:gd name="connsiteX24" fmla="*/ 105616 w 314090"/>
                <a:gd name="connsiteY24" fmla="*/ 142899 h 242590"/>
                <a:gd name="connsiteX25" fmla="*/ 105616 w 314090"/>
                <a:gd name="connsiteY25" fmla="*/ 117465 h 242590"/>
                <a:gd name="connsiteX26" fmla="*/ 106344 w 314090"/>
                <a:gd name="connsiteY26" fmla="*/ 117465 h 242590"/>
                <a:gd name="connsiteX27" fmla="*/ 119023 w 314090"/>
                <a:gd name="connsiteY27" fmla="*/ 107250 h 242590"/>
                <a:gd name="connsiteX28" fmla="*/ 151364 w 314090"/>
                <a:gd name="connsiteY28" fmla="*/ 107250 h 242590"/>
                <a:gd name="connsiteX29" fmla="*/ 151364 w 314090"/>
                <a:gd name="connsiteY29" fmla="*/ 67466 h 242590"/>
                <a:gd name="connsiteX30" fmla="*/ 164349 w 314090"/>
                <a:gd name="connsiteY30" fmla="*/ 54481 h 242590"/>
                <a:gd name="connsiteX31" fmla="*/ 192157 w 314090"/>
                <a:gd name="connsiteY31" fmla="*/ 54481 h 242590"/>
                <a:gd name="connsiteX32" fmla="*/ 231176 w 314090"/>
                <a:gd name="connsiteY32" fmla="*/ 54481 h 242590"/>
                <a:gd name="connsiteX33" fmla="*/ 280971 w 314090"/>
                <a:gd name="connsiteY33" fmla="*/ 54481 h 242590"/>
                <a:gd name="connsiteX34" fmla="*/ 293318 w 314090"/>
                <a:gd name="connsiteY34" fmla="*/ 42134 h 242590"/>
                <a:gd name="connsiteX35" fmla="*/ 293318 w 314090"/>
                <a:gd name="connsiteY35" fmla="*/ 38304 h 242590"/>
                <a:gd name="connsiteX36" fmla="*/ 314602 w 314090"/>
                <a:gd name="connsiteY36" fmla="*/ 38304 h 242590"/>
                <a:gd name="connsiteX37" fmla="*/ 314602 w 314090"/>
                <a:gd name="connsiteY37" fmla="*/ 0 h 242590"/>
                <a:gd name="connsiteX38" fmla="*/ 115588 w 314090"/>
                <a:gd name="connsiteY38" fmla="*/ 0 h 24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4090" h="242590">
                  <a:moveTo>
                    <a:pt x="115588" y="0"/>
                  </a:moveTo>
                  <a:cubicBezTo>
                    <a:pt x="100190" y="0"/>
                    <a:pt x="87716" y="12487"/>
                    <a:pt x="87716" y="27872"/>
                  </a:cubicBezTo>
                  <a:lnTo>
                    <a:pt x="87716" y="59575"/>
                  </a:lnTo>
                  <a:lnTo>
                    <a:pt x="68781" y="59575"/>
                  </a:lnTo>
                  <a:cubicBezTo>
                    <a:pt x="53383" y="59575"/>
                    <a:pt x="40908" y="72062"/>
                    <a:pt x="40908" y="87447"/>
                  </a:cubicBezTo>
                  <a:lnTo>
                    <a:pt x="40908" y="142962"/>
                  </a:lnTo>
                  <a:cubicBezTo>
                    <a:pt x="39121" y="143103"/>
                    <a:pt x="37436" y="143639"/>
                    <a:pt x="35967" y="144520"/>
                  </a:cubicBezTo>
                  <a:cubicBezTo>
                    <a:pt x="34614" y="145337"/>
                    <a:pt x="33133" y="145950"/>
                    <a:pt x="31562" y="146154"/>
                  </a:cubicBezTo>
                  <a:cubicBezTo>
                    <a:pt x="26059" y="146844"/>
                    <a:pt x="21782" y="151568"/>
                    <a:pt x="21782" y="157250"/>
                  </a:cubicBezTo>
                  <a:lnTo>
                    <a:pt x="21782" y="193191"/>
                  </a:lnTo>
                  <a:cubicBezTo>
                    <a:pt x="21782" y="199128"/>
                    <a:pt x="16918" y="203942"/>
                    <a:pt x="10980" y="204044"/>
                  </a:cubicBezTo>
                  <a:cubicBezTo>
                    <a:pt x="4916" y="204146"/>
                    <a:pt x="0" y="209138"/>
                    <a:pt x="0" y="215229"/>
                  </a:cubicBezTo>
                  <a:lnTo>
                    <a:pt x="0" y="231853"/>
                  </a:lnTo>
                  <a:cubicBezTo>
                    <a:pt x="0" y="238007"/>
                    <a:pt x="5031" y="243037"/>
                    <a:pt x="11185" y="243037"/>
                  </a:cubicBezTo>
                  <a:lnTo>
                    <a:pt x="48812" y="243037"/>
                  </a:lnTo>
                  <a:cubicBezTo>
                    <a:pt x="54800" y="243037"/>
                    <a:pt x="59728" y="238262"/>
                    <a:pt x="59984" y="232338"/>
                  </a:cubicBezTo>
                  <a:cubicBezTo>
                    <a:pt x="60239" y="226567"/>
                    <a:pt x="64938" y="222009"/>
                    <a:pt x="70722" y="221945"/>
                  </a:cubicBezTo>
                  <a:cubicBezTo>
                    <a:pt x="76391" y="221881"/>
                    <a:pt x="81076" y="217553"/>
                    <a:pt x="81715" y="212037"/>
                  </a:cubicBezTo>
                  <a:cubicBezTo>
                    <a:pt x="82340" y="206547"/>
                    <a:pt x="86694" y="202269"/>
                    <a:pt x="92210" y="202269"/>
                  </a:cubicBezTo>
                  <a:lnTo>
                    <a:pt x="94930" y="202269"/>
                  </a:lnTo>
                  <a:cubicBezTo>
                    <a:pt x="100905" y="202269"/>
                    <a:pt x="105782" y="207147"/>
                    <a:pt x="105782" y="213122"/>
                  </a:cubicBezTo>
                  <a:lnTo>
                    <a:pt x="105782" y="188276"/>
                  </a:lnTo>
                  <a:lnTo>
                    <a:pt x="105782" y="177270"/>
                  </a:lnTo>
                  <a:lnTo>
                    <a:pt x="105782" y="142899"/>
                  </a:lnTo>
                  <a:lnTo>
                    <a:pt x="105616" y="142899"/>
                  </a:lnTo>
                  <a:lnTo>
                    <a:pt x="105616" y="117465"/>
                  </a:lnTo>
                  <a:lnTo>
                    <a:pt x="106344" y="117465"/>
                  </a:lnTo>
                  <a:cubicBezTo>
                    <a:pt x="107608" y="111630"/>
                    <a:pt x="112805" y="107250"/>
                    <a:pt x="119023" y="107250"/>
                  </a:cubicBezTo>
                  <a:lnTo>
                    <a:pt x="151364" y="107250"/>
                  </a:lnTo>
                  <a:lnTo>
                    <a:pt x="151364" y="67466"/>
                  </a:lnTo>
                  <a:cubicBezTo>
                    <a:pt x="151364" y="60303"/>
                    <a:pt x="157173" y="54481"/>
                    <a:pt x="164349" y="54481"/>
                  </a:cubicBezTo>
                  <a:lnTo>
                    <a:pt x="192157" y="54481"/>
                  </a:lnTo>
                  <a:lnTo>
                    <a:pt x="231176" y="54481"/>
                  </a:lnTo>
                  <a:lnTo>
                    <a:pt x="280971" y="54481"/>
                  </a:lnTo>
                  <a:cubicBezTo>
                    <a:pt x="287789" y="54481"/>
                    <a:pt x="293318" y="48952"/>
                    <a:pt x="293318" y="42134"/>
                  </a:cubicBezTo>
                  <a:lnTo>
                    <a:pt x="293318" y="38304"/>
                  </a:lnTo>
                  <a:lnTo>
                    <a:pt x="314602" y="38304"/>
                  </a:lnTo>
                  <a:lnTo>
                    <a:pt x="314602" y="0"/>
                  </a:lnTo>
                  <a:lnTo>
                    <a:pt x="115588" y="0"/>
                  </a:lnTo>
                  <a:close/>
                </a:path>
              </a:pathLst>
            </a:custGeom>
            <a:solidFill>
              <a:srgbClr val="575A1A"/>
            </a:solid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65244743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marL="0" indent="0" algn="l" rtl="0" eaLnBrk="1" fontAlgn="base" hangingPunct="1">
        <a:spcBef>
          <a:spcPct val="0"/>
        </a:spcBef>
        <a:spcAft>
          <a:spcPct val="0"/>
        </a:spcAft>
        <a:defRPr sz="1200" b="0" i="0">
          <a:solidFill>
            <a:srgbClr val="575A1A"/>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108">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108"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108">
          <a:solidFill>
            <a:schemeClr val="bg2"/>
          </a:solidFill>
          <a:latin typeface="+mj-lt"/>
          <a:ea typeface="MS PGothic"/>
          <a:cs typeface="Arial" pitchFamily="34" charset="0"/>
        </a:defRPr>
      </a:lvl4pPr>
      <a:lvl5pPr algn="l" rtl="0" eaLnBrk="1" fontAlgn="base" hangingPunct="1">
        <a:spcBef>
          <a:spcPct val="0"/>
        </a:spcBef>
        <a:spcAft>
          <a:spcPct val="0"/>
        </a:spcAft>
        <a:defRPr sz="1108">
          <a:solidFill>
            <a:schemeClr val="bg2"/>
          </a:solidFill>
          <a:latin typeface="+mj-lt"/>
          <a:ea typeface="MS PGothic"/>
          <a:cs typeface="Arial" pitchFamily="34" charset="0"/>
        </a:defRPr>
      </a:lvl5pPr>
      <a:lvl6pPr marL="304827" algn="l" rtl="0" eaLnBrk="1" fontAlgn="base" hangingPunct="1">
        <a:spcBef>
          <a:spcPct val="0"/>
        </a:spcBef>
        <a:spcAft>
          <a:spcPct val="0"/>
        </a:spcAft>
        <a:defRPr sz="1108">
          <a:solidFill>
            <a:schemeClr val="bg2"/>
          </a:solidFill>
          <a:latin typeface="+mj-lt"/>
        </a:defRPr>
      </a:lvl6pPr>
      <a:lvl7pPr marL="609654" algn="ctr" rtl="0" eaLnBrk="1" fontAlgn="base" hangingPunct="1">
        <a:spcBef>
          <a:spcPct val="0"/>
        </a:spcBef>
        <a:spcAft>
          <a:spcPct val="0"/>
        </a:spcAft>
        <a:defRPr sz="1108">
          <a:solidFill>
            <a:schemeClr val="bg2"/>
          </a:solidFill>
          <a:latin typeface="+mj-lt"/>
        </a:defRPr>
      </a:lvl7pPr>
      <a:lvl8pPr marL="914481" algn="ctr" rtl="0" eaLnBrk="1" fontAlgn="base" hangingPunct="1">
        <a:spcBef>
          <a:spcPct val="0"/>
        </a:spcBef>
        <a:spcAft>
          <a:spcPct val="0"/>
        </a:spcAft>
        <a:defRPr sz="1108">
          <a:solidFill>
            <a:schemeClr val="bg2"/>
          </a:solidFill>
          <a:latin typeface="+mj-lt"/>
        </a:defRPr>
      </a:lvl8pPr>
      <a:lvl9pPr marL="1219308" algn="l" rtl="0" eaLnBrk="1" fontAlgn="base" hangingPunct="1">
        <a:spcBef>
          <a:spcPct val="0"/>
        </a:spcBef>
        <a:spcAft>
          <a:spcPct val="0"/>
        </a:spcAft>
        <a:defRPr sz="692">
          <a:solidFill>
            <a:schemeClr val="bg2"/>
          </a:solidFill>
          <a:latin typeface="+mj-lt"/>
        </a:defRPr>
      </a:lvl9pPr>
    </p:titleStyle>
    <p:bodyStyle>
      <a:lvl1pPr marL="0" indent="0" algn="l" rtl="0" eaLnBrk="1" fontAlgn="base" hangingPunct="1">
        <a:spcBef>
          <a:spcPts val="277"/>
        </a:spcBef>
        <a:spcAft>
          <a:spcPct val="0"/>
        </a:spcAft>
        <a:buClrTx/>
        <a:buSzPct val="100000"/>
        <a:buFont typeface="Arial" panose="020B0604020202020204" pitchFamily="34" charset="0"/>
        <a:buNone/>
        <a:defRPr sz="969" b="0" i="0">
          <a:solidFill>
            <a:srgbClr val="575A1A"/>
          </a:solidFill>
          <a:latin typeface="+mn-lt"/>
          <a:ea typeface="Arial Unicode MS" panose="020B0604020202020204" pitchFamily="34" charset="-128"/>
          <a:cs typeface="Arial" panose="020B0604020202020204" pitchFamily="34" charset="0"/>
        </a:defRPr>
      </a:lvl1pPr>
      <a:lvl2pPr marL="197837" marR="0" indent="-197837" algn="l" defTabSz="633078" rtl="0" eaLnBrk="1" fontAlgn="base" latinLnBrk="0" hangingPunct="1">
        <a:lnSpc>
          <a:spcPct val="100000"/>
        </a:lnSpc>
        <a:spcBef>
          <a:spcPts val="277"/>
        </a:spcBef>
        <a:spcAft>
          <a:spcPct val="0"/>
        </a:spcAft>
        <a:buClr>
          <a:srgbClr val="B0B73A"/>
        </a:buClr>
        <a:buSzPct val="70000"/>
        <a:buFont typeface="Wingdings" panose="05000000000000000000" pitchFamily="2" charset="2"/>
        <a:buChar char="l"/>
        <a:tabLst/>
        <a:defRPr sz="831"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378089" indent="-184648" algn="l" rtl="0" eaLnBrk="1" fontAlgn="base" hangingPunct="1">
        <a:spcBef>
          <a:spcPts val="277"/>
        </a:spcBef>
        <a:spcAft>
          <a:spcPct val="0"/>
        </a:spcAft>
        <a:buClrTx/>
        <a:buSzPct val="65000"/>
        <a:buFont typeface="Wingdings" panose="05000000000000000000" pitchFamily="2" charset="2"/>
        <a:buChar char="¡"/>
        <a:defRPr sz="831"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558339" indent="-184648" algn="l" rtl="0" eaLnBrk="1" fontAlgn="base" hangingPunct="1">
        <a:spcBef>
          <a:spcPts val="277"/>
        </a:spcBef>
        <a:spcAft>
          <a:spcPct val="0"/>
        </a:spcAft>
        <a:buClrTx/>
        <a:buFont typeface="Wingdings" pitchFamily="2" charset="2"/>
        <a:buChar char="§"/>
        <a:defRPr sz="831"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769366" indent="-202234" algn="l" rtl="0" eaLnBrk="1" fontAlgn="base" hangingPunct="1">
        <a:spcBef>
          <a:spcPts val="277"/>
        </a:spcBef>
        <a:spcAft>
          <a:spcPct val="0"/>
        </a:spcAft>
        <a:buClrTx/>
        <a:buFont typeface="Arial" panose="020B0604020202020204" pitchFamily="34" charset="0"/>
        <a:buChar char="‒"/>
        <a:defRPr sz="831">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993581" indent="-215422" algn="l" rtl="0" eaLnBrk="1" fontAlgn="base" hangingPunct="1">
        <a:spcBef>
          <a:spcPts val="277"/>
        </a:spcBef>
        <a:spcAft>
          <a:spcPct val="0"/>
        </a:spcAft>
        <a:buClrTx/>
        <a:buFont typeface="Arial" panose="020B0604020202020204" pitchFamily="34" charset="0"/>
        <a:buChar char="‒"/>
        <a:defRPr sz="831">
          <a:solidFill>
            <a:schemeClr val="tx1">
              <a:lumMod val="65000"/>
              <a:lumOff val="35000"/>
            </a:schemeClr>
          </a:solidFill>
          <a:latin typeface="+mn-lt"/>
          <a:ea typeface="ＭＳ Ｐゴシック" pitchFamily="-64" charset="-128"/>
        </a:defRPr>
      </a:lvl6pPr>
      <a:lvl7pPr marL="1981375" indent="-152414" algn="l" rtl="0" eaLnBrk="1" fontAlgn="base" hangingPunct="1">
        <a:spcBef>
          <a:spcPts val="277"/>
        </a:spcBef>
        <a:spcAft>
          <a:spcPct val="0"/>
        </a:spcAft>
        <a:buChar char="»"/>
        <a:defRPr sz="761">
          <a:solidFill>
            <a:schemeClr val="tx1">
              <a:lumMod val="65000"/>
              <a:lumOff val="35000"/>
            </a:schemeClr>
          </a:solidFill>
          <a:latin typeface="+mn-lt"/>
          <a:ea typeface="ＭＳ Ｐゴシック" pitchFamily="-64" charset="-128"/>
        </a:defRPr>
      </a:lvl7pPr>
      <a:lvl8pPr marL="2286203" indent="-152414" algn="l" rtl="0" eaLnBrk="1" fontAlgn="base" hangingPunct="1">
        <a:spcBef>
          <a:spcPts val="277"/>
        </a:spcBef>
        <a:spcAft>
          <a:spcPct val="0"/>
        </a:spcAft>
        <a:buChar char="»"/>
        <a:defRPr sz="761">
          <a:solidFill>
            <a:schemeClr val="tx1">
              <a:lumMod val="65000"/>
              <a:lumOff val="35000"/>
            </a:schemeClr>
          </a:solidFill>
          <a:latin typeface="+mn-lt"/>
          <a:ea typeface="ＭＳ Ｐゴシック" pitchFamily="-64" charset="-128"/>
        </a:defRPr>
      </a:lvl8pPr>
      <a:lvl9pPr marL="2591030" indent="-152414" algn="l" rtl="0" eaLnBrk="1" fontAlgn="base" hangingPunct="1">
        <a:spcBef>
          <a:spcPts val="277"/>
        </a:spcBef>
        <a:spcAft>
          <a:spcPct val="0"/>
        </a:spcAft>
        <a:buChar char="»"/>
        <a:defRPr sz="761">
          <a:solidFill>
            <a:schemeClr val="tx1">
              <a:lumMod val="65000"/>
              <a:lumOff val="35000"/>
            </a:schemeClr>
          </a:solidFill>
          <a:latin typeface="+mn-lt"/>
          <a:ea typeface="ＭＳ Ｐゴシック" pitchFamily="-64" charset="-128"/>
        </a:defRPr>
      </a:lvl9pPr>
    </p:bodyStyle>
    <p:otherStyle>
      <a:defPPr>
        <a:defRPr lang="fr-FR"/>
      </a:defPPr>
      <a:lvl1pPr marL="0" algn="l" defTabSz="304827" rtl="0" eaLnBrk="1" latinLnBrk="0" hangingPunct="1">
        <a:defRPr sz="1200" kern="1200">
          <a:solidFill>
            <a:schemeClr val="tx1"/>
          </a:solidFill>
          <a:latin typeface="+mn-lt"/>
          <a:ea typeface="+mn-ea"/>
          <a:cs typeface="+mn-cs"/>
        </a:defRPr>
      </a:lvl1pPr>
      <a:lvl2pPr marL="304827" algn="l" defTabSz="304827" rtl="0" eaLnBrk="1" latinLnBrk="0" hangingPunct="1">
        <a:defRPr sz="1200" kern="1200">
          <a:solidFill>
            <a:schemeClr val="tx1"/>
          </a:solidFill>
          <a:latin typeface="+mn-lt"/>
          <a:ea typeface="+mn-ea"/>
          <a:cs typeface="+mn-cs"/>
        </a:defRPr>
      </a:lvl2pPr>
      <a:lvl3pPr marL="609654" algn="l" defTabSz="304827" rtl="0" eaLnBrk="1" latinLnBrk="0" hangingPunct="1">
        <a:defRPr sz="1200" kern="1200">
          <a:solidFill>
            <a:schemeClr val="tx1"/>
          </a:solidFill>
          <a:latin typeface="+mn-lt"/>
          <a:ea typeface="+mn-ea"/>
          <a:cs typeface="+mn-cs"/>
        </a:defRPr>
      </a:lvl3pPr>
      <a:lvl4pPr marL="914481" algn="l" defTabSz="304827" rtl="0" eaLnBrk="1" latinLnBrk="0" hangingPunct="1">
        <a:defRPr sz="1200" kern="1200">
          <a:solidFill>
            <a:schemeClr val="tx1"/>
          </a:solidFill>
          <a:latin typeface="+mn-lt"/>
          <a:ea typeface="+mn-ea"/>
          <a:cs typeface="+mn-cs"/>
        </a:defRPr>
      </a:lvl4pPr>
      <a:lvl5pPr marL="1219308" algn="l" defTabSz="304827" rtl="0" eaLnBrk="1" latinLnBrk="0" hangingPunct="1">
        <a:defRPr sz="1200" kern="1200">
          <a:solidFill>
            <a:schemeClr val="tx1"/>
          </a:solidFill>
          <a:latin typeface="+mn-lt"/>
          <a:ea typeface="+mn-ea"/>
          <a:cs typeface="+mn-cs"/>
        </a:defRPr>
      </a:lvl5pPr>
      <a:lvl6pPr marL="1524135" algn="l" defTabSz="304827" rtl="0" eaLnBrk="1" latinLnBrk="0" hangingPunct="1">
        <a:defRPr sz="1200" kern="1200">
          <a:solidFill>
            <a:schemeClr val="tx1"/>
          </a:solidFill>
          <a:latin typeface="+mn-lt"/>
          <a:ea typeface="+mn-ea"/>
          <a:cs typeface="+mn-cs"/>
        </a:defRPr>
      </a:lvl6pPr>
      <a:lvl7pPr marL="1828962" algn="l" defTabSz="304827" rtl="0" eaLnBrk="1" latinLnBrk="0" hangingPunct="1">
        <a:defRPr sz="1200" kern="1200">
          <a:solidFill>
            <a:schemeClr val="tx1"/>
          </a:solidFill>
          <a:latin typeface="+mn-lt"/>
          <a:ea typeface="+mn-ea"/>
          <a:cs typeface="+mn-cs"/>
        </a:defRPr>
      </a:lvl7pPr>
      <a:lvl8pPr marL="2133789" algn="l" defTabSz="304827" rtl="0" eaLnBrk="1" latinLnBrk="0" hangingPunct="1">
        <a:defRPr sz="1200" kern="1200">
          <a:solidFill>
            <a:schemeClr val="tx1"/>
          </a:solidFill>
          <a:latin typeface="+mn-lt"/>
          <a:ea typeface="+mn-ea"/>
          <a:cs typeface="+mn-cs"/>
        </a:defRPr>
      </a:lvl8pPr>
      <a:lvl9pPr marL="2438616" algn="l" defTabSz="304827"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3"/>
        </a:solidFill>
        <a:effectLst/>
      </p:bgPr>
    </p:bg>
    <p:spTree>
      <p:nvGrpSpPr>
        <p:cNvPr id="1" name=""/>
        <p:cNvGrpSpPr/>
        <p:nvPr/>
      </p:nvGrpSpPr>
      <p:grpSpPr>
        <a:xfrm>
          <a:off x="0" y="0"/>
          <a:ext cx="0" cy="0"/>
          <a:chOff x="0" y="0"/>
          <a:chExt cx="0" cy="0"/>
        </a:xfrm>
      </p:grpSpPr>
      <p:sp>
        <p:nvSpPr>
          <p:cNvPr id="14" name="Obdélník 13"/>
          <p:cNvSpPr/>
          <p:nvPr userDrawn="1"/>
        </p:nvSpPr>
        <p:spPr>
          <a:xfrm>
            <a:off x="8953200" y="6602400"/>
            <a:ext cx="191700" cy="255600"/>
          </a:xfrm>
          <a:prstGeom prst="rect">
            <a:avLst/>
          </a:prstGeom>
          <a:solidFill>
            <a:srgbClr val="00A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013"/>
          </a:p>
        </p:txBody>
      </p:sp>
      <p:sp>
        <p:nvSpPr>
          <p:cNvPr id="2" name="Title Placeholder 1"/>
          <p:cNvSpPr>
            <a:spLocks noGrp="1"/>
          </p:cNvSpPr>
          <p:nvPr>
            <p:ph type="title"/>
          </p:nvPr>
        </p:nvSpPr>
        <p:spPr>
          <a:xfrm>
            <a:off x="360000" y="2"/>
            <a:ext cx="8424000" cy="813415"/>
          </a:xfrm>
          <a:prstGeom prst="rect">
            <a:avLst/>
          </a:prstGeom>
          <a:noFill/>
          <a:effectLst/>
        </p:spPr>
        <p:txBody>
          <a:bodyPr vert="horz" lIns="0" tIns="45720" rIns="0" bIns="45720" rtlCol="0" anchor="b">
            <a:normAutofit/>
          </a:bodyPr>
          <a:lstStyle/>
          <a:p>
            <a:r>
              <a:rPr lang="en-US"/>
              <a:t>Click to add title</a:t>
            </a:r>
            <a:endParaRPr lang="cs-CZ"/>
          </a:p>
        </p:txBody>
      </p:sp>
      <p:sp>
        <p:nvSpPr>
          <p:cNvPr id="3" name="Text Placeholder 2"/>
          <p:cNvSpPr>
            <a:spLocks noGrp="1"/>
          </p:cNvSpPr>
          <p:nvPr>
            <p:ph type="body" idx="1"/>
          </p:nvPr>
        </p:nvSpPr>
        <p:spPr>
          <a:xfrm>
            <a:off x="360000" y="1080000"/>
            <a:ext cx="8424000" cy="5472000"/>
          </a:xfrm>
          <a:prstGeom prst="rect">
            <a:avLst/>
          </a:prstGeom>
        </p:spPr>
        <p:txBody>
          <a:bodyPr vert="horz" lIns="0" tIns="0" rIns="0" bIns="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5821200" y="6559121"/>
            <a:ext cx="3086100" cy="365125"/>
          </a:xfrm>
          <a:prstGeom prst="rect">
            <a:avLst/>
          </a:prstGeom>
        </p:spPr>
        <p:txBody>
          <a:bodyPr vert="horz" lIns="91440" tIns="45720" rIns="91440" bIns="45720" rtlCol="0" anchor="ctr"/>
          <a:lstStyle>
            <a:lvl1pPr algn="r">
              <a:defRPr sz="506" b="0">
                <a:solidFill>
                  <a:srgbClr val="5D6C82"/>
                </a:solidFill>
              </a:defRPr>
            </a:lvl1pPr>
          </a:lstStyle>
          <a:p>
            <a:r>
              <a:rPr lang="en-US" noProof="0"/>
              <a:t>Copyright © Unicorn Systems a.s.</a:t>
            </a:r>
          </a:p>
        </p:txBody>
      </p:sp>
      <p:sp>
        <p:nvSpPr>
          <p:cNvPr id="6" name="Slide Number Placeholder 5"/>
          <p:cNvSpPr>
            <a:spLocks noGrp="1"/>
          </p:cNvSpPr>
          <p:nvPr>
            <p:ph type="sldNum" sz="quarter" idx="4"/>
          </p:nvPr>
        </p:nvSpPr>
        <p:spPr>
          <a:xfrm>
            <a:off x="8896500" y="6550329"/>
            <a:ext cx="303351" cy="365125"/>
          </a:xfrm>
          <a:prstGeom prst="rect">
            <a:avLst/>
          </a:prstGeom>
        </p:spPr>
        <p:txBody>
          <a:bodyPr vert="horz" lIns="91440" tIns="45720" rIns="91440" bIns="45720" rtlCol="0" anchor="ctr"/>
          <a:lstStyle>
            <a:lvl1pPr algn="ctr">
              <a:defRPr sz="506" b="1">
                <a:solidFill>
                  <a:schemeClr val="bg1"/>
                </a:solidFill>
              </a:defRPr>
            </a:lvl1pPr>
          </a:lstStyle>
          <a:p>
            <a:fld id="{851BEBC6-AE21-4DEA-82CA-C5B7C0A09A9D}" type="slidenum">
              <a:rPr lang="cs-CZ" smtClean="0"/>
              <a:pPr/>
              <a:t>‹#›</a:t>
            </a:fld>
            <a:endParaRPr lang="cs-CZ"/>
          </a:p>
        </p:txBody>
      </p:sp>
      <p:cxnSp>
        <p:nvCxnSpPr>
          <p:cNvPr id="8" name="Přímá spojnice 7"/>
          <p:cNvCxnSpPr/>
          <p:nvPr userDrawn="1"/>
        </p:nvCxnSpPr>
        <p:spPr>
          <a:xfrm>
            <a:off x="359999" y="842615"/>
            <a:ext cx="8784000" cy="0"/>
          </a:xfrm>
          <a:prstGeom prst="line">
            <a:avLst/>
          </a:prstGeom>
          <a:ln w="50800">
            <a:solidFill>
              <a:srgbClr val="00AFFF"/>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2"/>
          </p:nvPr>
        </p:nvSpPr>
        <p:spPr>
          <a:xfrm>
            <a:off x="540000" y="6356358"/>
            <a:ext cx="2057400" cy="365125"/>
          </a:xfrm>
          <a:prstGeom prst="rect">
            <a:avLst/>
          </a:prstGeom>
        </p:spPr>
        <p:txBody>
          <a:bodyPr vert="horz" lIns="0" tIns="45720" rIns="0" bIns="45720" rtlCol="0" anchor="ctr"/>
          <a:lstStyle>
            <a:lvl1pPr algn="l">
              <a:defRPr sz="1050">
                <a:solidFill>
                  <a:schemeClr val="bg1"/>
                </a:solidFill>
              </a:defRPr>
            </a:lvl1pPr>
          </a:lstStyle>
          <a:p>
            <a:fld id="{20F279B5-95C6-4955-98E7-8DC5AFFDF942}" type="datetime1">
              <a:rPr lang="en-US" smtClean="0"/>
              <a:t>6/7/2023</a:t>
            </a:fld>
            <a:endParaRPr lang="cs-CZ"/>
          </a:p>
        </p:txBody>
      </p:sp>
    </p:spTree>
    <p:extLst>
      <p:ext uri="{BB962C8B-B14F-4D97-AF65-F5344CB8AC3E}">
        <p14:creationId xmlns:p14="http://schemas.microsoft.com/office/powerpoint/2010/main" val="234221495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p:hf hdr="0"/>
  <p:txStyles>
    <p:titleStyle>
      <a:lvl1pPr algn="l" defTabSz="514337" rtl="0" eaLnBrk="1" latinLnBrk="0" hangingPunct="1">
        <a:lnSpc>
          <a:spcPct val="100000"/>
        </a:lnSpc>
        <a:spcBef>
          <a:spcPct val="0"/>
        </a:spcBef>
        <a:spcAft>
          <a:spcPts val="0"/>
        </a:spcAft>
        <a:buNone/>
        <a:defRPr sz="2100" b="1" kern="1200" cap="none" baseline="0">
          <a:solidFill>
            <a:srgbClr val="002D96"/>
          </a:solidFill>
          <a:latin typeface="+mj-lt"/>
          <a:ea typeface="+mj-ea"/>
          <a:cs typeface="+mj-cs"/>
        </a:defRPr>
      </a:lvl1pPr>
    </p:titleStyle>
    <p:bodyStyle>
      <a:lvl1pPr marL="216000" indent="-216000" algn="l" defTabSz="514337" rtl="0" eaLnBrk="1" latinLnBrk="0" hangingPunct="1">
        <a:lnSpc>
          <a:spcPct val="100000"/>
        </a:lnSpc>
        <a:spcBef>
          <a:spcPts val="0"/>
        </a:spcBef>
        <a:spcAft>
          <a:spcPts val="375"/>
        </a:spcAft>
        <a:buClr>
          <a:srgbClr val="00AFFF"/>
        </a:buClr>
        <a:buSzPct val="75000"/>
        <a:buFont typeface="Wingdings" panose="05000000000000000000" pitchFamily="2" charset="2"/>
        <a:buChar char="n"/>
        <a:defRPr sz="1800" kern="1200" baseline="0">
          <a:solidFill>
            <a:srgbClr val="536278"/>
          </a:solidFill>
          <a:latin typeface="+mn-lt"/>
          <a:ea typeface="+mn-ea"/>
          <a:cs typeface="+mn-cs"/>
        </a:defRPr>
      </a:lvl1pPr>
      <a:lvl2pPr marL="432000" indent="-189000" algn="l" defTabSz="514337" rtl="0" eaLnBrk="1" latinLnBrk="0" hangingPunct="1">
        <a:lnSpc>
          <a:spcPct val="100000"/>
        </a:lnSpc>
        <a:spcBef>
          <a:spcPts val="0"/>
        </a:spcBef>
        <a:spcAft>
          <a:spcPts val="225"/>
        </a:spcAft>
        <a:buClr>
          <a:srgbClr val="001E8C"/>
        </a:buClr>
        <a:buSzPct val="75000"/>
        <a:buFont typeface="Wingdings" panose="05000000000000000000" pitchFamily="2" charset="2"/>
        <a:buChar char="n"/>
        <a:defRPr sz="1500" kern="1200" baseline="0">
          <a:solidFill>
            <a:srgbClr val="5D6C82"/>
          </a:solidFill>
          <a:latin typeface="+mn-lt"/>
          <a:ea typeface="+mn-ea"/>
          <a:cs typeface="+mn-cs"/>
        </a:defRPr>
      </a:lvl2pPr>
      <a:lvl3pPr marL="715500" indent="-175500" algn="l" defTabSz="514337" rtl="0" eaLnBrk="1" latinLnBrk="0" hangingPunct="1">
        <a:lnSpc>
          <a:spcPct val="100000"/>
        </a:lnSpc>
        <a:spcBef>
          <a:spcPts val="0"/>
        </a:spcBef>
        <a:spcAft>
          <a:spcPts val="225"/>
        </a:spcAft>
        <a:buClr>
          <a:srgbClr val="5D6C82"/>
        </a:buClr>
        <a:buSzPct val="75000"/>
        <a:buFont typeface="Wingdings" panose="05000000000000000000" pitchFamily="2" charset="2"/>
        <a:buChar char="n"/>
        <a:defRPr sz="1350" kern="1200" baseline="0">
          <a:solidFill>
            <a:srgbClr val="5D6C82"/>
          </a:solidFill>
          <a:latin typeface="+mn-lt"/>
          <a:ea typeface="+mn-ea"/>
          <a:cs typeface="+mn-cs"/>
        </a:defRPr>
      </a:lvl3pPr>
      <a:lvl4pPr marL="985500" indent="-148500" algn="l" defTabSz="514337" rtl="0" eaLnBrk="1" latinLnBrk="0" hangingPunct="1">
        <a:lnSpc>
          <a:spcPct val="100000"/>
        </a:lnSpc>
        <a:spcBef>
          <a:spcPts val="0"/>
        </a:spcBef>
        <a:spcAft>
          <a:spcPts val="150"/>
        </a:spcAft>
        <a:buClr>
          <a:srgbClr val="5D6C82"/>
        </a:buClr>
        <a:buSzPct val="75000"/>
        <a:buFont typeface="Wingdings" panose="05000000000000000000" pitchFamily="2" charset="2"/>
        <a:buChar char="n"/>
        <a:defRPr sz="1200" kern="1200" baseline="0">
          <a:solidFill>
            <a:srgbClr val="5D6C82"/>
          </a:solidFill>
          <a:latin typeface="+mn-lt"/>
          <a:ea typeface="+mn-ea"/>
          <a:cs typeface="+mn-cs"/>
        </a:defRPr>
      </a:lvl4pPr>
      <a:lvl5pPr marL="1269000" indent="-135000" algn="l" defTabSz="514337" rtl="0" eaLnBrk="1" latinLnBrk="0" hangingPunct="1">
        <a:lnSpc>
          <a:spcPct val="100000"/>
        </a:lnSpc>
        <a:spcBef>
          <a:spcPts val="0"/>
        </a:spcBef>
        <a:spcAft>
          <a:spcPts val="150"/>
        </a:spcAft>
        <a:buClr>
          <a:srgbClr val="5D6C82"/>
        </a:buClr>
        <a:buSzPct val="75000"/>
        <a:buFont typeface="Wingdings" panose="05000000000000000000" pitchFamily="2" charset="2"/>
        <a:buChar char="n"/>
        <a:defRPr sz="1050" kern="1200" baseline="0">
          <a:solidFill>
            <a:srgbClr val="5D6C82"/>
          </a:solidFill>
          <a:latin typeface="+mn-lt"/>
          <a:ea typeface="+mn-ea"/>
          <a:cs typeface="+mn-cs"/>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cs-CZ"/>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87.png"/><Relationship Id="rId3" Type="http://schemas.openxmlformats.org/officeDocument/2006/relationships/image" Target="../media/image80.jpeg"/><Relationship Id="rId7" Type="http://schemas.openxmlformats.org/officeDocument/2006/relationships/image" Target="../media/image83.png"/><Relationship Id="rId12" Type="http://schemas.openxmlformats.org/officeDocument/2006/relationships/image" Target="../media/image86.png"/><Relationship Id="rId2" Type="http://schemas.openxmlformats.org/officeDocument/2006/relationships/notesSlide" Target="../notesSlides/notesSlide1.xml"/><Relationship Id="rId16" Type="http://schemas.openxmlformats.org/officeDocument/2006/relationships/image" Target="../media/image90.png"/><Relationship Id="rId1" Type="http://schemas.openxmlformats.org/officeDocument/2006/relationships/slideLayout" Target="../slideLayouts/slideLayout1.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82.png"/><Relationship Id="rId15" Type="http://schemas.openxmlformats.org/officeDocument/2006/relationships/image" Target="../media/image89.png"/><Relationship Id="rId10" Type="http://schemas.openxmlformats.org/officeDocument/2006/relationships/image" Target="../media/image85.png"/><Relationship Id="rId4" Type="http://schemas.openxmlformats.org/officeDocument/2006/relationships/image" Target="../media/image81.png"/><Relationship Id="rId9" Type="http://schemas.openxmlformats.org/officeDocument/2006/relationships/image" Target="../media/image84.png"/><Relationship Id="rId14" Type="http://schemas.openxmlformats.org/officeDocument/2006/relationships/image" Target="../media/image88.png"/></Relationships>
</file>

<file path=ppt/slides/_rels/slide1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hyperlink" Target="https://consultations.entsoe.eu/markets/rr_survey_clearings/"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51520" y="1526927"/>
            <a:ext cx="3428918" cy="1470025"/>
          </a:xfrm>
        </p:spPr>
        <p:txBody>
          <a:bodyPr>
            <a:normAutofit fontScale="90000"/>
          </a:bodyPr>
          <a:lstStyle/>
          <a:p>
            <a:pPr lvl="0" algn="ctr">
              <a:spcBef>
                <a:spcPts val="0"/>
              </a:spcBef>
            </a:pPr>
            <a:r>
              <a:rPr lang="en-US" sz="4400" dirty="0">
                <a:solidFill>
                  <a:srgbClr val="1F497D"/>
                </a:solidFill>
                <a:ea typeface="+mn-ea"/>
                <a:cs typeface="Arial" pitchFamily="34" charset="0"/>
              </a:rPr>
              <a:t>TERRE</a:t>
            </a:r>
            <a:r>
              <a:rPr lang="en-US" sz="4000" dirty="0">
                <a:solidFill>
                  <a:srgbClr val="1F497D"/>
                </a:solidFill>
                <a:ea typeface="+mn-ea"/>
                <a:cs typeface="Arial" pitchFamily="34" charset="0"/>
              </a:rPr>
              <a:t> </a:t>
            </a:r>
            <a:br>
              <a:rPr lang="en-US" sz="4000" dirty="0">
                <a:solidFill>
                  <a:srgbClr val="1F497D"/>
                </a:solidFill>
                <a:ea typeface="+mn-ea"/>
                <a:cs typeface="Arial" pitchFamily="34" charset="0"/>
              </a:rPr>
            </a:br>
            <a:r>
              <a:rPr lang="en-US" sz="3100" i="1" dirty="0">
                <a:solidFill>
                  <a:prstClr val="black">
                    <a:lumMod val="65000"/>
                    <a:lumOff val="35000"/>
                  </a:prstClr>
                </a:solidFill>
                <a:ea typeface="+mn-ea"/>
                <a:cs typeface="Arial" pitchFamily="34" charset="0"/>
              </a:rPr>
              <a:t>T</a:t>
            </a:r>
            <a:r>
              <a:rPr lang="en-US" sz="3100" b="0" i="1" dirty="0">
                <a:solidFill>
                  <a:prstClr val="black">
                    <a:lumMod val="65000"/>
                    <a:lumOff val="35000"/>
                  </a:prstClr>
                </a:solidFill>
                <a:ea typeface="+mn-ea"/>
                <a:cs typeface="Arial" pitchFamily="34" charset="0"/>
              </a:rPr>
              <a:t>rans </a:t>
            </a:r>
            <a:r>
              <a:rPr lang="en-US" sz="3100" i="1" dirty="0">
                <a:solidFill>
                  <a:prstClr val="black">
                    <a:lumMod val="65000"/>
                    <a:lumOff val="35000"/>
                  </a:prstClr>
                </a:solidFill>
                <a:ea typeface="+mn-ea"/>
                <a:cs typeface="Arial" pitchFamily="34" charset="0"/>
              </a:rPr>
              <a:t>E</a:t>
            </a:r>
            <a:r>
              <a:rPr lang="en-US" sz="3100" b="0" i="1" dirty="0">
                <a:solidFill>
                  <a:prstClr val="black">
                    <a:lumMod val="65000"/>
                    <a:lumOff val="35000"/>
                  </a:prstClr>
                </a:solidFill>
                <a:ea typeface="+mn-ea"/>
                <a:cs typeface="Arial" pitchFamily="34" charset="0"/>
              </a:rPr>
              <a:t>uropean </a:t>
            </a:r>
            <a:r>
              <a:rPr lang="en-US" sz="3100" i="1" dirty="0">
                <a:solidFill>
                  <a:prstClr val="black">
                    <a:lumMod val="65000"/>
                    <a:lumOff val="35000"/>
                  </a:prstClr>
                </a:solidFill>
                <a:ea typeface="+mn-ea"/>
                <a:cs typeface="Arial" pitchFamily="34" charset="0"/>
              </a:rPr>
              <a:t>R</a:t>
            </a:r>
            <a:r>
              <a:rPr lang="en-US" sz="3100" b="0" i="1" dirty="0">
                <a:solidFill>
                  <a:prstClr val="black">
                    <a:lumMod val="65000"/>
                    <a:lumOff val="35000"/>
                  </a:prstClr>
                </a:solidFill>
                <a:ea typeface="+mn-ea"/>
                <a:cs typeface="Arial" pitchFamily="34" charset="0"/>
              </a:rPr>
              <a:t>eplacement </a:t>
            </a:r>
            <a:r>
              <a:rPr lang="en-US" sz="3100" i="1" dirty="0">
                <a:solidFill>
                  <a:prstClr val="black">
                    <a:lumMod val="65000"/>
                    <a:lumOff val="35000"/>
                  </a:prstClr>
                </a:solidFill>
                <a:ea typeface="+mn-ea"/>
                <a:cs typeface="Arial" pitchFamily="34" charset="0"/>
              </a:rPr>
              <a:t>R</a:t>
            </a:r>
            <a:r>
              <a:rPr lang="en-US" sz="3100" b="0" i="1" dirty="0">
                <a:solidFill>
                  <a:prstClr val="black">
                    <a:lumMod val="65000"/>
                    <a:lumOff val="35000"/>
                  </a:prstClr>
                </a:solidFill>
                <a:ea typeface="+mn-ea"/>
                <a:cs typeface="Arial" pitchFamily="34" charset="0"/>
              </a:rPr>
              <a:t>eserves </a:t>
            </a:r>
            <a:r>
              <a:rPr lang="en-US" sz="3100" i="1" dirty="0">
                <a:solidFill>
                  <a:prstClr val="black">
                    <a:lumMod val="65000"/>
                    <a:lumOff val="35000"/>
                  </a:prstClr>
                </a:solidFill>
                <a:ea typeface="+mn-ea"/>
                <a:cs typeface="Arial" pitchFamily="34" charset="0"/>
              </a:rPr>
              <a:t>E</a:t>
            </a:r>
            <a:r>
              <a:rPr lang="en-US" sz="3100" b="0" i="1" dirty="0">
                <a:solidFill>
                  <a:prstClr val="black">
                    <a:lumMod val="65000"/>
                    <a:lumOff val="35000"/>
                  </a:prstClr>
                </a:solidFill>
                <a:ea typeface="+mn-ea"/>
                <a:cs typeface="Arial" pitchFamily="34" charset="0"/>
              </a:rPr>
              <a:t>xchange</a:t>
            </a:r>
            <a:endParaRPr lang="en-US" i="1" dirty="0">
              <a:solidFill>
                <a:srgbClr val="F79646"/>
              </a:solidFill>
              <a:ea typeface="+mn-ea"/>
              <a:cs typeface="Arial" pitchFamily="34" charset="0"/>
            </a:endParaRPr>
          </a:p>
        </p:txBody>
      </p:sp>
      <p:sp>
        <p:nvSpPr>
          <p:cNvPr id="5" name="Titre 1"/>
          <p:cNvSpPr txBox="1">
            <a:spLocks/>
          </p:cNvSpPr>
          <p:nvPr/>
        </p:nvSpPr>
        <p:spPr bwMode="auto">
          <a:xfrm>
            <a:off x="417373" y="2730753"/>
            <a:ext cx="2797906" cy="3362543"/>
          </a:xfrm>
          <a:prstGeom prst="rect">
            <a:avLst/>
          </a:prstGeom>
          <a:noFill/>
          <a:ln w="9525">
            <a:noFill/>
            <a:miter lim="800000"/>
            <a:headEnd/>
            <a:tailEnd/>
          </a:ln>
        </p:spPr>
        <p:txBody>
          <a:bodyPr/>
          <a:lstStyle/>
          <a:p>
            <a:pPr algn="ctr"/>
            <a:endParaRPr lang="en-US" sz="2000" b="1" i="1" dirty="0">
              <a:solidFill>
                <a:schemeClr val="accent6"/>
              </a:solidFill>
              <a:latin typeface="+mj-lt"/>
              <a:cs typeface="Arial" pitchFamily="34" charset="0"/>
            </a:endParaRPr>
          </a:p>
          <a:p>
            <a:pPr algn="ctr"/>
            <a:endParaRPr lang="en-US" sz="2000" b="1" i="1" dirty="0">
              <a:solidFill>
                <a:schemeClr val="accent6"/>
              </a:solidFill>
              <a:latin typeface="+mj-lt"/>
              <a:cs typeface="Arial" pitchFamily="34" charset="0"/>
            </a:endParaRPr>
          </a:p>
          <a:p>
            <a:pPr algn="ctr"/>
            <a:r>
              <a:rPr lang="en-US" sz="2000" b="1" i="1" dirty="0">
                <a:solidFill>
                  <a:schemeClr val="accent6"/>
                </a:solidFill>
                <a:cs typeface="Arial" pitchFamily="34" charset="0"/>
              </a:rPr>
              <a:t>Stakeholder Workshop to exchange on the</a:t>
            </a:r>
          </a:p>
          <a:p>
            <a:pPr algn="ctr"/>
            <a:r>
              <a:rPr lang="en-US" sz="2000" b="1" i="1" dirty="0">
                <a:solidFill>
                  <a:schemeClr val="accent6"/>
                </a:solidFill>
                <a:cs typeface="Arial" pitchFamily="34" charset="0"/>
              </a:rPr>
              <a:t>public survey about the increase of the number of clearings in the RR process</a:t>
            </a:r>
          </a:p>
          <a:p>
            <a:pPr algn="ctr"/>
            <a:endParaRPr lang="en-US" sz="2000" b="1" dirty="0">
              <a:solidFill>
                <a:schemeClr val="accent6"/>
              </a:solidFill>
              <a:latin typeface="+mj-lt"/>
              <a:cs typeface="Arial" pitchFamily="34" charset="0"/>
            </a:endParaRPr>
          </a:p>
          <a:p>
            <a:pPr algn="ctr"/>
            <a:r>
              <a:rPr lang="en-US" sz="1600" i="1" dirty="0">
                <a:latin typeface="+mj-lt"/>
                <a:cs typeface="Arial" pitchFamily="34" charset="0"/>
              </a:rPr>
              <a:t>7</a:t>
            </a:r>
            <a:r>
              <a:rPr lang="en-US" sz="1600" i="1" baseline="30000" dirty="0">
                <a:latin typeface="+mj-lt"/>
                <a:cs typeface="Arial" pitchFamily="34" charset="0"/>
              </a:rPr>
              <a:t>th</a:t>
            </a:r>
            <a:r>
              <a:rPr lang="en-US" sz="1600" i="1" dirty="0">
                <a:latin typeface="+mj-lt"/>
                <a:cs typeface="Arial" pitchFamily="34" charset="0"/>
              </a:rPr>
              <a:t> June 2023 </a:t>
            </a:r>
          </a:p>
        </p:txBody>
      </p:sp>
      <p:pic>
        <p:nvPicPr>
          <p:cNvPr id="9" name="Picture 11"/>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287318" y="4221087"/>
            <a:ext cx="519704" cy="288031"/>
          </a:xfrm>
          <a:prstGeom prst="rect">
            <a:avLst/>
          </a:prstGeom>
          <a:noFill/>
          <a:ln w="9525">
            <a:noFill/>
            <a:miter lim="800000"/>
            <a:headEnd/>
            <a:tailEnd/>
          </a:ln>
        </p:spPr>
      </p:pic>
      <p:pic>
        <p:nvPicPr>
          <p:cNvPr id="10" name="Picture 9"/>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588368" y="3933056"/>
            <a:ext cx="514810" cy="506220"/>
          </a:xfrm>
          <a:prstGeom prst="rect">
            <a:avLst/>
          </a:prstGeom>
          <a:noFill/>
          <a:ln w="9525">
            <a:noFill/>
            <a:miter lim="800000"/>
            <a:headEnd/>
            <a:tailEnd/>
          </a:ln>
        </p:spPr>
      </p:pic>
      <p:pic>
        <p:nvPicPr>
          <p:cNvPr id="13" name="Picture 12">
            <a:extLst>
              <a:ext uri="{FF2B5EF4-FFF2-40B4-BE49-F238E27FC236}">
                <a16:creationId xmlns:a16="http://schemas.microsoft.com/office/drawing/2014/main" id="{B4CCCAD4-7CFD-42D6-8DC1-06C0EB1FAA0B}"/>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0" b="94595" l="0" r="32734">
                        <a14:foregroundMark x1="8633" y1="32432" x2="8633" y2="32432"/>
                        <a14:foregroundMark x1="22302" y1="43243" x2="22302" y2="43243"/>
                        <a14:foregroundMark x1="24820" y1="56757" x2="24820" y2="56757"/>
                        <a14:foregroundMark x1="29137" y1="32432" x2="29137" y2="32432"/>
                        <a14:foregroundMark x1="26978" y1="8108" x2="26978" y2="8108"/>
                        <a14:foregroundMark x1="20863" y1="83784" x2="20863" y2="83784"/>
                      </a14:backgroundRemoval>
                    </a14:imgEffect>
                  </a14:imgLayer>
                </a14:imgProps>
              </a:ext>
            </a:extLst>
          </a:blip>
          <a:srcRect t="-11295" r="66316" b="-1"/>
          <a:stretch/>
        </p:blipFill>
        <p:spPr>
          <a:xfrm>
            <a:off x="6588224" y="3573016"/>
            <a:ext cx="369565" cy="162521"/>
          </a:xfrm>
          <a:prstGeom prst="rect">
            <a:avLst/>
          </a:prstGeom>
        </p:spPr>
      </p:pic>
      <p:pic>
        <p:nvPicPr>
          <p:cNvPr id="14" name="Picture 13">
            <a:extLst>
              <a:ext uri="{FF2B5EF4-FFF2-40B4-BE49-F238E27FC236}">
                <a16:creationId xmlns:a16="http://schemas.microsoft.com/office/drawing/2014/main" id="{01EDCB41-C90E-45ED-9EC1-6ED588B3145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95122" l="893" r="98214">
                        <a14:foregroundMark x1="70536" y1="25610" x2="70536" y2="25610"/>
                        <a14:foregroundMark x1="30357" y1="76829" x2="30357" y2="76829"/>
                        <a14:foregroundMark x1="34821" y1="82927" x2="34821" y2="82927"/>
                        <a14:foregroundMark x1="46429" y1="80488" x2="46429" y2="80488"/>
                        <a14:foregroundMark x1="55357" y1="84146" x2="55357" y2="84146"/>
                        <a14:foregroundMark x1="64286" y1="79268" x2="64286" y2="79268"/>
                        <a14:foregroundMark x1="70536" y1="80488" x2="70536" y2="80488"/>
                        <a14:foregroundMark x1="21429" y1="80488" x2="21429" y2="80488"/>
                        <a14:foregroundMark x1="86607" y1="51220" x2="86607" y2="51220"/>
                        <a14:foregroundMark x1="33036" y1="69512" x2="33036" y2="69512"/>
                      </a14:backgroundRemoval>
                    </a14:imgEffect>
                  </a14:imgLayer>
                </a14:imgProps>
              </a:ext>
            </a:extLst>
          </a:blip>
          <a:stretch>
            <a:fillRect/>
          </a:stretch>
        </p:blipFill>
        <p:spPr>
          <a:xfrm>
            <a:off x="6627826" y="4499849"/>
            <a:ext cx="62445" cy="45719"/>
          </a:xfrm>
          <a:prstGeom prst="rect">
            <a:avLst/>
          </a:prstGeom>
        </p:spPr>
      </p:pic>
      <p:pic>
        <p:nvPicPr>
          <p:cNvPr id="21" name="Picture 20">
            <a:extLst>
              <a:ext uri="{FF2B5EF4-FFF2-40B4-BE49-F238E27FC236}">
                <a16:creationId xmlns:a16="http://schemas.microsoft.com/office/drawing/2014/main" id="{AE44823C-1C8D-4035-AF74-150F8CC0B2D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21488" y="3933056"/>
            <a:ext cx="470015" cy="282009"/>
          </a:xfrm>
          <a:prstGeom prst="rect">
            <a:avLst/>
          </a:prstGeom>
        </p:spPr>
      </p:pic>
      <p:pic>
        <p:nvPicPr>
          <p:cNvPr id="15" name="Picture 14">
            <a:extLst>
              <a:ext uri="{FF2B5EF4-FFF2-40B4-BE49-F238E27FC236}">
                <a16:creationId xmlns:a16="http://schemas.microsoft.com/office/drawing/2014/main" id="{7B641EFB-72A2-418D-AB74-65EC33520EC4}"/>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0" b="78000" l="0" r="100000">
                        <a14:foregroundMark x1="6383" y1="30000" x2="6383" y2="30000"/>
                        <a14:foregroundMark x1="16312" y1="46000" x2="16312" y2="46000"/>
                        <a14:foregroundMark x1="9929" y1="62000" x2="9929" y2="62000"/>
                        <a14:foregroundMark x1="12766" y1="20000" x2="16312" y2="24000"/>
                        <a14:foregroundMark x1="22695" y1="54000" x2="24113" y2="24000"/>
                        <a14:foregroundMark x1="40426" y1="54000" x2="39716" y2="40000"/>
                        <a14:foregroundMark x1="46809" y1="54000" x2="46809" y2="24000"/>
                        <a14:foregroundMark x1="56028" y1="60000" x2="56028" y2="34000"/>
                        <a14:foregroundMark x1="71631" y1="54000" x2="71631" y2="44000"/>
                        <a14:foregroundMark x1="85816" y1="58000" x2="87234" y2="28000"/>
                        <a14:foregroundMark x1="95745" y1="40000" x2="95035" y2="28000"/>
                        <a14:foregroundMark x1="80142" y1="60000" x2="80142" y2="60000"/>
                        <a14:foregroundMark x1="32624" y1="56000" x2="32624" y2="56000"/>
                        <a14:foregroundMark x1="37589" y1="34000" x2="37589" y2="34000"/>
                        <a14:foregroundMark x1="33333" y1="32000" x2="33333" y2="32000"/>
                        <a14:backgroundMark x1="69504" y1="16000" x2="69504" y2="16000"/>
                        <a14:backgroundMark x1="60993" y1="20000" x2="60993" y2="20000"/>
                        <a14:backgroundMark x1="75887" y1="20000" x2="85816" y2="10000"/>
                        <a14:backgroundMark x1="69504" y1="70000" x2="69504" y2="70000"/>
                        <a14:backgroundMark x1="61702" y1="54000" x2="61702" y2="54000"/>
                        <a14:backgroundMark x1="60993" y1="46000" x2="60993" y2="46000"/>
                        <a14:backgroundMark x1="76596" y1="42000" x2="76596" y2="42000"/>
                        <a14:backgroundMark x1="76596" y1="56000" x2="76596" y2="56000"/>
                        <a14:backgroundMark x1="92199" y1="48000" x2="92199" y2="48000"/>
                        <a14:backgroundMark x1="97872" y1="50000" x2="97872" y2="50000"/>
                      </a14:backgroundRemoval>
                    </a14:imgEffect>
                  </a14:imgLayer>
                </a14:imgProps>
              </a:ext>
            </a:extLst>
          </a:blip>
          <a:stretch>
            <a:fillRect/>
          </a:stretch>
        </p:blipFill>
        <p:spPr>
          <a:xfrm>
            <a:off x="5650376" y="2461064"/>
            <a:ext cx="471112" cy="167061"/>
          </a:xfrm>
          <a:prstGeom prst="rect">
            <a:avLst/>
          </a:prstGeom>
        </p:spPr>
      </p:pic>
      <p:pic>
        <p:nvPicPr>
          <p:cNvPr id="18" name="Image 17">
            <a:extLst>
              <a:ext uri="{FF2B5EF4-FFF2-40B4-BE49-F238E27FC236}">
                <a16:creationId xmlns:a16="http://schemas.microsoft.com/office/drawing/2014/main" id="{4E657C7E-DD74-4BE5-B3F1-555FB978A87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86717" y="4937538"/>
            <a:ext cx="457123" cy="150686"/>
          </a:xfrm>
          <a:prstGeom prst="rect">
            <a:avLst/>
          </a:prstGeom>
        </p:spPr>
      </p:pic>
      <p:pic>
        <p:nvPicPr>
          <p:cNvPr id="19" name="Image 18">
            <a:extLst>
              <a:ext uri="{FF2B5EF4-FFF2-40B4-BE49-F238E27FC236}">
                <a16:creationId xmlns:a16="http://schemas.microsoft.com/office/drawing/2014/main" id="{85983397-B103-485C-93F5-A7E322190F9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28734" y="2698839"/>
            <a:ext cx="513834" cy="151581"/>
          </a:xfrm>
          <a:prstGeom prst="rect">
            <a:avLst/>
          </a:prstGeom>
        </p:spPr>
      </p:pic>
      <p:pic>
        <p:nvPicPr>
          <p:cNvPr id="20" name="Image 19">
            <a:extLst>
              <a:ext uri="{FF2B5EF4-FFF2-40B4-BE49-F238E27FC236}">
                <a16:creationId xmlns:a16="http://schemas.microsoft.com/office/drawing/2014/main" id="{55766832-902E-4359-889B-D5E0F3EEAF9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62187" y="3719712"/>
            <a:ext cx="488574" cy="213344"/>
          </a:xfrm>
          <a:prstGeom prst="rect">
            <a:avLst/>
          </a:prstGeom>
        </p:spPr>
      </p:pic>
      <p:pic>
        <p:nvPicPr>
          <p:cNvPr id="22" name="Picture 3">
            <a:extLst>
              <a:ext uri="{FF2B5EF4-FFF2-40B4-BE49-F238E27FC236}">
                <a16:creationId xmlns:a16="http://schemas.microsoft.com/office/drawing/2014/main" id="{4835CF05-0B46-49D4-A2BA-E89167CC9415}"/>
              </a:ext>
            </a:extLst>
          </p:cNvPr>
          <p:cNvPicPr>
            <a:picLocks noChangeAspect="1"/>
          </p:cNvPicPr>
          <p:nvPr/>
        </p:nvPicPr>
        <p:blipFill>
          <a:blip r:embed="rId15"/>
          <a:stretch>
            <a:fillRect/>
          </a:stretch>
        </p:blipFill>
        <p:spPr>
          <a:xfrm>
            <a:off x="5616318" y="4837547"/>
            <a:ext cx="539228" cy="339415"/>
          </a:xfrm>
          <a:prstGeom prst="rect">
            <a:avLst/>
          </a:prstGeom>
          <a:noFill/>
        </p:spPr>
      </p:pic>
      <p:pic>
        <p:nvPicPr>
          <p:cNvPr id="1026" name="Picture 2">
            <a:extLst>
              <a:ext uri="{FF2B5EF4-FFF2-40B4-BE49-F238E27FC236}">
                <a16:creationId xmlns:a16="http://schemas.microsoft.com/office/drawing/2014/main" id="{4C0A34EB-1481-6275-761D-116D171F702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88099" y="4906915"/>
            <a:ext cx="875768" cy="108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3286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2. Comparison of possible future design of RR proces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0</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Current RR process</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p:txBody>
      </p:sp>
      <p:pic>
        <p:nvPicPr>
          <p:cNvPr id="7" name="Picture 6">
            <a:extLst>
              <a:ext uri="{FF2B5EF4-FFF2-40B4-BE49-F238E27FC236}">
                <a16:creationId xmlns:a16="http://schemas.microsoft.com/office/drawing/2014/main" id="{CB53FBE8-EC2A-7577-398C-9FFB63E5B07E}"/>
              </a:ext>
            </a:extLst>
          </p:cNvPr>
          <p:cNvPicPr>
            <a:picLocks noChangeAspect="1"/>
          </p:cNvPicPr>
          <p:nvPr/>
        </p:nvPicPr>
        <p:blipFill>
          <a:blip r:embed="rId2"/>
          <a:stretch>
            <a:fillRect/>
          </a:stretch>
        </p:blipFill>
        <p:spPr>
          <a:xfrm>
            <a:off x="263000" y="1012922"/>
            <a:ext cx="8617999" cy="4443812"/>
          </a:xfrm>
          <a:prstGeom prst="rect">
            <a:avLst/>
          </a:prstGeom>
        </p:spPr>
      </p:pic>
      <p:sp>
        <p:nvSpPr>
          <p:cNvPr id="3" name="TextBox 2">
            <a:extLst>
              <a:ext uri="{FF2B5EF4-FFF2-40B4-BE49-F238E27FC236}">
                <a16:creationId xmlns:a16="http://schemas.microsoft.com/office/drawing/2014/main" id="{E7A3720D-46A7-B7BF-6C5D-6F0E001369E9}"/>
              </a:ext>
            </a:extLst>
          </p:cNvPr>
          <p:cNvSpPr txBox="1"/>
          <p:nvPr/>
        </p:nvSpPr>
        <p:spPr>
          <a:xfrm>
            <a:off x="467544" y="5636865"/>
            <a:ext cx="4095018" cy="769441"/>
          </a:xfrm>
          <a:prstGeom prst="rect">
            <a:avLst/>
          </a:prstGeom>
          <a:noFill/>
        </p:spPr>
        <p:txBody>
          <a:bodyPr wrap="square" numCol="1">
            <a:spAutoFit/>
          </a:bodyPr>
          <a:lstStyle/>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24 Gates per day (one every hour)</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Each clearing is for four MTUs (4x15 min)</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Full Activation Time (FAT) of 30 min </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Balancing Energy Gate Closure Time (BE GCT) at H-55</a:t>
            </a:r>
            <a:endParaRPr lang="en-GB" sz="11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E4989786-B88F-496E-1CF3-62B254A70717}"/>
              </a:ext>
            </a:extLst>
          </p:cNvPr>
          <p:cNvSpPr txBox="1"/>
          <p:nvPr/>
        </p:nvSpPr>
        <p:spPr>
          <a:xfrm>
            <a:off x="4603522" y="5643158"/>
            <a:ext cx="4572000" cy="769441"/>
          </a:xfrm>
          <a:prstGeom prst="rect">
            <a:avLst/>
          </a:prstGeom>
          <a:noFill/>
        </p:spPr>
        <p:txBody>
          <a:bodyPr wrap="square">
            <a:spAutoFit/>
          </a:bodyPr>
          <a:lstStyle/>
          <a:p>
            <a:pPr marL="34290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Process time for TSOs 15min</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Process time for LIBRA 4 min</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Results communicated to BSPs at the latest at H-25</a:t>
            </a:r>
          </a:p>
          <a:p>
            <a:pPr marL="342900" lvl="0" indent="-342900" algn="just">
              <a:buFont typeface="Arial" panose="020B0604020202020204" pitchFamily="34" charset="0"/>
              <a:buChar char="•"/>
              <a:tabLst>
                <a:tab pos="457200" algn="l"/>
              </a:tabLs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Granularity of Cross Border Marginal Price (CBMP) 15 min </a:t>
            </a:r>
          </a:p>
        </p:txBody>
      </p:sp>
      <p:sp>
        <p:nvSpPr>
          <p:cNvPr id="10" name="Rectangle: Rounded Corners 9">
            <a:extLst>
              <a:ext uri="{FF2B5EF4-FFF2-40B4-BE49-F238E27FC236}">
                <a16:creationId xmlns:a16="http://schemas.microsoft.com/office/drawing/2014/main" id="{FE6A9BA5-1DF9-7613-77CE-FBA01E029F4C}"/>
              </a:ext>
            </a:extLst>
          </p:cNvPr>
          <p:cNvSpPr/>
          <p:nvPr/>
        </p:nvSpPr>
        <p:spPr>
          <a:xfrm>
            <a:off x="323528" y="5614218"/>
            <a:ext cx="8568952" cy="839118"/>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83A77E31-4D20-787C-9AB1-2430804EA6D1}"/>
              </a:ext>
            </a:extLst>
          </p:cNvPr>
          <p:cNvSpPr txBox="1"/>
          <p:nvPr/>
        </p:nvSpPr>
        <p:spPr>
          <a:xfrm>
            <a:off x="330601" y="5306530"/>
            <a:ext cx="1375248" cy="338554"/>
          </a:xfrm>
          <a:prstGeom prst="rect">
            <a:avLst/>
          </a:prstGeom>
          <a:noFill/>
        </p:spPr>
        <p:txBody>
          <a:bodyPr wrap="none" rtlCol="0">
            <a:spAutoFit/>
          </a:bodyPr>
          <a:lstStyle/>
          <a:p>
            <a:r>
              <a:rPr lang="en-GB" sz="1600" b="1" dirty="0">
                <a:solidFill>
                  <a:schemeClr val="tx2"/>
                </a:solidFill>
              </a:rPr>
              <a:t>Key indicators</a:t>
            </a:r>
          </a:p>
        </p:txBody>
      </p:sp>
    </p:spTree>
    <p:extLst>
      <p:ext uri="{BB962C8B-B14F-4D97-AF65-F5344CB8AC3E}">
        <p14:creationId xmlns:p14="http://schemas.microsoft.com/office/powerpoint/2010/main" val="3783331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2. Comparison of possible future design of RR proces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1</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Proposed options for the future RR process</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a:p>
            <a:pPr algn="just">
              <a:buClr>
                <a:srgbClr val="1F497D"/>
              </a:buClr>
            </a:pPr>
            <a:r>
              <a:rPr lang="en-GB" sz="1800" b="1" dirty="0">
                <a:solidFill>
                  <a:srgbClr val="002060"/>
                </a:solidFill>
              </a:rPr>
              <a:t>Options proposed in the public survey for the future RR process</a:t>
            </a:r>
          </a:p>
          <a:p>
            <a:pPr marL="1200150" lvl="2" indent="-285750">
              <a:buClr>
                <a:schemeClr val="tx2"/>
              </a:buClr>
              <a:buFont typeface="Arial" panose="020B0604020202020204" pitchFamily="34" charset="0"/>
              <a:buChar char="•"/>
            </a:pPr>
            <a:r>
              <a:rPr lang="en-US" i="1" dirty="0">
                <a:latin typeface="Calibri" panose="020F0502020204030204" pitchFamily="34" charset="0"/>
              </a:rPr>
              <a:t>Option#1: 96-clearings with same timing with linking necessary</a:t>
            </a:r>
          </a:p>
          <a:p>
            <a:pPr marL="1200150" lvl="2" indent="-285750">
              <a:buClr>
                <a:schemeClr val="tx2"/>
              </a:buClr>
              <a:buFont typeface="Arial" panose="020B0604020202020204" pitchFamily="34" charset="0"/>
              <a:buChar char="•"/>
            </a:pPr>
            <a:r>
              <a:rPr lang="en-US" i="1" dirty="0">
                <a:latin typeface="Calibri" panose="020F0502020204030204" pitchFamily="34" charset="0"/>
              </a:rPr>
              <a:t>Option #2: 96-clearings with reduced timing with no linking </a:t>
            </a:r>
          </a:p>
          <a:p>
            <a:pPr marL="1200150" lvl="2" indent="-285750">
              <a:buClr>
                <a:schemeClr val="tx2"/>
              </a:buClr>
              <a:buFont typeface="Arial" panose="020B0604020202020204" pitchFamily="34" charset="0"/>
              <a:buChar char="•"/>
            </a:pPr>
            <a:r>
              <a:rPr lang="en-US" i="1" dirty="0">
                <a:latin typeface="Calibri" panose="020F0502020204030204" pitchFamily="34" charset="0"/>
              </a:rPr>
              <a:t>Option #3: 96-clearings with </a:t>
            </a:r>
            <a:r>
              <a:rPr lang="en-US" altLang="fr-FR" i="1" dirty="0">
                <a:latin typeface="Calibri" panose="020F0502020204030204" pitchFamily="34" charset="0"/>
              </a:rPr>
              <a:t>reduced timing but the possibility to have delivery period up to 30</a:t>
            </a:r>
          </a:p>
          <a:p>
            <a:pPr lvl="1" algn="just">
              <a:buClr>
                <a:srgbClr val="1F497D"/>
              </a:buClr>
              <a:buFont typeface="Arial" panose="020B0604020202020204" pitchFamily="34" charset="0"/>
              <a:buChar char="•"/>
            </a:pPr>
            <a:endParaRPr lang="en-GB" sz="1400" dirty="0">
              <a:solidFill>
                <a:srgbClr val="002060"/>
              </a:solidFill>
            </a:endParaRPr>
          </a:p>
        </p:txBody>
      </p:sp>
    </p:spTree>
    <p:extLst>
      <p:ext uri="{BB962C8B-B14F-4D97-AF65-F5344CB8AC3E}">
        <p14:creationId xmlns:p14="http://schemas.microsoft.com/office/powerpoint/2010/main" val="2301494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2. Comparison of possible future design of RR proces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2</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Option #1: 96 clearings with current timing</a:t>
            </a:r>
          </a:p>
        </p:txBody>
      </p:sp>
      <p:pic>
        <p:nvPicPr>
          <p:cNvPr id="3" name="Picture 2">
            <a:extLst>
              <a:ext uri="{FF2B5EF4-FFF2-40B4-BE49-F238E27FC236}">
                <a16:creationId xmlns:a16="http://schemas.microsoft.com/office/drawing/2014/main" id="{EDB06A2A-5619-6DBB-4485-B370A387DC2E}"/>
              </a:ext>
            </a:extLst>
          </p:cNvPr>
          <p:cNvPicPr>
            <a:picLocks noChangeAspect="1"/>
          </p:cNvPicPr>
          <p:nvPr/>
        </p:nvPicPr>
        <p:blipFill>
          <a:blip r:embed="rId2"/>
          <a:stretch>
            <a:fillRect/>
          </a:stretch>
        </p:blipFill>
        <p:spPr>
          <a:xfrm>
            <a:off x="24227" y="1139894"/>
            <a:ext cx="9095546" cy="4320480"/>
          </a:xfrm>
          <a:prstGeom prst="rect">
            <a:avLst/>
          </a:prstGeom>
        </p:spPr>
      </p:pic>
      <p:sp>
        <p:nvSpPr>
          <p:cNvPr id="7" name="TextBox 6">
            <a:extLst>
              <a:ext uri="{FF2B5EF4-FFF2-40B4-BE49-F238E27FC236}">
                <a16:creationId xmlns:a16="http://schemas.microsoft.com/office/drawing/2014/main" id="{E753AD87-255D-3E47-1F6A-98D74DAA8843}"/>
              </a:ext>
            </a:extLst>
          </p:cNvPr>
          <p:cNvSpPr txBox="1"/>
          <p:nvPr/>
        </p:nvSpPr>
        <p:spPr>
          <a:xfrm>
            <a:off x="467544" y="5636865"/>
            <a:ext cx="4095018" cy="769441"/>
          </a:xfrm>
          <a:prstGeom prst="rect">
            <a:avLst/>
          </a:prstGeom>
          <a:noFill/>
        </p:spPr>
        <p:txBody>
          <a:bodyPr wrap="square" numCol="1">
            <a:spAutoFit/>
          </a:bodyPr>
          <a:lstStyle/>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96 Gates per day (one every 15 min)</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In each clearing, one MTU is computed (15 min)</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FAT of</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 </a:t>
            </a:r>
            <a:r>
              <a:rPr lang="en-US" sz="1100" dirty="0">
                <a:effectLst/>
                <a:latin typeface="Arial" panose="020B0604020202020204" pitchFamily="34" charset="0"/>
                <a:ea typeface="Times New Roman" panose="02020603050405020304" pitchFamily="18" charset="0"/>
                <a:cs typeface="Times New Roman" panose="02020603050405020304" pitchFamily="18" charset="0"/>
              </a:rPr>
              <a:t>30 minutes</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BE GCT remains at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H-55</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F9AE5894-D503-20EA-F09E-9B1A91705DAA}"/>
              </a:ext>
            </a:extLst>
          </p:cNvPr>
          <p:cNvSpPr txBox="1"/>
          <p:nvPr/>
        </p:nvSpPr>
        <p:spPr>
          <a:xfrm>
            <a:off x="4603522" y="5643158"/>
            <a:ext cx="4572000" cy="769441"/>
          </a:xfrm>
          <a:prstGeom prst="rect">
            <a:avLst/>
          </a:prstGeom>
          <a:noFill/>
        </p:spPr>
        <p:txBody>
          <a:bodyPr wrap="square">
            <a:spAutoFit/>
          </a:bodyPr>
          <a:lstStyle/>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for TSOs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remains</a:t>
            </a:r>
            <a:r>
              <a:rPr lang="en-US" sz="1100" dirty="0">
                <a:effectLst/>
                <a:latin typeface="Arial" panose="020B0604020202020204" pitchFamily="34" charset="0"/>
                <a:ea typeface="Times New Roman" panose="02020603050405020304" pitchFamily="18" charset="0"/>
                <a:cs typeface="Times New Roman" panose="02020603050405020304" pitchFamily="18" charset="0"/>
              </a:rPr>
              <a:t> 15 minutes</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on LIBRA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remains</a:t>
            </a:r>
            <a:r>
              <a:rPr lang="en-US" sz="1100" dirty="0">
                <a:effectLst/>
                <a:latin typeface="Arial" panose="020B0604020202020204" pitchFamily="34" charset="0"/>
                <a:ea typeface="Times New Roman" panose="02020603050405020304" pitchFamily="18" charset="0"/>
                <a:cs typeface="Times New Roman" panose="02020603050405020304" pitchFamily="18" charset="0"/>
              </a:rPr>
              <a:t> 4 minutes </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esults communicated to BSPs at the latest at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H-30</a:t>
            </a:r>
          </a:p>
          <a:p>
            <a:pPr marL="342900" indent="-342900" algn="just">
              <a:buFont typeface="Arial" panose="020B0604020202020204" pitchFamily="34" charset="0"/>
              <a:buChar char="•"/>
              <a:tabLst>
                <a:tab pos="457200" algn="l"/>
              </a:tabLs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Linking</a:t>
            </a:r>
            <a:r>
              <a:rPr lang="en-US" sz="1100" dirty="0">
                <a:effectLst/>
                <a:latin typeface="Arial" panose="020B0604020202020204" pitchFamily="34" charset="0"/>
                <a:ea typeface="Times New Roman" panose="02020603050405020304" pitchFamily="18" charset="0"/>
                <a:cs typeface="Times New Roman" panose="02020603050405020304" pitchFamily="18" charset="0"/>
              </a:rPr>
              <a:t> of bids between clearings is necessary </a:t>
            </a:r>
          </a:p>
        </p:txBody>
      </p:sp>
      <p:sp>
        <p:nvSpPr>
          <p:cNvPr id="10" name="Rectangle: Rounded Corners 9">
            <a:extLst>
              <a:ext uri="{FF2B5EF4-FFF2-40B4-BE49-F238E27FC236}">
                <a16:creationId xmlns:a16="http://schemas.microsoft.com/office/drawing/2014/main" id="{14DC9121-9340-063D-4D4C-CC8E7BAB0B49}"/>
              </a:ext>
            </a:extLst>
          </p:cNvPr>
          <p:cNvSpPr/>
          <p:nvPr/>
        </p:nvSpPr>
        <p:spPr>
          <a:xfrm>
            <a:off x="323528" y="5614218"/>
            <a:ext cx="8568952" cy="839118"/>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CE368DE0-6363-B2F0-022B-4D739F1D2B95}"/>
              </a:ext>
            </a:extLst>
          </p:cNvPr>
          <p:cNvSpPr txBox="1"/>
          <p:nvPr/>
        </p:nvSpPr>
        <p:spPr>
          <a:xfrm>
            <a:off x="330601" y="5306530"/>
            <a:ext cx="1375248" cy="338554"/>
          </a:xfrm>
          <a:prstGeom prst="rect">
            <a:avLst/>
          </a:prstGeom>
          <a:noFill/>
        </p:spPr>
        <p:txBody>
          <a:bodyPr wrap="none" rtlCol="0">
            <a:spAutoFit/>
          </a:bodyPr>
          <a:lstStyle/>
          <a:p>
            <a:r>
              <a:rPr lang="en-GB" sz="1600" b="1" dirty="0">
                <a:solidFill>
                  <a:schemeClr val="tx2"/>
                </a:solidFill>
              </a:rPr>
              <a:t>Key indicators</a:t>
            </a:r>
          </a:p>
        </p:txBody>
      </p:sp>
    </p:spTree>
    <p:extLst>
      <p:ext uri="{BB962C8B-B14F-4D97-AF65-F5344CB8AC3E}">
        <p14:creationId xmlns:p14="http://schemas.microsoft.com/office/powerpoint/2010/main" val="3364323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2. Comparison of possible future design of RR proces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3</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Option #2: 96 clearings with reduced timing</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p:txBody>
      </p:sp>
      <p:pic>
        <p:nvPicPr>
          <p:cNvPr id="3" name="Picture 2">
            <a:extLst>
              <a:ext uri="{FF2B5EF4-FFF2-40B4-BE49-F238E27FC236}">
                <a16:creationId xmlns:a16="http://schemas.microsoft.com/office/drawing/2014/main" id="{A9028916-E542-CFF3-8372-3BCF7CB7D0BD}"/>
              </a:ext>
            </a:extLst>
          </p:cNvPr>
          <p:cNvPicPr>
            <a:picLocks noChangeAspect="1"/>
          </p:cNvPicPr>
          <p:nvPr/>
        </p:nvPicPr>
        <p:blipFill>
          <a:blip r:embed="rId2"/>
          <a:stretch>
            <a:fillRect/>
          </a:stretch>
        </p:blipFill>
        <p:spPr>
          <a:xfrm>
            <a:off x="35496" y="1055469"/>
            <a:ext cx="9108504" cy="4389755"/>
          </a:xfrm>
          <a:prstGeom prst="rect">
            <a:avLst/>
          </a:prstGeom>
        </p:spPr>
      </p:pic>
      <p:sp>
        <p:nvSpPr>
          <p:cNvPr id="9" name="TextBox 8">
            <a:extLst>
              <a:ext uri="{FF2B5EF4-FFF2-40B4-BE49-F238E27FC236}">
                <a16:creationId xmlns:a16="http://schemas.microsoft.com/office/drawing/2014/main" id="{302B59EA-3511-1325-DE06-FFA827693D6C}"/>
              </a:ext>
            </a:extLst>
          </p:cNvPr>
          <p:cNvSpPr txBox="1"/>
          <p:nvPr/>
        </p:nvSpPr>
        <p:spPr>
          <a:xfrm>
            <a:off x="467544" y="5636865"/>
            <a:ext cx="4095018" cy="769441"/>
          </a:xfrm>
          <a:prstGeom prst="rect">
            <a:avLst/>
          </a:prstGeom>
          <a:noFill/>
        </p:spPr>
        <p:txBody>
          <a:bodyPr wrap="square" numCol="1">
            <a:spAutoFit/>
          </a:bodyPr>
          <a:lstStyle/>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96 Gates per day (one every 15 min)</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In each clearing, one MTU is computed (15 min)</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FAT of 30 minutes</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BE GCT is moved to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H-40</a:t>
            </a:r>
          </a:p>
        </p:txBody>
      </p:sp>
      <p:sp>
        <p:nvSpPr>
          <p:cNvPr id="10" name="TextBox 9">
            <a:extLst>
              <a:ext uri="{FF2B5EF4-FFF2-40B4-BE49-F238E27FC236}">
                <a16:creationId xmlns:a16="http://schemas.microsoft.com/office/drawing/2014/main" id="{2329FA4D-62B7-E607-EC4D-8AAAE7C746B8}"/>
              </a:ext>
            </a:extLst>
          </p:cNvPr>
          <p:cNvSpPr txBox="1"/>
          <p:nvPr/>
        </p:nvSpPr>
        <p:spPr>
          <a:xfrm>
            <a:off x="4603522" y="5643158"/>
            <a:ext cx="4572000" cy="600164"/>
          </a:xfrm>
          <a:prstGeom prst="rect">
            <a:avLst/>
          </a:prstGeom>
          <a:noFill/>
        </p:spPr>
        <p:txBody>
          <a:bodyPr wrap="square">
            <a:spAutoFit/>
          </a:bodyPr>
          <a:lstStyle/>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for TSOs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is reduced to 5 minutes</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on LIBRA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is reduced to 2 minutes</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esults communicated to BSPs at the latest at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H-30 </a:t>
            </a:r>
          </a:p>
        </p:txBody>
      </p:sp>
      <p:sp>
        <p:nvSpPr>
          <p:cNvPr id="11" name="Rectangle: Rounded Corners 10">
            <a:extLst>
              <a:ext uri="{FF2B5EF4-FFF2-40B4-BE49-F238E27FC236}">
                <a16:creationId xmlns:a16="http://schemas.microsoft.com/office/drawing/2014/main" id="{9786A6F9-961F-8E11-C0B5-CC8333DCAFCE}"/>
              </a:ext>
            </a:extLst>
          </p:cNvPr>
          <p:cNvSpPr/>
          <p:nvPr/>
        </p:nvSpPr>
        <p:spPr>
          <a:xfrm>
            <a:off x="323528" y="5614218"/>
            <a:ext cx="8568952" cy="839118"/>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11">
            <a:extLst>
              <a:ext uri="{FF2B5EF4-FFF2-40B4-BE49-F238E27FC236}">
                <a16:creationId xmlns:a16="http://schemas.microsoft.com/office/drawing/2014/main" id="{5013D106-AE11-2E3A-848E-0B78FAD872D5}"/>
              </a:ext>
            </a:extLst>
          </p:cNvPr>
          <p:cNvSpPr txBox="1"/>
          <p:nvPr/>
        </p:nvSpPr>
        <p:spPr>
          <a:xfrm>
            <a:off x="330601" y="5306530"/>
            <a:ext cx="1375248" cy="338554"/>
          </a:xfrm>
          <a:prstGeom prst="rect">
            <a:avLst/>
          </a:prstGeom>
          <a:noFill/>
        </p:spPr>
        <p:txBody>
          <a:bodyPr wrap="none" rtlCol="0">
            <a:spAutoFit/>
          </a:bodyPr>
          <a:lstStyle/>
          <a:p>
            <a:r>
              <a:rPr lang="en-GB" sz="1600" b="1" dirty="0">
                <a:solidFill>
                  <a:schemeClr val="tx2"/>
                </a:solidFill>
              </a:rPr>
              <a:t>Key indicators</a:t>
            </a:r>
          </a:p>
        </p:txBody>
      </p:sp>
    </p:spTree>
    <p:extLst>
      <p:ext uri="{BB962C8B-B14F-4D97-AF65-F5344CB8AC3E}">
        <p14:creationId xmlns:p14="http://schemas.microsoft.com/office/powerpoint/2010/main" val="2794569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GB" dirty="0"/>
              <a:t>2. Comparison of possible future design of RR process</a:t>
            </a:r>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4</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Option #3: 96 clearings with reduced timing and delivery period up to 30 minutes</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p:txBody>
      </p:sp>
      <p:pic>
        <p:nvPicPr>
          <p:cNvPr id="3" name="Picture 2">
            <a:extLst>
              <a:ext uri="{FF2B5EF4-FFF2-40B4-BE49-F238E27FC236}">
                <a16:creationId xmlns:a16="http://schemas.microsoft.com/office/drawing/2014/main" id="{797F8CDE-2514-B9C0-04E1-166173012E22}"/>
              </a:ext>
            </a:extLst>
          </p:cNvPr>
          <p:cNvPicPr>
            <a:picLocks noChangeAspect="1"/>
          </p:cNvPicPr>
          <p:nvPr/>
        </p:nvPicPr>
        <p:blipFill>
          <a:blip r:embed="rId2"/>
          <a:stretch>
            <a:fillRect/>
          </a:stretch>
        </p:blipFill>
        <p:spPr>
          <a:xfrm>
            <a:off x="7952" y="1052736"/>
            <a:ext cx="9128095" cy="4392488"/>
          </a:xfrm>
          <a:prstGeom prst="rect">
            <a:avLst/>
          </a:prstGeom>
        </p:spPr>
      </p:pic>
      <p:sp>
        <p:nvSpPr>
          <p:cNvPr id="10" name="TextBox 9">
            <a:extLst>
              <a:ext uri="{FF2B5EF4-FFF2-40B4-BE49-F238E27FC236}">
                <a16:creationId xmlns:a16="http://schemas.microsoft.com/office/drawing/2014/main" id="{69B8F7D0-4A75-FDD8-5115-24EAFBCAE674}"/>
              </a:ext>
            </a:extLst>
          </p:cNvPr>
          <p:cNvSpPr txBox="1"/>
          <p:nvPr/>
        </p:nvSpPr>
        <p:spPr>
          <a:xfrm>
            <a:off x="330600" y="5487527"/>
            <a:ext cx="4781968" cy="938719"/>
          </a:xfrm>
          <a:prstGeom prst="rect">
            <a:avLst/>
          </a:prstGeom>
          <a:noFill/>
        </p:spPr>
        <p:txBody>
          <a:bodyPr wrap="square" numCol="1">
            <a:spAutoFit/>
          </a:bodyPr>
          <a:lstStyle/>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96 Gates per day (one every 15 min)</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In each clearing, 2 MTUs can be computed (2x15 min) but only some TSOs will submit bids and needs for the second MTU</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Delivery period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up to 30 minutes </a:t>
            </a:r>
          </a:p>
          <a:p>
            <a:pPr marL="342900" lvl="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FAT of 30 minutes.</a:t>
            </a:r>
          </a:p>
        </p:txBody>
      </p:sp>
      <p:sp>
        <p:nvSpPr>
          <p:cNvPr id="12" name="TextBox 11">
            <a:extLst>
              <a:ext uri="{FF2B5EF4-FFF2-40B4-BE49-F238E27FC236}">
                <a16:creationId xmlns:a16="http://schemas.microsoft.com/office/drawing/2014/main" id="{D4D4AEEE-714F-2103-DA7D-43746BC8E7C9}"/>
              </a:ext>
            </a:extLst>
          </p:cNvPr>
          <p:cNvSpPr txBox="1"/>
          <p:nvPr/>
        </p:nvSpPr>
        <p:spPr>
          <a:xfrm>
            <a:off x="5112568" y="5493820"/>
            <a:ext cx="3786983" cy="769441"/>
          </a:xfrm>
          <a:prstGeom prst="rect">
            <a:avLst/>
          </a:prstGeom>
          <a:noFill/>
        </p:spPr>
        <p:txBody>
          <a:bodyPr wrap="square">
            <a:spAutoFit/>
          </a:bodyPr>
          <a:lstStyle/>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BE GCT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is moved to H-40</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for TSOs is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reduced to 5 minutes</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Process time on LIBRA is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reduced to 2 minutes </a:t>
            </a:r>
          </a:p>
          <a:p>
            <a:pPr marL="342900" indent="-342900" algn="just">
              <a:buFont typeface="Arial" panose="020B0604020202020204" pitchFamily="34" charset="0"/>
              <a:buChar char="•"/>
              <a:tabLst>
                <a:tab pos="457200" algn="l"/>
              </a:tabLs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esults communicated to BSPs at the latest at </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H-30</a:t>
            </a:r>
            <a:r>
              <a:rPr lang="en-US" sz="1100" dirty="0">
                <a:effectLst/>
                <a:latin typeface="Arial" panose="020B0604020202020204" pitchFamily="34" charset="0"/>
                <a:ea typeface="Times New Roman" panose="02020603050405020304" pitchFamily="18" charset="0"/>
                <a:cs typeface="Times New Roman" panose="02020603050405020304" pitchFamily="18" charset="0"/>
              </a:rPr>
              <a:t> </a:t>
            </a:r>
            <a:r>
              <a:rPr lang="en-GB" sz="1100" dirty="0">
                <a:effectLst/>
                <a:latin typeface="Arial" panose="020B0604020202020204" pitchFamily="34" charset="0"/>
                <a:ea typeface="Times New Roman" panose="02020603050405020304" pitchFamily="18" charset="0"/>
                <a:cs typeface="Times New Roman" panose="02020603050405020304" pitchFamily="18" charset="0"/>
              </a:rPr>
              <a:t> </a:t>
            </a:r>
          </a:p>
        </p:txBody>
      </p:sp>
      <p:sp>
        <p:nvSpPr>
          <p:cNvPr id="14" name="Rectangle: Rounded Corners 13">
            <a:extLst>
              <a:ext uri="{FF2B5EF4-FFF2-40B4-BE49-F238E27FC236}">
                <a16:creationId xmlns:a16="http://schemas.microsoft.com/office/drawing/2014/main" id="{72B2F599-94AA-E09E-5D4A-D9E880238359}"/>
              </a:ext>
            </a:extLst>
          </p:cNvPr>
          <p:cNvSpPr/>
          <p:nvPr/>
        </p:nvSpPr>
        <p:spPr>
          <a:xfrm>
            <a:off x="323528" y="5464879"/>
            <a:ext cx="8568952" cy="938719"/>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a:extLst>
              <a:ext uri="{FF2B5EF4-FFF2-40B4-BE49-F238E27FC236}">
                <a16:creationId xmlns:a16="http://schemas.microsoft.com/office/drawing/2014/main" id="{54C08008-8DC4-9617-4C0B-52BA9793D669}"/>
              </a:ext>
            </a:extLst>
          </p:cNvPr>
          <p:cNvSpPr txBox="1"/>
          <p:nvPr/>
        </p:nvSpPr>
        <p:spPr>
          <a:xfrm>
            <a:off x="330601" y="5157192"/>
            <a:ext cx="1375248" cy="338554"/>
          </a:xfrm>
          <a:prstGeom prst="rect">
            <a:avLst/>
          </a:prstGeom>
          <a:noFill/>
        </p:spPr>
        <p:txBody>
          <a:bodyPr wrap="none" rtlCol="0">
            <a:spAutoFit/>
          </a:bodyPr>
          <a:lstStyle/>
          <a:p>
            <a:r>
              <a:rPr lang="en-GB" sz="1600" b="1" dirty="0">
                <a:solidFill>
                  <a:schemeClr val="tx2"/>
                </a:solidFill>
              </a:rPr>
              <a:t>Key indicators</a:t>
            </a:r>
          </a:p>
        </p:txBody>
      </p:sp>
    </p:spTree>
    <p:extLst>
      <p:ext uri="{BB962C8B-B14F-4D97-AF65-F5344CB8AC3E}">
        <p14:creationId xmlns:p14="http://schemas.microsoft.com/office/powerpoint/2010/main" val="21975783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CA6A39B-2923-4814-8F57-BD84643AD2B4}" type="slidenum">
              <a:rPr lang="fr-FR" smtClean="0"/>
              <a:pPr/>
              <a:t>15</a:t>
            </a:fld>
            <a:endParaRPr lang="fr-FR"/>
          </a:p>
        </p:txBody>
      </p:sp>
      <p:sp>
        <p:nvSpPr>
          <p:cNvPr id="4" name="Title 3"/>
          <p:cNvSpPr>
            <a:spLocks noGrp="1"/>
          </p:cNvSpPr>
          <p:nvPr>
            <p:ph type="ctrTitle"/>
          </p:nvPr>
        </p:nvSpPr>
        <p:spPr/>
        <p:txBody>
          <a:bodyPr/>
          <a:lstStyle/>
          <a:p>
            <a:r>
              <a:rPr lang="en-US" dirty="0"/>
              <a:t>3. Conclusion and questions to answer</a:t>
            </a:r>
            <a:endParaRPr lang="en-GB" dirty="0"/>
          </a:p>
        </p:txBody>
      </p:sp>
    </p:spTree>
    <p:extLst>
      <p:ext uri="{BB962C8B-B14F-4D97-AF65-F5344CB8AC3E}">
        <p14:creationId xmlns:p14="http://schemas.microsoft.com/office/powerpoint/2010/main" val="1457911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3. Conclusion and question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6</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Conclusion</a:t>
            </a:r>
          </a:p>
        </p:txBody>
      </p:sp>
      <p:graphicFrame>
        <p:nvGraphicFramePr>
          <p:cNvPr id="7" name="Table 6">
            <a:extLst>
              <a:ext uri="{FF2B5EF4-FFF2-40B4-BE49-F238E27FC236}">
                <a16:creationId xmlns:a16="http://schemas.microsoft.com/office/drawing/2014/main" id="{C6AA51C5-349F-932D-F303-66AB16D2831C}"/>
              </a:ext>
            </a:extLst>
          </p:cNvPr>
          <p:cNvGraphicFramePr>
            <a:graphicFrameLocks noGrp="1"/>
          </p:cNvGraphicFramePr>
          <p:nvPr>
            <p:extLst>
              <p:ext uri="{D42A27DB-BD31-4B8C-83A1-F6EECF244321}">
                <p14:modId xmlns:p14="http://schemas.microsoft.com/office/powerpoint/2010/main" val="792451368"/>
              </p:ext>
            </p:extLst>
          </p:nvPr>
        </p:nvGraphicFramePr>
        <p:xfrm>
          <a:off x="611560" y="1166726"/>
          <a:ext cx="7992888" cy="5554443"/>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145934137"/>
                    </a:ext>
                  </a:extLst>
                </a:gridCol>
                <a:gridCol w="2952328">
                  <a:extLst>
                    <a:ext uri="{9D8B030D-6E8A-4147-A177-3AD203B41FA5}">
                      <a16:colId xmlns:a16="http://schemas.microsoft.com/office/drawing/2014/main" val="1449483676"/>
                    </a:ext>
                  </a:extLst>
                </a:gridCol>
                <a:gridCol w="3888432">
                  <a:extLst>
                    <a:ext uri="{9D8B030D-6E8A-4147-A177-3AD203B41FA5}">
                      <a16:colId xmlns:a16="http://schemas.microsoft.com/office/drawing/2014/main" val="1905409952"/>
                    </a:ext>
                  </a:extLst>
                </a:gridCol>
              </a:tblGrid>
              <a:tr h="143902">
                <a:tc>
                  <a:txBody>
                    <a:bodyPr/>
                    <a:lstStyle/>
                    <a:p>
                      <a:pPr algn="just">
                        <a:spcAft>
                          <a:spcPts val="600"/>
                        </a:spcAft>
                      </a:pPr>
                      <a:r>
                        <a:rPr lang="en-US" sz="1600" dirty="0">
                          <a:effectLst/>
                        </a:rPr>
                        <a:t>Option</a:t>
                      </a:r>
                      <a:endParaRPr lang="fr-FR"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tc>
                <a:tc>
                  <a:txBody>
                    <a:bodyPr/>
                    <a:lstStyle/>
                    <a:p>
                      <a:pPr algn="just">
                        <a:spcAft>
                          <a:spcPts val="600"/>
                        </a:spcAft>
                      </a:pPr>
                      <a:r>
                        <a:rPr lang="en-US" sz="1600" dirty="0">
                          <a:effectLst/>
                        </a:rPr>
                        <a:t>Pros</a:t>
                      </a:r>
                      <a:endParaRPr lang="fr-FR"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tc>
                <a:tc>
                  <a:txBody>
                    <a:bodyPr/>
                    <a:lstStyle/>
                    <a:p>
                      <a:pPr algn="just">
                        <a:spcAft>
                          <a:spcPts val="600"/>
                        </a:spcAft>
                      </a:pPr>
                      <a:r>
                        <a:rPr lang="en-US" sz="1600" dirty="0">
                          <a:effectLst/>
                        </a:rPr>
                        <a:t>Cons</a:t>
                      </a:r>
                      <a:endParaRPr lang="fr-FR"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tc>
                <a:extLst>
                  <a:ext uri="{0D108BD9-81ED-4DB2-BD59-A6C34878D82A}">
                    <a16:rowId xmlns:a16="http://schemas.microsoft.com/office/drawing/2014/main" val="4275326021"/>
                  </a:ext>
                </a:extLst>
              </a:tr>
              <a:tr h="1902189">
                <a:tc>
                  <a:txBody>
                    <a:bodyPr/>
                    <a:lstStyle/>
                    <a:p>
                      <a:pPr algn="l">
                        <a:spcAft>
                          <a:spcPts val="600"/>
                        </a:spcAft>
                      </a:pPr>
                      <a:r>
                        <a:rPr lang="en-US" sz="1200" b="1" dirty="0">
                          <a:effectLst/>
                        </a:rPr>
                        <a:t>#1</a:t>
                      </a:r>
                    </a:p>
                    <a:p>
                      <a:pPr algn="l">
                        <a:spcAft>
                          <a:spcPts val="600"/>
                        </a:spcAft>
                      </a:pPr>
                      <a:r>
                        <a:rPr lang="en-US" sz="1200" b="1" dirty="0">
                          <a:effectLst/>
                        </a:rPr>
                        <a:t>96 daily gates with current timings </a:t>
                      </a:r>
                      <a:endParaRPr lang="fr-FR" sz="12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342900" lvl="0" indent="-342900" algn="just">
                        <a:spcAft>
                          <a:spcPts val="0"/>
                        </a:spcAft>
                        <a:buFont typeface="Arial" panose="020B0604020202020204" pitchFamily="34" charset="0"/>
                        <a:buChar char="•"/>
                        <a:tabLst>
                          <a:tab pos="457200" algn="l"/>
                        </a:tabLst>
                      </a:pPr>
                      <a:r>
                        <a:rPr lang="en-US" sz="1200" dirty="0">
                          <a:effectLst/>
                        </a:rPr>
                        <a:t>Aligned with target ID resolution and target XB scheduling step</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Time for process on LIBRA remains the same</a:t>
                      </a:r>
                      <a:endParaRPr lang="fr-FR"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342900" lvl="0" indent="-342900" algn="just">
                        <a:spcAft>
                          <a:spcPts val="0"/>
                        </a:spcAft>
                        <a:buFont typeface="Arial" panose="020B0604020202020204" pitchFamily="34" charset="0"/>
                        <a:buChar char="•"/>
                        <a:tabLst>
                          <a:tab pos="457200" algn="l"/>
                        </a:tabLst>
                      </a:pPr>
                      <a:r>
                        <a:rPr lang="en-US" sz="1200" dirty="0">
                          <a:effectLst/>
                        </a:rPr>
                        <a:t>30min delivery period not possible, will reduce liquidity due to technical constraints </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Very similar process/product compared to MARI Scheduled Activation which allow arbitrage between MARI and TERRE for BSPs and less added value for operators</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BSPs need to make bids of next clearing without results of previous clearing. Does require the introduction of linking between clearings (same as in MARI) </a:t>
                      </a:r>
                      <a:endParaRPr lang="fr-FR"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extLst>
                  <a:ext uri="{0D108BD9-81ED-4DB2-BD59-A6C34878D82A}">
                    <a16:rowId xmlns:a16="http://schemas.microsoft.com/office/drawing/2014/main" val="3131994174"/>
                  </a:ext>
                </a:extLst>
              </a:tr>
              <a:tr h="1514952">
                <a:tc>
                  <a:txBody>
                    <a:bodyPr/>
                    <a:lstStyle/>
                    <a:p>
                      <a:pPr algn="just">
                        <a:spcAft>
                          <a:spcPts val="600"/>
                        </a:spcAft>
                      </a:pPr>
                      <a:r>
                        <a:rPr lang="en-US" sz="1200" b="1" dirty="0">
                          <a:effectLst/>
                        </a:rPr>
                        <a:t>#2</a:t>
                      </a:r>
                    </a:p>
                    <a:p>
                      <a:pPr algn="l">
                        <a:spcAft>
                          <a:spcPts val="600"/>
                        </a:spcAft>
                      </a:pPr>
                      <a:r>
                        <a:rPr lang="en-US" sz="1200" b="1" dirty="0">
                          <a:effectLst/>
                        </a:rPr>
                        <a:t>96 daily gates with reduced timings</a:t>
                      </a:r>
                      <a:endParaRPr lang="fr-FR" sz="1200" b="1" dirty="0">
                        <a:effectLst/>
                      </a:endParaRPr>
                    </a:p>
                    <a:p>
                      <a:pPr algn="just">
                        <a:spcAft>
                          <a:spcPts val="600"/>
                        </a:spcAft>
                      </a:pPr>
                      <a:r>
                        <a:rPr lang="en-US" sz="1200" b="1" dirty="0">
                          <a:effectLst/>
                        </a:rPr>
                        <a:t> </a:t>
                      </a:r>
                      <a:endParaRPr lang="fr-FR" sz="12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457200" algn="just">
                        <a:spcAft>
                          <a:spcPts val="0"/>
                        </a:spcAft>
                      </a:pPr>
                      <a:r>
                        <a:rPr lang="en-US" sz="1200">
                          <a:effectLst/>
                        </a:rPr>
                        <a:t> </a:t>
                      </a:r>
                      <a:endParaRPr lang="fr-FR" sz="1200">
                        <a:effectLst/>
                      </a:endParaRPr>
                    </a:p>
                    <a:p>
                      <a:pPr marL="342900" lvl="0" indent="-342900" algn="just">
                        <a:spcAft>
                          <a:spcPts val="0"/>
                        </a:spcAft>
                        <a:buFont typeface="Arial" panose="020B0604020202020204" pitchFamily="34" charset="0"/>
                        <a:buChar char="•"/>
                        <a:tabLst>
                          <a:tab pos="457200" algn="l"/>
                        </a:tabLst>
                      </a:pPr>
                      <a:r>
                        <a:rPr lang="en-US" sz="1200">
                          <a:effectLst/>
                        </a:rPr>
                        <a:t>Aligned with target ID resolution and target XB scheduling step</a:t>
                      </a:r>
                      <a:endParaRPr lang="fr-FR" sz="1200">
                        <a:effectLst/>
                      </a:endParaRPr>
                    </a:p>
                    <a:p>
                      <a:pPr marL="342900" lvl="0" indent="-342900" algn="just">
                        <a:spcAft>
                          <a:spcPts val="0"/>
                        </a:spcAft>
                        <a:buFont typeface="Arial" panose="020B0604020202020204" pitchFamily="34" charset="0"/>
                        <a:buChar char="•"/>
                        <a:tabLst>
                          <a:tab pos="457200" algn="l"/>
                        </a:tabLst>
                      </a:pPr>
                      <a:r>
                        <a:rPr lang="en-US" sz="1200">
                          <a:effectLst/>
                        </a:rPr>
                        <a:t>Results of previous clearing are known, when BSP need to submit bids for next clearing. No linking needed. Simplified process.</a:t>
                      </a:r>
                      <a:endParaRPr lang="fr-FR" sz="1200">
                        <a:effectLst/>
                      </a:endParaRPr>
                    </a:p>
                    <a:p>
                      <a:pPr marL="342900" lvl="0" indent="-342900" algn="just">
                        <a:spcAft>
                          <a:spcPts val="0"/>
                        </a:spcAft>
                        <a:buFont typeface="Arial" panose="020B0604020202020204" pitchFamily="34" charset="0"/>
                        <a:buChar char="•"/>
                        <a:tabLst>
                          <a:tab pos="457200" algn="l"/>
                        </a:tabLst>
                      </a:pPr>
                      <a:r>
                        <a:rPr lang="en-US" sz="1200">
                          <a:effectLst/>
                        </a:rPr>
                        <a:t>Balance energy gate closure is closer to real-time.</a:t>
                      </a:r>
                      <a:endParaRPr lang="fr-FR"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342900" lvl="0" indent="-342900" algn="just">
                        <a:spcAft>
                          <a:spcPts val="0"/>
                        </a:spcAft>
                        <a:buFont typeface="Arial" panose="020B0604020202020204" pitchFamily="34" charset="0"/>
                        <a:buChar char="•"/>
                        <a:tabLst>
                          <a:tab pos="457200" algn="l"/>
                        </a:tabLst>
                      </a:pPr>
                      <a:r>
                        <a:rPr lang="en-US" sz="1200" dirty="0">
                          <a:effectLst/>
                        </a:rPr>
                        <a:t>30min delivery period not possible, will reduce liquidity due to technical constraints </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Very similar process/product compared to MARI Scheduled Activation which allow arbitrage between MARI and TERRE for BSPs and less added value for operators </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Less time for process on TSOs and LIBRA platform sides. </a:t>
                      </a:r>
                      <a:endParaRPr lang="fr-FR"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extLst>
                  <a:ext uri="{0D108BD9-81ED-4DB2-BD59-A6C34878D82A}">
                    <a16:rowId xmlns:a16="http://schemas.microsoft.com/office/drawing/2014/main" val="3703432586"/>
                  </a:ext>
                </a:extLst>
              </a:tr>
              <a:tr h="1188526">
                <a:tc>
                  <a:txBody>
                    <a:bodyPr/>
                    <a:lstStyle/>
                    <a:p>
                      <a:pPr algn="just">
                        <a:spcAft>
                          <a:spcPts val="600"/>
                        </a:spcAft>
                      </a:pPr>
                      <a:r>
                        <a:rPr lang="en-US" sz="1200" b="1" dirty="0">
                          <a:effectLst/>
                        </a:rPr>
                        <a:t>#3</a:t>
                      </a:r>
                    </a:p>
                    <a:p>
                      <a:pPr algn="just">
                        <a:spcAft>
                          <a:spcPts val="600"/>
                        </a:spcAft>
                      </a:pPr>
                      <a:r>
                        <a:rPr lang="en-US" sz="1200" b="1" dirty="0">
                          <a:effectLst/>
                        </a:rPr>
                        <a:t>96 daily gates with reduced timings and delivery period up to 30 minutes</a:t>
                      </a:r>
                      <a:endParaRPr lang="fr-FR" sz="1200" b="1" dirty="0">
                        <a:effectLst/>
                      </a:endParaRPr>
                    </a:p>
                    <a:p>
                      <a:pPr algn="just">
                        <a:spcAft>
                          <a:spcPts val="600"/>
                        </a:spcAft>
                      </a:pPr>
                      <a:r>
                        <a:rPr lang="en-US" sz="1200" b="1" dirty="0">
                          <a:effectLst/>
                        </a:rPr>
                        <a:t> </a:t>
                      </a:r>
                      <a:endParaRPr lang="fr-FR" sz="12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342900" lvl="0" indent="-342900" algn="just">
                        <a:spcAft>
                          <a:spcPts val="0"/>
                        </a:spcAft>
                        <a:buFont typeface="Arial" panose="020B0604020202020204" pitchFamily="34" charset="0"/>
                        <a:buChar char="•"/>
                        <a:tabLst>
                          <a:tab pos="457200" algn="l"/>
                        </a:tabLst>
                      </a:pPr>
                      <a:r>
                        <a:rPr lang="en-US" sz="1200">
                          <a:effectLst/>
                        </a:rPr>
                        <a:t>Delivery period up to 30min possible for some TSOs. Increases the liquidity.</a:t>
                      </a:r>
                      <a:endParaRPr lang="fr-FR" sz="1200">
                        <a:effectLst/>
                      </a:endParaRPr>
                    </a:p>
                    <a:p>
                      <a:pPr marL="342900" lvl="0" indent="-342900" algn="just">
                        <a:spcAft>
                          <a:spcPts val="0"/>
                        </a:spcAft>
                        <a:buFont typeface="Arial" panose="020B0604020202020204" pitchFamily="34" charset="0"/>
                        <a:buChar char="•"/>
                        <a:tabLst>
                          <a:tab pos="457200" algn="l"/>
                        </a:tabLst>
                      </a:pPr>
                      <a:r>
                        <a:rPr lang="en-US" sz="1200">
                          <a:effectLst/>
                        </a:rPr>
                        <a:t>Results of previous clearing are known, when BSP need to submit bids for next clearing. No linking needed.</a:t>
                      </a:r>
                      <a:endParaRPr lang="fr-FR" sz="1200">
                        <a:effectLst/>
                      </a:endParaRPr>
                    </a:p>
                    <a:p>
                      <a:pPr marL="342900" lvl="0" indent="-342900" algn="just">
                        <a:spcAft>
                          <a:spcPts val="0"/>
                        </a:spcAft>
                        <a:buFont typeface="Arial" panose="020B0604020202020204" pitchFamily="34" charset="0"/>
                        <a:buChar char="•"/>
                        <a:tabLst>
                          <a:tab pos="457200" algn="l"/>
                        </a:tabLst>
                      </a:pPr>
                      <a:r>
                        <a:rPr lang="en-US" sz="1200">
                          <a:effectLst/>
                        </a:rPr>
                        <a:t>Balance energy gate closure is closer to real-time.</a:t>
                      </a:r>
                      <a:endParaRPr lang="fr-FR" sz="120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tc>
                  <a:txBody>
                    <a:bodyPr/>
                    <a:lstStyle/>
                    <a:p>
                      <a:pPr marL="342900" lvl="0" indent="-342900" algn="just">
                        <a:spcAft>
                          <a:spcPts val="0"/>
                        </a:spcAft>
                        <a:buFont typeface="Arial" panose="020B0604020202020204" pitchFamily="34" charset="0"/>
                        <a:buChar char="•"/>
                        <a:tabLst>
                          <a:tab pos="457200" algn="l"/>
                        </a:tabLst>
                      </a:pPr>
                      <a:r>
                        <a:rPr lang="en-US" sz="1200" dirty="0">
                          <a:effectLst/>
                        </a:rPr>
                        <a:t>The usage of the RR process is not the same for all TSOs.</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There are two clearings for each MTU with possible arbitrage and reduced transparency. </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More complicated process.</a:t>
                      </a:r>
                      <a:endParaRPr lang="fr-FR" sz="1200" dirty="0">
                        <a:effectLst/>
                      </a:endParaRPr>
                    </a:p>
                    <a:p>
                      <a:pPr marL="342900" lvl="0" indent="-342900" algn="just">
                        <a:spcAft>
                          <a:spcPts val="0"/>
                        </a:spcAft>
                        <a:buFont typeface="Arial" panose="020B0604020202020204" pitchFamily="34" charset="0"/>
                        <a:buChar char="•"/>
                        <a:tabLst>
                          <a:tab pos="457200" algn="l"/>
                        </a:tabLst>
                      </a:pPr>
                      <a:r>
                        <a:rPr lang="en-US" sz="1200" dirty="0">
                          <a:effectLst/>
                        </a:rPr>
                        <a:t>Less time for process on TSOs and LIBRA platform sides.</a:t>
                      </a:r>
                      <a:endParaRPr lang="fr-FR"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018" marR="49018" marT="24509" marB="24509" anchor="ctr"/>
                </a:tc>
                <a:extLst>
                  <a:ext uri="{0D108BD9-81ED-4DB2-BD59-A6C34878D82A}">
                    <a16:rowId xmlns:a16="http://schemas.microsoft.com/office/drawing/2014/main" val="2912620833"/>
                  </a:ext>
                </a:extLst>
              </a:tr>
            </a:tbl>
          </a:graphicData>
        </a:graphic>
      </p:graphicFrame>
    </p:spTree>
    <p:extLst>
      <p:ext uri="{BB962C8B-B14F-4D97-AF65-F5344CB8AC3E}">
        <p14:creationId xmlns:p14="http://schemas.microsoft.com/office/powerpoint/2010/main" val="106923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3. Conclusion and question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7</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Conclusion</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1052736"/>
            <a:ext cx="8363272" cy="5544616"/>
          </a:xfrm>
          <a:prstGeom prst="rect">
            <a:avLst/>
          </a:prstGeom>
          <a:noFill/>
          <a:ln>
            <a:noFill/>
          </a:ln>
        </p:spPr>
        <p:txBody>
          <a:bodyPr vert="horz" lIns="91440" tIns="45720" rIns="91440" bIns="45720" rtlCol="0" anchor="t">
            <a:normAutofit fontScale="85000" lnSpcReduction="2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The current RR IF prescribes, that all RR TSOs must reduce the cross-border scheduling step to 15 minutes. The deadline for this change is the </a:t>
            </a:r>
            <a:r>
              <a:rPr lang="en-US" sz="1600" i="1" dirty="0">
                <a:effectLst/>
                <a:latin typeface="+mj-lt"/>
                <a:ea typeface="Times New Roman" panose="02020603050405020304" pitchFamily="18" charset="0"/>
                <a:cs typeface="Times New Roman" panose="02020603050405020304" pitchFamily="18" charset="0"/>
              </a:rPr>
              <a:t>date required by the EBGL for using the European Platform for exchange of </a:t>
            </a:r>
            <a:r>
              <a:rPr lang="en-US" sz="1600" i="1" dirty="0" err="1">
                <a:effectLst/>
                <a:latin typeface="+mj-lt"/>
                <a:ea typeface="Times New Roman" panose="02020603050405020304" pitchFamily="18" charset="0"/>
                <a:cs typeface="Times New Roman" panose="02020603050405020304" pitchFamily="18" charset="0"/>
              </a:rPr>
              <a:t>mFRR</a:t>
            </a:r>
            <a:r>
              <a:rPr lang="en-US" sz="1600" i="1" dirty="0">
                <a:effectLst/>
                <a:latin typeface="+mj-lt"/>
                <a:ea typeface="Times New Roman" panose="02020603050405020304" pitchFamily="18" charset="0"/>
                <a:cs typeface="Times New Roman" panose="02020603050405020304" pitchFamily="18" charset="0"/>
              </a:rPr>
              <a:t>. </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The reduction of the cross-border scheduling step allows to increase the number of daily RR gates from today’s 24.</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Such an increase of daily gates for the RR process is not only possible, but it is necessary in order to keep the RR process compatible with an increased number of daily gates in the cross zonal intraday market of 96 per day.</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The analysis shows that only an RR process with 96 daily gates is compatible with the 96 gates of the CZ ID.</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This necessary change of the RR process from 24 gates per day to 96 gates per day has to be done before the change on the CZ ID is done. </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TSOs identified three possible designs for an RR process with 96 clearings per day:</a:t>
            </a:r>
            <a:endParaRPr lang="fr-FR" sz="1600" dirty="0">
              <a:effectLst/>
              <a:latin typeface="+mj-lt"/>
              <a:ea typeface="Times New Roman" panose="02020603050405020304" pitchFamily="18" charset="0"/>
              <a:cs typeface="Times New Roman" panose="02020603050405020304" pitchFamily="18" charset="0"/>
            </a:endParaRPr>
          </a:p>
          <a:p>
            <a:pPr marL="742950" lvl="1" indent="-285750" algn="just">
              <a:lnSpc>
                <a:spcPct val="105000"/>
              </a:lnSpc>
              <a:spcAft>
                <a:spcPts val="600"/>
              </a:spcAft>
              <a:buFont typeface="Courier New" panose="02070309020205020404" pitchFamily="49" charset="0"/>
              <a:buChar char="o"/>
            </a:pPr>
            <a:r>
              <a:rPr lang="en-US" sz="1600" dirty="0">
                <a:effectLst/>
                <a:latin typeface="+mj-lt"/>
                <a:ea typeface="Times New Roman" panose="02020603050405020304" pitchFamily="18" charset="0"/>
                <a:cs typeface="Times New Roman" panose="02020603050405020304" pitchFamily="18" charset="0"/>
              </a:rPr>
              <a:t>Option #1: A process with 96 clearings, a maximum delivery period of 15 minutes and the same timing as today. This would require the introduction of linking between clearings</a:t>
            </a:r>
            <a:endParaRPr lang="fr-FR" sz="1600" dirty="0">
              <a:effectLst/>
              <a:latin typeface="+mj-lt"/>
              <a:ea typeface="Times New Roman" panose="02020603050405020304" pitchFamily="18" charset="0"/>
              <a:cs typeface="Times New Roman" panose="02020603050405020304" pitchFamily="18" charset="0"/>
            </a:endParaRPr>
          </a:p>
          <a:p>
            <a:pPr marL="742950" lvl="1" indent="-285750" algn="just">
              <a:lnSpc>
                <a:spcPct val="105000"/>
              </a:lnSpc>
              <a:spcAft>
                <a:spcPts val="600"/>
              </a:spcAft>
              <a:buFont typeface="Courier New" panose="02070309020205020404" pitchFamily="49" charset="0"/>
              <a:buChar char="o"/>
            </a:pPr>
            <a:r>
              <a:rPr lang="en-US" sz="1600" dirty="0">
                <a:effectLst/>
                <a:latin typeface="+mj-lt"/>
                <a:ea typeface="Times New Roman" panose="02020603050405020304" pitchFamily="18" charset="0"/>
                <a:cs typeface="Times New Roman" panose="02020603050405020304" pitchFamily="18" charset="0"/>
              </a:rPr>
              <a:t>Option #2: A process with 96 clearings, a maximum delivery period of 15 minutes and a reduced process timing with no need to introduce a linking between clearings.</a:t>
            </a:r>
            <a:endParaRPr lang="fr-FR" sz="1600" dirty="0">
              <a:effectLst/>
              <a:latin typeface="+mj-lt"/>
              <a:ea typeface="Times New Roman" panose="02020603050405020304" pitchFamily="18" charset="0"/>
              <a:cs typeface="Times New Roman" panose="02020603050405020304" pitchFamily="18" charset="0"/>
            </a:endParaRPr>
          </a:p>
          <a:p>
            <a:pPr marL="742950" lvl="1" indent="-285750" algn="just">
              <a:lnSpc>
                <a:spcPct val="105000"/>
              </a:lnSpc>
              <a:spcAft>
                <a:spcPts val="600"/>
              </a:spcAft>
              <a:buFont typeface="Courier New" panose="02070309020205020404" pitchFamily="49" charset="0"/>
              <a:buChar char="o"/>
            </a:pPr>
            <a:r>
              <a:rPr lang="en-US" sz="1600" dirty="0">
                <a:effectLst/>
                <a:latin typeface="+mj-lt"/>
                <a:ea typeface="Times New Roman" panose="02020603050405020304" pitchFamily="18" charset="0"/>
                <a:cs typeface="Times New Roman" panose="02020603050405020304" pitchFamily="18" charset="0"/>
              </a:rPr>
              <a:t>Option #3: A process with 96 clearings, a maximum delivery period of 30 minutes and a reduced timing. This option would only be available for some TSOs.</a:t>
            </a:r>
            <a:endParaRPr lang="fr-FR" sz="1600" dirty="0">
              <a:effectLst/>
              <a:latin typeface="+mj-lt"/>
              <a:ea typeface="Times New Roman" panose="02020603050405020304" pitchFamily="18" charset="0"/>
              <a:cs typeface="Times New Roman" panose="02020603050405020304" pitchFamily="18" charset="0"/>
            </a:endParaRPr>
          </a:p>
          <a:p>
            <a:pPr marL="342900" lvl="0" indent="-342900" algn="just">
              <a:lnSpc>
                <a:spcPct val="105000"/>
              </a:lnSpc>
              <a:spcAft>
                <a:spcPts val="600"/>
              </a:spcAft>
              <a:buFont typeface="Symbol" panose="05050102010706020507" pitchFamily="18" charset="2"/>
              <a:buChar char=""/>
            </a:pPr>
            <a:r>
              <a:rPr lang="en-US" sz="1600" dirty="0">
                <a:effectLst/>
                <a:latin typeface="+mj-lt"/>
                <a:ea typeface="Times New Roman" panose="02020603050405020304" pitchFamily="18" charset="0"/>
                <a:cs typeface="Times New Roman" panose="02020603050405020304" pitchFamily="18" charset="0"/>
              </a:rPr>
              <a:t>All three possible design options of the RR process have pros and cons. RR TSOs would therefore very much appreciate the feedback of all stakeholders on the options in order to select the more appropriate design for the future RR market. It is important to remind option #3 still has some open questions that should be resolved before selecting it for the evolution of the TERRE project. However, TSOs want to receive feedback from BSPs on whether they are interested or not in this solution.</a:t>
            </a:r>
            <a:endParaRPr lang="fr-FR" sz="1600" dirty="0">
              <a:effectLst/>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123448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3. Conclusion and question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18</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Questions</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8" y="1052736"/>
            <a:ext cx="8496943" cy="5274387"/>
          </a:xfrm>
          <a:prstGeom prst="rect">
            <a:avLst/>
          </a:prstGeom>
          <a:noFill/>
          <a:ln>
            <a:noFill/>
          </a:ln>
        </p:spPr>
        <p:txBody>
          <a:bodyPr vert="horz" lIns="91440" tIns="45720" rIns="91440" bIns="45720" rtlCol="0" anchor="t">
            <a:normAutofit fontScale="92500" lnSpcReduction="2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600"/>
              </a:spcAft>
            </a:pPr>
            <a:r>
              <a:rPr lang="en-US" sz="1900" b="1" dirty="0">
                <a:solidFill>
                  <a:srgbClr val="002060"/>
                </a:solidFill>
                <a:effectLst/>
                <a:latin typeface="+mj-lt"/>
                <a:ea typeface="Times New Roman" panose="02020603050405020304" pitchFamily="18" charset="0"/>
                <a:cs typeface="Arial" panose="020B0604020202020204" pitchFamily="34" charset="0"/>
              </a:rPr>
              <a:t>Questions of the survey</a:t>
            </a:r>
          </a:p>
          <a:p>
            <a:pPr algn="just">
              <a:spcAft>
                <a:spcPts val="600"/>
              </a:spcAft>
              <a:buFont typeface="Arial" panose="020B0604020202020204" pitchFamily="34" charset="0"/>
              <a:buChar char="•"/>
            </a:pPr>
            <a:r>
              <a:rPr lang="en-US" sz="1700" b="1" u="sng" dirty="0">
                <a:effectLst/>
                <a:latin typeface="+mj-lt"/>
                <a:ea typeface="Times New Roman" panose="02020603050405020304" pitchFamily="18" charset="0"/>
                <a:cs typeface="Arial" panose="020B0604020202020204" pitchFamily="34" charset="0"/>
              </a:rPr>
              <a:t>Option preference:</a:t>
            </a:r>
            <a:endParaRPr lang="fr-FR" sz="1700" b="1"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Which option is your preferred one? Please explain, in detail, your selection.</a:t>
            </a:r>
          </a:p>
          <a:p>
            <a:pPr indent="-285750" algn="just">
              <a:spcBef>
                <a:spcPts val="200"/>
              </a:spcBef>
              <a:spcAft>
                <a:spcPts val="600"/>
              </a:spcAft>
              <a:buFont typeface="Arial" panose="020B0604020202020204" pitchFamily="34" charset="0"/>
              <a:buChar char="•"/>
            </a:pPr>
            <a:r>
              <a:rPr lang="en-US" sz="1700" b="1" u="sng" dirty="0">
                <a:effectLst/>
                <a:latin typeface="+mj-lt"/>
                <a:ea typeface="Times New Roman" panose="02020603050405020304" pitchFamily="18" charset="0"/>
                <a:cs typeface="Arial" panose="020B0604020202020204" pitchFamily="34" charset="0"/>
              </a:rPr>
              <a:t>Impact on liquidity: </a:t>
            </a:r>
            <a:endParaRPr lang="fr-FR" sz="1700" b="1"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Is there an impact on your RR bids with the changes proposed in the final option? </a:t>
            </a:r>
            <a:r>
              <a:rPr lang="de-DE" sz="1700" dirty="0" err="1">
                <a:effectLst/>
                <a:latin typeface="+mj-lt"/>
                <a:ea typeface="Times New Roman" panose="02020603050405020304" pitchFamily="18" charset="0"/>
                <a:cs typeface="Times New Roman" panose="02020603050405020304" pitchFamily="18" charset="0"/>
              </a:rPr>
              <a:t>Please</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elaborate</a:t>
            </a:r>
            <a:r>
              <a:rPr lang="de-DE" sz="1700" dirty="0">
                <a:effectLst/>
                <a:latin typeface="+mj-lt"/>
                <a:ea typeface="Times New Roman" panose="02020603050405020304" pitchFamily="18" charset="0"/>
                <a:cs typeface="Times New Roman" panose="02020603050405020304" pitchFamily="18" charset="0"/>
              </a:rPr>
              <a:t> in </a:t>
            </a:r>
            <a:r>
              <a:rPr lang="de-DE" sz="1700" dirty="0" err="1">
                <a:effectLst/>
                <a:latin typeface="+mj-lt"/>
                <a:ea typeface="Times New Roman" panose="02020603050405020304" pitchFamily="18" charset="0"/>
                <a:cs typeface="Times New Roman" panose="02020603050405020304" pitchFamily="18" charset="0"/>
              </a:rPr>
              <a:t>detail</a:t>
            </a:r>
            <a:r>
              <a:rPr lang="de-DE" sz="1700" dirty="0">
                <a:effectLst/>
                <a:latin typeface="+mj-lt"/>
                <a:ea typeface="Times New Roman" panose="02020603050405020304" pitchFamily="18" charset="0"/>
                <a:cs typeface="Times New Roman" panose="02020603050405020304" pitchFamily="18" charset="0"/>
              </a:rPr>
              <a:t>.</a:t>
            </a:r>
            <a:endParaRPr lang="fr-FR" sz="1700"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Do you consider conditional linking necessary for option #1? Please elaborate why.</a:t>
            </a:r>
            <a:endParaRPr lang="fr-FR" sz="1700"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Will your availability to provide RR be affected with the reduction of the delivery period ? </a:t>
            </a:r>
            <a:r>
              <a:rPr lang="de-DE" sz="1700" dirty="0" err="1">
                <a:effectLst/>
                <a:latin typeface="+mj-lt"/>
                <a:ea typeface="Times New Roman" panose="02020603050405020304" pitchFamily="18" charset="0"/>
                <a:cs typeface="Times New Roman" panose="02020603050405020304" pitchFamily="18" charset="0"/>
              </a:rPr>
              <a:t>If</a:t>
            </a:r>
            <a:r>
              <a:rPr lang="de-DE" sz="1700" dirty="0">
                <a:effectLst/>
                <a:latin typeface="+mj-lt"/>
                <a:ea typeface="Times New Roman" panose="02020603050405020304" pitchFamily="18" charset="0"/>
                <a:cs typeface="Times New Roman" panose="02020603050405020304" pitchFamily="18" charset="0"/>
              </a:rPr>
              <a:t> so, </a:t>
            </a:r>
            <a:r>
              <a:rPr lang="de-DE" sz="1700" dirty="0" err="1">
                <a:effectLst/>
                <a:latin typeface="+mj-lt"/>
                <a:ea typeface="Times New Roman" panose="02020603050405020304" pitchFamily="18" charset="0"/>
                <a:cs typeface="Times New Roman" panose="02020603050405020304" pitchFamily="18" charset="0"/>
              </a:rPr>
              <a:t>please</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indicate</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to</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what</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extent</a:t>
            </a:r>
            <a:r>
              <a:rPr lang="de-DE" sz="1700" dirty="0">
                <a:effectLst/>
                <a:latin typeface="+mj-lt"/>
                <a:ea typeface="Times New Roman" panose="02020603050405020304" pitchFamily="18" charset="0"/>
                <a:cs typeface="Times New Roman" panose="02020603050405020304" pitchFamily="18" charset="0"/>
              </a:rPr>
              <a:t> </a:t>
            </a:r>
            <a:r>
              <a:rPr lang="de-DE" sz="1700" dirty="0" err="1">
                <a:effectLst/>
                <a:latin typeface="+mj-lt"/>
                <a:ea typeface="Times New Roman" panose="02020603050405020304" pitchFamily="18" charset="0"/>
                <a:cs typeface="Times New Roman" panose="02020603050405020304" pitchFamily="18" charset="0"/>
              </a:rPr>
              <a:t>for</a:t>
            </a:r>
            <a:endParaRPr lang="fr-FR" sz="1700" dirty="0">
              <a:effectLst/>
              <a:latin typeface="+mj-lt"/>
              <a:ea typeface="Times New Roman" panose="02020603050405020304" pitchFamily="18" charset="0"/>
              <a:cs typeface="Times New Roman" panose="02020603050405020304" pitchFamily="18" charset="0"/>
            </a:endParaRPr>
          </a:p>
          <a:p>
            <a:pPr marL="1143000" lvl="2" indent="-228600" algn="just">
              <a:spcBef>
                <a:spcPts val="200"/>
              </a:spcBef>
              <a:spcAft>
                <a:spcPts val="600"/>
              </a:spcAft>
              <a:buFont typeface="+mj-lt"/>
              <a:buAutoNum type="romanLcPeriod"/>
            </a:pPr>
            <a:r>
              <a:rPr lang="en-US" sz="1700" dirty="0">
                <a:effectLst/>
                <a:latin typeface="+mj-lt"/>
                <a:ea typeface="Times New Roman" panose="02020603050405020304" pitchFamily="18" charset="0"/>
                <a:cs typeface="Times New Roman" panose="02020603050405020304" pitchFamily="18" charset="0"/>
              </a:rPr>
              <a:t>Option #1 and #2 (reduction of maximum delivery period from 60  to 15 minutes)</a:t>
            </a:r>
            <a:endParaRPr lang="fr-FR" sz="1700" dirty="0">
              <a:effectLst/>
              <a:latin typeface="+mj-lt"/>
              <a:ea typeface="Times New Roman" panose="02020603050405020304" pitchFamily="18" charset="0"/>
              <a:cs typeface="Times New Roman" panose="02020603050405020304" pitchFamily="18" charset="0"/>
            </a:endParaRPr>
          </a:p>
          <a:p>
            <a:pPr marL="1143000" lvl="2" indent="-228600" algn="just">
              <a:spcBef>
                <a:spcPts val="200"/>
              </a:spcBef>
              <a:spcAft>
                <a:spcPts val="600"/>
              </a:spcAft>
              <a:buFont typeface="+mj-lt"/>
              <a:buAutoNum type="romanLcPeriod"/>
            </a:pPr>
            <a:r>
              <a:rPr lang="en-US" sz="1700" dirty="0">
                <a:effectLst/>
                <a:latin typeface="+mj-lt"/>
                <a:ea typeface="Times New Roman" panose="02020603050405020304" pitchFamily="18" charset="0"/>
                <a:cs typeface="Times New Roman" panose="02020603050405020304" pitchFamily="18" charset="0"/>
              </a:rPr>
              <a:t>Option #3 (reduction of maximum delivery period from 60 to 30 minutes)</a:t>
            </a:r>
            <a:endParaRPr lang="fr-FR" sz="1700" dirty="0">
              <a:effectLst/>
              <a:latin typeface="+mj-lt"/>
              <a:ea typeface="Times New Roman" panose="02020603050405020304" pitchFamily="18" charset="0"/>
              <a:cs typeface="Times New Roman" panose="02020603050405020304" pitchFamily="18" charset="0"/>
            </a:endParaRPr>
          </a:p>
          <a:p>
            <a:pPr algn="just">
              <a:spcAft>
                <a:spcPts val="600"/>
              </a:spcAft>
              <a:buFont typeface="Arial" panose="020B0604020202020204" pitchFamily="34" charset="0"/>
              <a:buChar char="•"/>
            </a:pPr>
            <a:r>
              <a:rPr lang="de-DE" sz="1700" b="1" u="sng" dirty="0" err="1">
                <a:effectLst/>
                <a:latin typeface="+mj-lt"/>
                <a:ea typeface="Times New Roman" panose="02020603050405020304" pitchFamily="18" charset="0"/>
                <a:cs typeface="Times New Roman" panose="02020603050405020304" pitchFamily="18" charset="0"/>
              </a:rPr>
              <a:t>Flexibility</a:t>
            </a:r>
            <a:r>
              <a:rPr lang="de-DE" sz="1700" b="1" u="sng" dirty="0">
                <a:effectLst/>
                <a:latin typeface="+mj-lt"/>
                <a:ea typeface="Times New Roman" panose="02020603050405020304" pitchFamily="18" charset="0"/>
                <a:cs typeface="Times New Roman" panose="02020603050405020304" pitchFamily="18" charset="0"/>
              </a:rPr>
              <a:t> on </a:t>
            </a:r>
            <a:r>
              <a:rPr lang="de-DE" sz="1700" b="1" u="sng" dirty="0" err="1">
                <a:effectLst/>
                <a:latin typeface="+mj-lt"/>
                <a:ea typeface="Times New Roman" panose="02020603050405020304" pitchFamily="18" charset="0"/>
                <a:cs typeface="Times New Roman" panose="02020603050405020304" pitchFamily="18" charset="0"/>
              </a:rPr>
              <a:t>timings</a:t>
            </a:r>
            <a:r>
              <a:rPr lang="de-DE" sz="1700" b="1" u="sng" dirty="0">
                <a:effectLst/>
                <a:latin typeface="+mj-lt"/>
                <a:ea typeface="Times New Roman" panose="02020603050405020304" pitchFamily="18" charset="0"/>
                <a:cs typeface="Times New Roman" panose="02020603050405020304" pitchFamily="18" charset="0"/>
              </a:rPr>
              <a:t>: </a:t>
            </a:r>
            <a:endParaRPr lang="fr-FR" sz="1700" b="1"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Currently there are 5 minutes between ID GCT and TERRE GCT, would it be possible to shorten this timing (please provide an answer in minutes)? </a:t>
            </a:r>
            <a:endParaRPr lang="fr-FR" sz="1700"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Currently there are 5 minutes between TERRE results and MARI GCT, would it be possible to shorten this timing (please provide an answer in minutes)?</a:t>
            </a:r>
            <a:endParaRPr lang="fr-FR" sz="1700" dirty="0">
              <a:effectLst/>
              <a:latin typeface="+mj-lt"/>
              <a:ea typeface="Times New Roman" panose="02020603050405020304" pitchFamily="18" charset="0"/>
              <a:cs typeface="Times New Roman" panose="02020603050405020304" pitchFamily="18" charset="0"/>
            </a:endParaRPr>
          </a:p>
          <a:p>
            <a:pPr algn="just">
              <a:spcAft>
                <a:spcPts val="600"/>
              </a:spcAft>
              <a:buFont typeface="Arial" panose="020B0604020202020204" pitchFamily="34" charset="0"/>
              <a:buChar char="•"/>
            </a:pPr>
            <a:r>
              <a:rPr lang="en-US" sz="1700" b="1" u="sng" dirty="0">
                <a:effectLst/>
                <a:latin typeface="+mj-lt"/>
                <a:ea typeface="Times New Roman" panose="02020603050405020304" pitchFamily="18" charset="0"/>
                <a:cs typeface="Times New Roman" panose="02020603050405020304" pitchFamily="18" charset="0"/>
              </a:rPr>
              <a:t>Other: </a:t>
            </a:r>
            <a:endParaRPr lang="fr-FR" sz="1700" b="1" dirty="0">
              <a:effectLst/>
              <a:latin typeface="+mj-lt"/>
              <a:ea typeface="Times New Roman" panose="02020603050405020304" pitchFamily="18" charset="0"/>
              <a:cs typeface="Times New Roman" panose="02020603050405020304" pitchFamily="18" charset="0"/>
            </a:endParaRPr>
          </a:p>
          <a:p>
            <a:pPr marL="742950" lvl="1" indent="-285750" algn="just">
              <a:spcBef>
                <a:spcPts val="200"/>
              </a:spcBef>
              <a:spcAft>
                <a:spcPts val="600"/>
              </a:spcAft>
              <a:buFont typeface="+mj-lt"/>
              <a:buAutoNum type="arabicPeriod"/>
            </a:pPr>
            <a:r>
              <a:rPr lang="en-US" sz="1700" dirty="0">
                <a:effectLst/>
                <a:latin typeface="+mj-lt"/>
                <a:ea typeface="Times New Roman" panose="02020603050405020304" pitchFamily="18" charset="0"/>
                <a:cs typeface="Times New Roman" panose="02020603050405020304" pitchFamily="18" charset="0"/>
              </a:rPr>
              <a:t>Do you have any other comments or proposals on the RRIF or on the RR process in general?</a:t>
            </a:r>
            <a:endParaRPr lang="fr-FR" sz="1700" dirty="0">
              <a:effectLst/>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51550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CA6A39B-2923-4814-8F57-BD84643AD2B4}" type="slidenum">
              <a:rPr lang="fr-FR" smtClean="0"/>
              <a:pPr/>
              <a:t>19</a:t>
            </a:fld>
            <a:endParaRPr lang="fr-FR"/>
          </a:p>
        </p:txBody>
      </p:sp>
      <p:sp>
        <p:nvSpPr>
          <p:cNvPr id="4" name="Title 3"/>
          <p:cNvSpPr>
            <a:spLocks noGrp="1"/>
          </p:cNvSpPr>
          <p:nvPr>
            <p:ph type="ctrTitle"/>
          </p:nvPr>
        </p:nvSpPr>
        <p:spPr/>
        <p:txBody>
          <a:bodyPr/>
          <a:lstStyle/>
          <a:p>
            <a:r>
              <a:rPr lang="en-US" dirty="0"/>
              <a:t>Any questions?</a:t>
            </a:r>
            <a:endParaRPr lang="en-GB" dirty="0"/>
          </a:p>
        </p:txBody>
      </p:sp>
    </p:spTree>
    <p:extLst>
      <p:ext uri="{BB962C8B-B14F-4D97-AF65-F5344CB8AC3E}">
        <p14:creationId xmlns:p14="http://schemas.microsoft.com/office/powerpoint/2010/main" val="1906754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en-GB" dirty="0"/>
              <a:t>Agenda</a:t>
            </a:r>
          </a:p>
        </p:txBody>
      </p:sp>
      <p:sp>
        <p:nvSpPr>
          <p:cNvPr id="4" name="Espace réservé de la date 3"/>
          <p:cNvSpPr>
            <a:spLocks noGrp="1"/>
          </p:cNvSpPr>
          <p:nvPr>
            <p:ph type="dt" sz="half" idx="10"/>
          </p:nvPr>
        </p:nvSpPr>
        <p:spPr>
          <a:xfrm>
            <a:off x="422462" y="6356350"/>
            <a:ext cx="2133600" cy="365125"/>
          </a:xfrm>
        </p:spPr>
        <p:txBody>
          <a:bodyPr/>
          <a:lstStyle/>
          <a:p>
            <a:fld id="{3A101B08-4580-48F3-B1CA-82F8A9B9E531}" type="datetime1">
              <a:rPr lang="fr-FR" smtClean="0"/>
              <a:pPr/>
              <a:t>07/06/2023</a:t>
            </a:fld>
            <a:endParaRPr lang="fr-FR" dirty="0"/>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pPr/>
              <a:t>2</a:t>
            </a:fld>
            <a:endParaRPr lang="fr-FR" dirty="0"/>
          </a:p>
        </p:txBody>
      </p:sp>
      <p:sp>
        <p:nvSpPr>
          <p:cNvPr id="3" name="Text Placeholder 2"/>
          <p:cNvSpPr>
            <a:spLocks noGrp="1"/>
          </p:cNvSpPr>
          <p:nvPr>
            <p:ph type="body" sz="quarter" idx="13"/>
          </p:nvPr>
        </p:nvSpPr>
        <p:spPr>
          <a:xfrm>
            <a:off x="323528" y="597716"/>
            <a:ext cx="8496944" cy="671043"/>
          </a:xfrm>
          <a:solidFill>
            <a:schemeClr val="bg1"/>
          </a:solidFill>
        </p:spPr>
        <p:txBody>
          <a:bodyPr/>
          <a:lstStyle/>
          <a:p>
            <a:r>
              <a:rPr lang="en-US" dirty="0"/>
              <a:t>TERRE Stakeholder Workshop </a:t>
            </a:r>
            <a:r>
              <a:rPr lang="en-US" sz="1800" b="1" i="1" dirty="0">
                <a:solidFill>
                  <a:schemeClr val="accent6"/>
                </a:solidFill>
                <a:cs typeface="Arial" pitchFamily="34" charset="0"/>
              </a:rPr>
              <a:t>to exchange on the public survey about the increase of the number of clearings in the RR process</a:t>
            </a:r>
          </a:p>
          <a:p>
            <a:endParaRPr lang="en-GB" dirty="0"/>
          </a:p>
        </p:txBody>
      </p:sp>
      <p:graphicFrame>
        <p:nvGraphicFramePr>
          <p:cNvPr id="7" name="Table 6">
            <a:extLst>
              <a:ext uri="{FF2B5EF4-FFF2-40B4-BE49-F238E27FC236}">
                <a16:creationId xmlns:a16="http://schemas.microsoft.com/office/drawing/2014/main" id="{A80EBAAF-8127-4349-A381-0C93836B57D6}"/>
              </a:ext>
            </a:extLst>
          </p:cNvPr>
          <p:cNvGraphicFramePr>
            <a:graphicFrameLocks noGrp="1"/>
          </p:cNvGraphicFramePr>
          <p:nvPr>
            <p:extLst>
              <p:ext uri="{D42A27DB-BD31-4B8C-83A1-F6EECF244321}">
                <p14:modId xmlns:p14="http://schemas.microsoft.com/office/powerpoint/2010/main" val="1375392116"/>
              </p:ext>
            </p:extLst>
          </p:nvPr>
        </p:nvGraphicFramePr>
        <p:xfrm>
          <a:off x="323528" y="2204864"/>
          <a:ext cx="8496944" cy="1933535"/>
        </p:xfrm>
        <a:graphic>
          <a:graphicData uri="http://schemas.openxmlformats.org/drawingml/2006/table">
            <a:tbl>
              <a:tblPr firstRow="1" firstCol="1" bandRow="1"/>
              <a:tblGrid>
                <a:gridCol w="963205">
                  <a:extLst>
                    <a:ext uri="{9D8B030D-6E8A-4147-A177-3AD203B41FA5}">
                      <a16:colId xmlns:a16="http://schemas.microsoft.com/office/drawing/2014/main" val="2688219432"/>
                    </a:ext>
                  </a:extLst>
                </a:gridCol>
                <a:gridCol w="5992065">
                  <a:extLst>
                    <a:ext uri="{9D8B030D-6E8A-4147-A177-3AD203B41FA5}">
                      <a16:colId xmlns:a16="http://schemas.microsoft.com/office/drawing/2014/main" val="2438949131"/>
                    </a:ext>
                  </a:extLst>
                </a:gridCol>
                <a:gridCol w="1541674">
                  <a:extLst>
                    <a:ext uri="{9D8B030D-6E8A-4147-A177-3AD203B41FA5}">
                      <a16:colId xmlns:a16="http://schemas.microsoft.com/office/drawing/2014/main" val="2424315635"/>
                    </a:ext>
                  </a:extLst>
                </a:gridCol>
              </a:tblGrid>
              <a:tr h="305711">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TOPICS</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Timing (CET)</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extLst>
                  <a:ext uri="{0D108BD9-81ED-4DB2-BD59-A6C34878D82A}">
                    <a16:rowId xmlns:a16="http://schemas.microsoft.com/office/drawing/2014/main" val="2139995013"/>
                  </a:ext>
                </a:extLst>
              </a:tr>
              <a:tr h="3057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000000"/>
                          </a:solidFill>
                          <a:effectLst/>
                          <a:latin typeface="+mj-lt"/>
                          <a:ea typeface="Times New Roman" panose="02020603050405020304" pitchFamily="18" charset="0"/>
                          <a:cs typeface="Times New Roman" panose="02020603050405020304" pitchFamily="18" charset="0"/>
                        </a:rPr>
                        <a:t> </a:t>
                      </a:r>
                      <a:r>
                        <a:rPr lang="fr-FR" sz="1500" b="1" kern="1200" dirty="0">
                          <a:solidFill>
                            <a:schemeClr val="tx1"/>
                          </a:solidFill>
                          <a:effectLst/>
                          <a:latin typeface="+mn-lt"/>
                          <a:ea typeface="Times New Roman" panose="02020603050405020304" pitchFamily="18" charset="0"/>
                          <a:cs typeface="Times New Roman" panose="02020603050405020304" pitchFamily="18" charset="0"/>
                        </a:rPr>
                        <a:t>1</a:t>
                      </a:r>
                      <a:endParaRPr lang="en-GB" sz="1500" kern="1200" dirty="0">
                        <a:solidFill>
                          <a:schemeClr val="tx1"/>
                        </a:solidFill>
                        <a:effectLst/>
                        <a:latin typeface="+mn-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just"/>
                      <a:r>
                        <a:rPr lang="en-GB" sz="1500" b="1" dirty="0">
                          <a:solidFill>
                            <a:srgbClr val="000000"/>
                          </a:solidFill>
                          <a:effectLst/>
                          <a:latin typeface="+mj-lt"/>
                          <a:ea typeface="Times New Roman" panose="02020603050405020304" pitchFamily="18" charset="0"/>
                          <a:cs typeface="Times New Roman" panose="02020603050405020304" pitchFamily="18" charset="0"/>
                        </a:rPr>
                        <a:t>Introduction</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ctr"/>
                      <a:r>
                        <a:rPr lang="en-GB" sz="1500" b="0" dirty="0">
                          <a:solidFill>
                            <a:srgbClr val="000000"/>
                          </a:solidFill>
                          <a:effectLst/>
                          <a:latin typeface="+mj-lt"/>
                          <a:ea typeface="Times New Roman" panose="02020603050405020304" pitchFamily="18" charset="0"/>
                          <a:cs typeface="Times New Roman" panose="02020603050405020304" pitchFamily="18" charset="0"/>
                        </a:rPr>
                        <a:t>10:05</a:t>
                      </a:r>
                      <a:endParaRPr lang="en-GB" sz="1500" b="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671054754"/>
                  </a:ext>
                </a:extLst>
              </a:tr>
              <a:tr h="344365">
                <a:tc>
                  <a:txBody>
                    <a:bodyPr/>
                    <a:lstStyle/>
                    <a:p>
                      <a:pPr algn="ctr"/>
                      <a:r>
                        <a:rPr lang="fr-FR" sz="1500" b="1" dirty="0">
                          <a:effectLst/>
                          <a:latin typeface="+mj-lt"/>
                          <a:ea typeface="Times New Roman" panose="02020603050405020304" pitchFamily="18" charset="0"/>
                          <a:cs typeface="Times New Roman" panose="02020603050405020304" pitchFamily="18" charset="0"/>
                        </a:rPr>
                        <a:t>2</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just"/>
                      <a:r>
                        <a:rPr lang="en-US" sz="1600" b="1" dirty="0"/>
                        <a:t>Comparison of possible future design of RR process</a:t>
                      </a:r>
                      <a:endParaRPr lang="en-GB" sz="1500" b="1"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ctr"/>
                      <a:r>
                        <a:rPr lang="en-GB" sz="1500" dirty="0">
                          <a:effectLst/>
                          <a:latin typeface="+mj-lt"/>
                          <a:ea typeface="Times New Roman" panose="02020603050405020304" pitchFamily="18" charset="0"/>
                          <a:cs typeface="Times New Roman" panose="02020603050405020304" pitchFamily="18" charset="0"/>
                        </a:rPr>
                        <a:t>10:20</a:t>
                      </a: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366857661"/>
                  </a:ext>
                </a:extLst>
              </a:tr>
              <a:tr h="370719">
                <a:tc>
                  <a:txBody>
                    <a:bodyPr/>
                    <a:lstStyle/>
                    <a:p>
                      <a:pPr algn="ctr"/>
                      <a:r>
                        <a:rPr lang="fr-FR" sz="1500" b="1" dirty="0">
                          <a:effectLst/>
                          <a:latin typeface="+mj-lt"/>
                          <a:ea typeface="Times New Roman" panose="02020603050405020304" pitchFamily="18" charset="0"/>
                          <a:cs typeface="Times New Roman" panose="02020603050405020304" pitchFamily="18" charset="0"/>
                        </a:rPr>
                        <a:t>3</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just"/>
                      <a:r>
                        <a:rPr lang="en-GB" sz="1500" b="1" dirty="0">
                          <a:effectLst/>
                          <a:latin typeface="+mj-lt"/>
                          <a:ea typeface="Times New Roman" panose="02020603050405020304" pitchFamily="18" charset="0"/>
                          <a:cs typeface="Times New Roman" panose="02020603050405020304" pitchFamily="18" charset="0"/>
                        </a:rPr>
                        <a:t>Conclusion and questions</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ctr"/>
                      <a:r>
                        <a:rPr lang="en-GB" sz="1500" dirty="0">
                          <a:effectLst/>
                          <a:latin typeface="+mj-lt"/>
                          <a:ea typeface="Times New Roman" panose="02020603050405020304" pitchFamily="18" charset="0"/>
                          <a:cs typeface="Times New Roman" panose="02020603050405020304" pitchFamily="18" charset="0"/>
                        </a:rPr>
                        <a:t>11:00</a:t>
                      </a: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406150033"/>
                  </a:ext>
                </a:extLst>
              </a:tr>
              <a:tr h="326794">
                <a:tc>
                  <a:txBody>
                    <a:bodyPr/>
                    <a:lstStyle/>
                    <a:p>
                      <a:pPr algn="ctr"/>
                      <a:r>
                        <a:rPr lang="fr-FR" sz="1500" b="1" dirty="0">
                          <a:effectLst/>
                          <a:latin typeface="+mj-lt"/>
                          <a:ea typeface="Times New Roman" panose="02020603050405020304" pitchFamily="18" charset="0"/>
                          <a:cs typeface="Times New Roman" panose="02020603050405020304" pitchFamily="18" charset="0"/>
                        </a:rPr>
                        <a:t>4</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just"/>
                      <a:r>
                        <a:rPr lang="en-GB" sz="1500" b="1" dirty="0">
                          <a:effectLst/>
                          <a:latin typeface="+mj-lt"/>
                          <a:ea typeface="Times New Roman" panose="02020603050405020304" pitchFamily="18" charset="0"/>
                          <a:cs typeface="Times New Roman" panose="02020603050405020304" pitchFamily="18" charset="0"/>
                        </a:rPr>
                        <a:t>Questions &amp; Answers </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ctr"/>
                      <a:r>
                        <a:rPr lang="en-GB" sz="1500" dirty="0">
                          <a:effectLst/>
                          <a:latin typeface="+mj-lt"/>
                          <a:ea typeface="Times New Roman" panose="02020603050405020304" pitchFamily="18" charset="0"/>
                          <a:cs typeface="Times New Roman" panose="02020603050405020304" pitchFamily="18" charset="0"/>
                        </a:rPr>
                        <a:t>11:30</a:t>
                      </a: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3084453088"/>
                  </a:ext>
                </a:extLst>
              </a:tr>
              <a:tr h="280235">
                <a:tc>
                  <a:txBody>
                    <a:bodyPr/>
                    <a:lstStyle/>
                    <a:p>
                      <a:pPr algn="ctr"/>
                      <a:r>
                        <a:rPr lang="en-GB" sz="1500" b="1" dirty="0">
                          <a:solidFill>
                            <a:srgbClr val="000000"/>
                          </a:solidFill>
                          <a:effectLst/>
                          <a:latin typeface="+mj-lt"/>
                          <a:ea typeface="Times New Roman" panose="02020603050405020304" pitchFamily="18" charset="0"/>
                          <a:cs typeface="Times New Roman" panose="02020603050405020304" pitchFamily="18" charset="0"/>
                        </a:rPr>
                        <a:t> </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tc>
                  <a:txBody>
                    <a:bodyPr/>
                    <a:lstStyle/>
                    <a:p>
                      <a:pPr algn="just"/>
                      <a:r>
                        <a:rPr lang="en-GB" sz="1500" b="1">
                          <a:solidFill>
                            <a:srgbClr val="FFFFFF"/>
                          </a:solidFill>
                          <a:effectLst/>
                          <a:latin typeface="+mj-lt"/>
                          <a:ea typeface="Times New Roman" panose="02020603050405020304" pitchFamily="18" charset="0"/>
                          <a:cs typeface="Times New Roman" panose="02020603050405020304" pitchFamily="18" charset="0"/>
                        </a:rPr>
                        <a:t>End of the meeting</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12:00</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extLst>
                  <a:ext uri="{0D108BD9-81ED-4DB2-BD59-A6C34878D82A}">
                    <a16:rowId xmlns:a16="http://schemas.microsoft.com/office/drawing/2014/main" val="2548343533"/>
                  </a:ext>
                </a:extLst>
              </a:tr>
            </a:tbl>
          </a:graphicData>
        </a:graphic>
      </p:graphicFrame>
    </p:spTree>
    <p:extLst>
      <p:ext uri="{BB962C8B-B14F-4D97-AF65-F5344CB8AC3E}">
        <p14:creationId xmlns:p14="http://schemas.microsoft.com/office/powerpoint/2010/main" val="4933698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6CA6A39B-2923-4814-8F57-BD84643AD2B4}" type="slidenum">
              <a:rPr lang="fr-FR" smtClean="0"/>
              <a:pPr/>
              <a:t>20</a:t>
            </a:fld>
            <a:endParaRPr lang="fr-FR"/>
          </a:p>
        </p:txBody>
      </p:sp>
      <p:sp>
        <p:nvSpPr>
          <p:cNvPr id="8" name="Titre 7"/>
          <p:cNvSpPr>
            <a:spLocks noGrp="1"/>
          </p:cNvSpPr>
          <p:nvPr>
            <p:ph type="ctrTitle"/>
          </p:nvPr>
        </p:nvSpPr>
        <p:spPr/>
        <p:txBody>
          <a:bodyPr/>
          <a:lstStyle/>
          <a:p>
            <a:r>
              <a:rPr lang="en-GB" dirty="0"/>
              <a:t>Thanks for </a:t>
            </a:r>
            <a:r>
              <a:rPr lang="en-GB"/>
              <a:t>your participation</a:t>
            </a:r>
            <a:endParaRPr lang="en-GB" dirty="0"/>
          </a:p>
        </p:txBody>
      </p:sp>
    </p:spTree>
    <p:extLst>
      <p:ext uri="{BB962C8B-B14F-4D97-AF65-F5344CB8AC3E}">
        <p14:creationId xmlns:p14="http://schemas.microsoft.com/office/powerpoint/2010/main" val="2540940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CA6A39B-2923-4814-8F57-BD84643AD2B4}" type="slidenum">
              <a:rPr lang="fr-FR" smtClean="0"/>
              <a:pPr/>
              <a:t>21</a:t>
            </a:fld>
            <a:endParaRPr lang="fr-FR" dirty="0"/>
          </a:p>
        </p:txBody>
      </p:sp>
      <p:sp>
        <p:nvSpPr>
          <p:cNvPr id="4" name="Title 3"/>
          <p:cNvSpPr>
            <a:spLocks noGrp="1"/>
          </p:cNvSpPr>
          <p:nvPr>
            <p:ph type="ctrTitle"/>
          </p:nvPr>
        </p:nvSpPr>
        <p:spPr>
          <a:xfrm>
            <a:off x="1115616" y="2693988"/>
            <a:ext cx="7056784" cy="1470025"/>
          </a:xfrm>
        </p:spPr>
        <p:txBody>
          <a:bodyPr/>
          <a:lstStyle/>
          <a:p>
            <a:r>
              <a:rPr lang="en-US" dirty="0"/>
              <a:t>Back-up slides</a:t>
            </a:r>
            <a:endParaRPr lang="en-GB" dirty="0"/>
          </a:p>
        </p:txBody>
      </p:sp>
    </p:spTree>
    <p:extLst>
      <p:ext uri="{BB962C8B-B14F-4D97-AF65-F5344CB8AC3E}">
        <p14:creationId xmlns:p14="http://schemas.microsoft.com/office/powerpoint/2010/main" val="3838537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US" dirty="0"/>
              <a:t>Back-up slides</a:t>
            </a:r>
            <a:endParaRPr lang="en-GB" dirty="0"/>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22</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Why 48-clearings options are not feasible?</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p:txBody>
      </p:sp>
      <p:pic>
        <p:nvPicPr>
          <p:cNvPr id="7" name="Image 10">
            <a:extLst>
              <a:ext uri="{FF2B5EF4-FFF2-40B4-BE49-F238E27FC236}">
                <a16:creationId xmlns:a16="http://schemas.microsoft.com/office/drawing/2014/main" id="{509251DC-266A-A261-CDEA-5D3F2676E46E}"/>
              </a:ext>
            </a:extLst>
          </p:cNvPr>
          <p:cNvPicPr>
            <a:picLocks noChangeAspect="1"/>
          </p:cNvPicPr>
          <p:nvPr/>
        </p:nvPicPr>
        <p:blipFill>
          <a:blip r:embed="rId2"/>
          <a:stretch>
            <a:fillRect/>
          </a:stretch>
        </p:blipFill>
        <p:spPr>
          <a:xfrm>
            <a:off x="122212" y="1225131"/>
            <a:ext cx="8899576" cy="4407738"/>
          </a:xfrm>
          <a:prstGeom prst="rect">
            <a:avLst/>
          </a:prstGeom>
        </p:spPr>
      </p:pic>
    </p:spTree>
    <p:extLst>
      <p:ext uri="{BB962C8B-B14F-4D97-AF65-F5344CB8AC3E}">
        <p14:creationId xmlns:p14="http://schemas.microsoft.com/office/powerpoint/2010/main" val="1963146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CA6A39B-2923-4814-8F57-BD84643AD2B4}" type="slidenum">
              <a:rPr lang="fr-FR" smtClean="0"/>
              <a:pPr/>
              <a:t>3</a:t>
            </a:fld>
            <a:endParaRPr lang="fr-FR"/>
          </a:p>
        </p:txBody>
      </p:sp>
      <p:sp>
        <p:nvSpPr>
          <p:cNvPr id="4" name="Title 3"/>
          <p:cNvSpPr>
            <a:spLocks noGrp="1"/>
          </p:cNvSpPr>
          <p:nvPr>
            <p:ph type="ctrTitle"/>
          </p:nvPr>
        </p:nvSpPr>
        <p:spPr/>
        <p:txBody>
          <a:bodyPr/>
          <a:lstStyle/>
          <a:p>
            <a:r>
              <a:rPr lang="en-US" dirty="0"/>
              <a:t>1. Introduction</a:t>
            </a:r>
            <a:endParaRPr lang="en-GB" dirty="0"/>
          </a:p>
        </p:txBody>
      </p:sp>
    </p:spTree>
    <p:extLst>
      <p:ext uri="{BB962C8B-B14F-4D97-AF65-F5344CB8AC3E}">
        <p14:creationId xmlns:p14="http://schemas.microsoft.com/office/powerpoint/2010/main" val="2662798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en-GB" dirty="0"/>
              <a:t>Introduction</a:t>
            </a:r>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en-GB" smtClean="0"/>
              <a:pPr/>
              <a:t>07/06/2023</a:t>
            </a:fld>
            <a:endParaRPr lang="en-GB" dirty="0"/>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en-GB" smtClean="0"/>
              <a:pPr/>
              <a:t>4</a:t>
            </a:fld>
            <a:endParaRPr lang="en-GB" dirty="0"/>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en-GB" dirty="0"/>
              <a:t>Public survey organization</a:t>
            </a:r>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1F497D"/>
              </a:buClr>
              <a:buNone/>
            </a:pPr>
            <a:endParaRPr lang="en-GB" sz="1800" b="1" dirty="0">
              <a:solidFill>
                <a:srgbClr val="002060"/>
              </a:solidFill>
            </a:endParaRPr>
          </a:p>
          <a:p>
            <a:pPr algn="just">
              <a:buClr>
                <a:srgbClr val="1F497D"/>
              </a:buClr>
              <a:buFont typeface="Arial" panose="020B0604020202020204" pitchFamily="34" charset="0"/>
              <a:buChar char="•"/>
            </a:pPr>
            <a:r>
              <a:rPr lang="en-US" sz="1800" dirty="0">
                <a:latin typeface="+mj-lt"/>
              </a:rPr>
              <a:t>The proposed public survey has been launched on Monday 29</a:t>
            </a:r>
            <a:r>
              <a:rPr lang="en-US" sz="1800" baseline="30000" dirty="0">
                <a:latin typeface="+mj-lt"/>
              </a:rPr>
              <a:t>th</a:t>
            </a:r>
            <a:r>
              <a:rPr lang="en-US" sz="1800" dirty="0">
                <a:latin typeface="+mj-lt"/>
              </a:rPr>
              <a:t> May and will end on Friday 30</a:t>
            </a:r>
            <a:r>
              <a:rPr lang="en-US" sz="1800" baseline="30000" dirty="0">
                <a:latin typeface="+mj-lt"/>
              </a:rPr>
              <a:t>th</a:t>
            </a:r>
            <a:r>
              <a:rPr lang="en-US" sz="1800" dirty="0">
                <a:latin typeface="+mj-lt"/>
              </a:rPr>
              <a:t> June.</a:t>
            </a:r>
          </a:p>
          <a:p>
            <a:pPr algn="just">
              <a:buClr>
                <a:srgbClr val="1F497D"/>
              </a:buClr>
              <a:buFont typeface="Arial" panose="020B0604020202020204" pitchFamily="34" charset="0"/>
              <a:buChar char="•"/>
            </a:pPr>
            <a:r>
              <a:rPr lang="en-US" sz="1800" dirty="0">
                <a:latin typeface="+mj-lt"/>
              </a:rPr>
              <a:t>Public stakeholders are invited to read carefully the explanatory document and answer to the question of the survey.</a:t>
            </a:r>
          </a:p>
          <a:p>
            <a:pPr algn="just">
              <a:buClr>
                <a:srgbClr val="1F497D"/>
              </a:buClr>
              <a:buFont typeface="Arial" panose="020B0604020202020204" pitchFamily="34" charset="0"/>
              <a:buChar char="•"/>
            </a:pPr>
            <a:r>
              <a:rPr lang="en-US" sz="1800" dirty="0">
                <a:latin typeface="+mj-lt"/>
              </a:rPr>
              <a:t>It is proposed as a preliminary consultation to gather all public stakeholders’ feedbacks to select the best option. Another public consultation will follow to amend the Implementation Framework thanks to the chosen option</a:t>
            </a:r>
          </a:p>
          <a:p>
            <a:pPr>
              <a:buClr>
                <a:srgbClr val="1F497D"/>
              </a:buClr>
              <a:buFont typeface="Arial" panose="020B0604020202020204" pitchFamily="34" charset="0"/>
              <a:buChar char="•"/>
            </a:pPr>
            <a:r>
              <a:rPr lang="en-US" sz="1800" dirty="0">
                <a:latin typeface="+mj-lt"/>
              </a:rPr>
              <a:t>Link of the public survey:  </a:t>
            </a:r>
            <a:r>
              <a:rPr lang="en-GB" sz="1800" u="sng" dirty="0">
                <a:solidFill>
                  <a:srgbClr val="0070C0"/>
                </a:solidFill>
                <a:latin typeface="+mj-lt"/>
                <a:hlinkClick r:id="rId2"/>
              </a:rPr>
              <a:t>https://consultations.entsoe.eu/markets/rr_survey_clearings/</a:t>
            </a:r>
            <a:endParaRPr lang="en-GB" sz="1800" u="sng" dirty="0">
              <a:solidFill>
                <a:srgbClr val="0070C0"/>
              </a:solidFill>
              <a:latin typeface="+mj-lt"/>
            </a:endParaRPr>
          </a:p>
        </p:txBody>
      </p:sp>
    </p:spTree>
    <p:extLst>
      <p:ext uri="{BB962C8B-B14F-4D97-AF65-F5344CB8AC3E}">
        <p14:creationId xmlns:p14="http://schemas.microsoft.com/office/powerpoint/2010/main" val="2442605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9C8B2-3639-40A4-4C88-77F79F9DA77C}"/>
              </a:ext>
            </a:extLst>
          </p:cNvPr>
          <p:cNvSpPr>
            <a:spLocks noGrp="1"/>
          </p:cNvSpPr>
          <p:nvPr>
            <p:ph type="title"/>
          </p:nvPr>
        </p:nvSpPr>
        <p:spPr/>
        <p:txBody>
          <a:bodyPr/>
          <a:lstStyle/>
          <a:p>
            <a:r>
              <a:rPr lang="fr-FR" dirty="0"/>
              <a:t>1. Introduction</a:t>
            </a:r>
          </a:p>
        </p:txBody>
      </p:sp>
      <p:sp>
        <p:nvSpPr>
          <p:cNvPr id="4" name="Date Placeholder 3">
            <a:extLst>
              <a:ext uri="{FF2B5EF4-FFF2-40B4-BE49-F238E27FC236}">
                <a16:creationId xmlns:a16="http://schemas.microsoft.com/office/drawing/2014/main" id="{561245C1-F491-F5F2-6C74-DC405E6C69A0}"/>
              </a:ext>
            </a:extLst>
          </p:cNvPr>
          <p:cNvSpPr>
            <a:spLocks noGrp="1"/>
          </p:cNvSpPr>
          <p:nvPr>
            <p:ph type="dt" sz="half" idx="10"/>
          </p:nvPr>
        </p:nvSpPr>
        <p:spPr/>
        <p:txBody>
          <a:bodyPr/>
          <a:lstStyle/>
          <a:p>
            <a:fld id="{3A101B08-4580-48F3-B1CA-82F8A9B9E531}" type="datetime1">
              <a:rPr lang="fr-FR" smtClean="0"/>
              <a:pPr/>
              <a:t>07/06/2023</a:t>
            </a:fld>
            <a:endParaRPr lang="fr-FR"/>
          </a:p>
        </p:txBody>
      </p:sp>
      <p:sp>
        <p:nvSpPr>
          <p:cNvPr id="5" name="Slide Number Placeholder 4">
            <a:extLst>
              <a:ext uri="{FF2B5EF4-FFF2-40B4-BE49-F238E27FC236}">
                <a16:creationId xmlns:a16="http://schemas.microsoft.com/office/drawing/2014/main" id="{B6DD872A-941D-25F4-ABA1-9AF06BD12AED}"/>
              </a:ext>
            </a:extLst>
          </p:cNvPr>
          <p:cNvSpPr>
            <a:spLocks noGrp="1"/>
          </p:cNvSpPr>
          <p:nvPr>
            <p:ph type="sldNum" sz="quarter" idx="12"/>
          </p:nvPr>
        </p:nvSpPr>
        <p:spPr/>
        <p:txBody>
          <a:bodyPr/>
          <a:lstStyle/>
          <a:p>
            <a:fld id="{6CA6A39B-2923-4814-8F57-BD84643AD2B4}" type="slidenum">
              <a:rPr lang="fr-FR" smtClean="0"/>
              <a:pPr/>
              <a:t>5</a:t>
            </a:fld>
            <a:endParaRPr lang="fr-FR"/>
          </a:p>
        </p:txBody>
      </p:sp>
      <p:sp>
        <p:nvSpPr>
          <p:cNvPr id="6" name="Text Placeholder 5">
            <a:extLst>
              <a:ext uri="{FF2B5EF4-FFF2-40B4-BE49-F238E27FC236}">
                <a16:creationId xmlns:a16="http://schemas.microsoft.com/office/drawing/2014/main" id="{951191C7-4D22-74F0-98BF-618CE9C66F00}"/>
              </a:ext>
            </a:extLst>
          </p:cNvPr>
          <p:cNvSpPr>
            <a:spLocks noGrp="1"/>
          </p:cNvSpPr>
          <p:nvPr>
            <p:ph type="body" sz="quarter" idx="13"/>
          </p:nvPr>
        </p:nvSpPr>
        <p:spPr/>
        <p:txBody>
          <a:bodyPr/>
          <a:lstStyle/>
          <a:p>
            <a:r>
              <a:rPr lang="fr-FR" dirty="0"/>
              <a:t>Legal </a:t>
            </a:r>
            <a:r>
              <a:rPr lang="fr-FR" dirty="0" err="1"/>
              <a:t>context</a:t>
            </a:r>
            <a:endParaRPr lang="fr-FR" dirty="0"/>
          </a:p>
        </p:txBody>
      </p:sp>
      <p:sp>
        <p:nvSpPr>
          <p:cNvPr id="8" name="Content Placeholder 6">
            <a:extLst>
              <a:ext uri="{FF2B5EF4-FFF2-40B4-BE49-F238E27FC236}">
                <a16:creationId xmlns:a16="http://schemas.microsoft.com/office/drawing/2014/main" id="{C2EB3E9C-3260-8335-719B-DD371F5E4AA7}"/>
              </a:ext>
            </a:extLst>
          </p:cNvPr>
          <p:cNvSpPr txBox="1">
            <a:spLocks/>
          </p:cNvSpPr>
          <p:nvPr/>
        </p:nvSpPr>
        <p:spPr>
          <a:xfrm>
            <a:off x="323529" y="980728"/>
            <a:ext cx="8363272" cy="5274387"/>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Clr>
                <a:srgbClr val="1F497D"/>
              </a:buClr>
              <a:buFont typeface="Arial" panose="020B0604020202020204" pitchFamily="34" charset="0"/>
              <a:buChar char="•"/>
            </a:pPr>
            <a:r>
              <a:rPr lang="en-US" sz="1600" dirty="0">
                <a:solidFill>
                  <a:srgbClr val="595959"/>
                </a:solidFill>
                <a:latin typeface="+mj-lt"/>
              </a:rPr>
              <a:t>Today. the RR process consists of 24 daily gates with 24 clearings per day. This design was mainly chosen because at the time of the introduction of the RR platform. the cross-border scheduling step was 60 minutes on most borders.</a:t>
            </a:r>
          </a:p>
          <a:p>
            <a:pPr algn="just">
              <a:buClr>
                <a:srgbClr val="1F497D"/>
              </a:buClr>
              <a:buFont typeface="Arial" panose="020B0604020202020204" pitchFamily="34" charset="0"/>
              <a:buChar char="•"/>
            </a:pPr>
            <a:r>
              <a:rPr lang="en-US" sz="1600" dirty="0">
                <a:solidFill>
                  <a:srgbClr val="595959"/>
                </a:solidFill>
                <a:latin typeface="+mj-lt"/>
              </a:rPr>
              <a:t>According to the current IF, the cross-border scheduling step must be reduced to 15 minutes, on all borders. That would allow to increase the number of daily gates for the RR process.</a:t>
            </a: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endParaRPr lang="en-US" sz="1600" dirty="0">
              <a:solidFill>
                <a:srgbClr val="595959"/>
              </a:solidFill>
              <a:latin typeface="+mj-lt"/>
            </a:endParaRPr>
          </a:p>
          <a:p>
            <a:pPr algn="just">
              <a:buClr>
                <a:srgbClr val="1F497D"/>
              </a:buClr>
              <a:buFont typeface="Arial" panose="020B0604020202020204" pitchFamily="34" charset="0"/>
              <a:buChar char="•"/>
            </a:pPr>
            <a:r>
              <a:rPr lang="en-US" sz="1600" dirty="0">
                <a:solidFill>
                  <a:srgbClr val="595959"/>
                </a:solidFill>
                <a:latin typeface="+mj-lt"/>
              </a:rPr>
              <a:t>Together with the reduction of the cross-border scheduling step, relevant market regulation also prescribes a combined reduction of the market time unit (MTU) and of the Imbalance Settlement period on both balancing markets and energy markets.</a:t>
            </a:r>
            <a:endParaRPr lang="fr-FR" sz="1600" dirty="0">
              <a:solidFill>
                <a:srgbClr val="595959"/>
              </a:solidFill>
              <a:latin typeface="+mj-lt"/>
            </a:endParaRPr>
          </a:p>
        </p:txBody>
      </p:sp>
      <p:pic>
        <p:nvPicPr>
          <p:cNvPr id="9" name="Picture 8">
            <a:extLst>
              <a:ext uri="{FF2B5EF4-FFF2-40B4-BE49-F238E27FC236}">
                <a16:creationId xmlns:a16="http://schemas.microsoft.com/office/drawing/2014/main" id="{7BBAB2E4-7FE0-311A-0C8B-71C90C1B9DDF}"/>
              </a:ext>
            </a:extLst>
          </p:cNvPr>
          <p:cNvPicPr>
            <a:picLocks noChangeAspect="1"/>
          </p:cNvPicPr>
          <p:nvPr/>
        </p:nvPicPr>
        <p:blipFill>
          <a:blip r:embed="rId2"/>
          <a:stretch>
            <a:fillRect/>
          </a:stretch>
        </p:blipFill>
        <p:spPr>
          <a:xfrm>
            <a:off x="1403648" y="2348880"/>
            <a:ext cx="6619875" cy="2215550"/>
          </a:xfrm>
          <a:prstGeom prst="rect">
            <a:avLst/>
          </a:prstGeom>
        </p:spPr>
      </p:pic>
      <p:pic>
        <p:nvPicPr>
          <p:cNvPr id="10" name="Picture 9">
            <a:extLst>
              <a:ext uri="{FF2B5EF4-FFF2-40B4-BE49-F238E27FC236}">
                <a16:creationId xmlns:a16="http://schemas.microsoft.com/office/drawing/2014/main" id="{3A130546-6938-7977-E4AF-90182DE78106}"/>
              </a:ext>
            </a:extLst>
          </p:cNvPr>
          <p:cNvPicPr>
            <a:picLocks noChangeAspect="1"/>
          </p:cNvPicPr>
          <p:nvPr/>
        </p:nvPicPr>
        <p:blipFill>
          <a:blip r:embed="rId3"/>
          <a:stretch>
            <a:fillRect/>
          </a:stretch>
        </p:blipFill>
        <p:spPr>
          <a:xfrm>
            <a:off x="1400175" y="5499728"/>
            <a:ext cx="6619874" cy="948642"/>
          </a:xfrm>
          <a:prstGeom prst="rect">
            <a:avLst/>
          </a:prstGeom>
        </p:spPr>
      </p:pic>
    </p:spTree>
    <p:extLst>
      <p:ext uri="{BB962C8B-B14F-4D97-AF65-F5344CB8AC3E}">
        <p14:creationId xmlns:p14="http://schemas.microsoft.com/office/powerpoint/2010/main" val="3374880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1</a:t>
            </a:r>
            <a:r>
              <a:rPr lang="en-US" dirty="0"/>
              <a:t>. Introduction</a:t>
            </a:r>
            <a:endParaRPr lang="en-GB" dirty="0"/>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pPr/>
              <a:t>6</a:t>
            </a:fld>
            <a:endParaRPr lang="fr-FR"/>
          </a:p>
        </p:txBody>
      </p:sp>
      <p:sp>
        <p:nvSpPr>
          <p:cNvPr id="15" name="Text Placeholder 5">
            <a:extLst>
              <a:ext uri="{FF2B5EF4-FFF2-40B4-BE49-F238E27FC236}">
                <a16:creationId xmlns:a16="http://schemas.microsoft.com/office/drawing/2014/main" id="{6ECE80BD-44BA-4FB4-B913-655627A2F712}"/>
              </a:ext>
            </a:extLst>
          </p:cNvPr>
          <p:cNvSpPr>
            <a:spLocks noGrp="1"/>
          </p:cNvSpPr>
          <p:nvPr>
            <p:ph type="body" sz="quarter" idx="13"/>
          </p:nvPr>
        </p:nvSpPr>
        <p:spPr>
          <a:xfrm>
            <a:off x="323528" y="597717"/>
            <a:ext cx="8496944" cy="360362"/>
          </a:xfrm>
        </p:spPr>
        <p:txBody>
          <a:bodyPr/>
          <a:lstStyle/>
          <a:p>
            <a:r>
              <a:rPr lang="fr-FR" sz="1800" b="1" dirty="0">
                <a:effectLst/>
                <a:latin typeface="Calibri" panose="020F0502020204030204" pitchFamily="34" charset="0"/>
                <a:ea typeface="Calibri" panose="020F0502020204030204" pitchFamily="34" charset="0"/>
              </a:rPr>
              <a:t>Legal </a:t>
            </a:r>
            <a:r>
              <a:rPr lang="fr-FR" sz="1800" b="1" dirty="0" err="1">
                <a:effectLst/>
                <a:latin typeface="Calibri" panose="020F0502020204030204" pitchFamily="34" charset="0"/>
                <a:ea typeface="Calibri" panose="020F0502020204030204" pitchFamily="34" charset="0"/>
              </a:rPr>
              <a:t>context</a:t>
            </a:r>
            <a:endParaRPr lang="en-GB" dirty="0"/>
          </a:p>
        </p:txBody>
      </p:sp>
      <p:sp>
        <p:nvSpPr>
          <p:cNvPr id="7" name="Content Placeholder 6">
            <a:extLst>
              <a:ext uri="{FF2B5EF4-FFF2-40B4-BE49-F238E27FC236}">
                <a16:creationId xmlns:a16="http://schemas.microsoft.com/office/drawing/2014/main" id="{7FE6DD3C-0288-5259-0148-67ED3543170F}"/>
              </a:ext>
            </a:extLst>
          </p:cNvPr>
          <p:cNvSpPr txBox="1">
            <a:spLocks/>
          </p:cNvSpPr>
          <p:nvPr/>
        </p:nvSpPr>
        <p:spPr>
          <a:xfrm>
            <a:off x="323529" y="980728"/>
            <a:ext cx="8363272" cy="5877272"/>
          </a:xfrm>
          <a:prstGeom prst="rect">
            <a:avLst/>
          </a:prstGeom>
          <a:noFill/>
          <a:ln>
            <a:noFill/>
          </a:ln>
        </p:spPr>
        <p:txBody>
          <a:bodyPr vert="horz" lIns="91440" tIns="45720" rIns="91440" bIns="45720" rtlCol="0" anchor="t">
            <a:normAutofit fontScale="92500" lnSpcReduction="1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800" dirty="0">
              <a:solidFill>
                <a:srgbClr val="595959"/>
              </a:solidFill>
              <a:latin typeface="+mj-lt"/>
            </a:endParaRPr>
          </a:p>
          <a:p>
            <a:pPr marL="457200" lvl="1" indent="0" algn="just">
              <a:buClr>
                <a:srgbClr val="1F497D"/>
              </a:buClr>
              <a:buNone/>
            </a:pPr>
            <a:endParaRPr lang="en-US" sz="1800" dirty="0">
              <a:solidFill>
                <a:srgbClr val="595959"/>
              </a:solidFill>
              <a:latin typeface="+mj-lt"/>
            </a:endParaRPr>
          </a:p>
          <a:p>
            <a:pPr marL="457200" lvl="1" indent="0" algn="just">
              <a:buClr>
                <a:srgbClr val="1F497D"/>
              </a:buClr>
              <a:buNone/>
            </a:pPr>
            <a:endParaRPr lang="en-US" sz="1500" dirty="0">
              <a:solidFill>
                <a:srgbClr val="595959"/>
              </a:solidFill>
              <a:latin typeface="+mj-lt"/>
            </a:endParaRPr>
          </a:p>
          <a:p>
            <a:pPr indent="-285750" algn="just">
              <a:buClr>
                <a:srgbClr val="1F497D"/>
              </a:buClr>
              <a:buFont typeface="Arial" panose="020B0604020202020204" pitchFamily="34" charset="0"/>
              <a:buChar char="•"/>
            </a:pPr>
            <a:r>
              <a:rPr lang="en-US" sz="1700" dirty="0">
                <a:solidFill>
                  <a:srgbClr val="595959"/>
                </a:solidFill>
                <a:latin typeface="+mj-lt"/>
              </a:rPr>
              <a:t>The RR platform already allows the use of a 15-minute MTU, while only performing 24 daily clearings. On the other hand, the number of daily gates for the cross-zonal intraday, which is also 24 at the moment, will increase to 96 gates in the future (as per the above Article of Reg.(EU) 2019/943). Also, as set by the following art. 24.2(b) of EBGL, the balancing energy gate closure time shall not be before the intraday cross-zonal gate closure time:</a:t>
            </a:r>
          </a:p>
          <a:p>
            <a:pPr lvl="1" algn="just">
              <a:buClr>
                <a:srgbClr val="1F497D"/>
              </a:buClr>
              <a:buFont typeface="Arial" panose="020B0604020202020204" pitchFamily="34" charset="0"/>
              <a:buChar char="•"/>
            </a:pPr>
            <a:endParaRPr lang="en-US" sz="1500" dirty="0">
              <a:solidFill>
                <a:srgbClr val="595959"/>
              </a:solidFill>
              <a:latin typeface="+mj-lt"/>
            </a:endParaRPr>
          </a:p>
          <a:p>
            <a:pPr lvl="1" algn="just">
              <a:buClr>
                <a:srgbClr val="1F497D"/>
              </a:buClr>
              <a:buFont typeface="Arial" panose="020B0604020202020204" pitchFamily="34" charset="0"/>
              <a:buChar char="•"/>
            </a:pPr>
            <a:endParaRPr lang="en-US" sz="1500" dirty="0">
              <a:solidFill>
                <a:srgbClr val="595959"/>
              </a:solidFill>
              <a:latin typeface="+mj-lt"/>
            </a:endParaRPr>
          </a:p>
          <a:p>
            <a:pPr lvl="1" algn="just">
              <a:buClr>
                <a:srgbClr val="1F497D"/>
              </a:buClr>
              <a:buFont typeface="Arial" panose="020B0604020202020204" pitchFamily="34" charset="0"/>
              <a:buChar char="•"/>
            </a:pPr>
            <a:endParaRPr lang="en-US" sz="15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a:p>
            <a:pPr marL="400050" algn="just">
              <a:buClr>
                <a:srgbClr val="1F497D"/>
              </a:buClr>
              <a:buFont typeface="Arial" panose="020B0604020202020204" pitchFamily="34" charset="0"/>
              <a:buChar char="•"/>
            </a:pPr>
            <a:r>
              <a:rPr lang="en-US" sz="1700" dirty="0">
                <a:solidFill>
                  <a:srgbClr val="595959"/>
                </a:solidFill>
                <a:latin typeface="+mj-lt"/>
              </a:rPr>
              <a:t>Therefore, </a:t>
            </a:r>
            <a:r>
              <a:rPr lang="en-US" sz="1700" b="1" dirty="0">
                <a:solidFill>
                  <a:srgbClr val="595959"/>
                </a:solidFill>
                <a:latin typeface="+mj-lt"/>
              </a:rPr>
              <a:t>the new number of intraday gates necessarily leads to the increase of the number of daily gates for the RR process.</a:t>
            </a:r>
            <a:endParaRPr lang="fr-FR" sz="1900" b="1" dirty="0">
              <a:solidFill>
                <a:srgbClr val="595959"/>
              </a:solidFill>
              <a:latin typeface="+mj-lt"/>
            </a:endParaRPr>
          </a:p>
          <a:p>
            <a:pPr lvl="1" algn="just">
              <a:buClr>
                <a:srgbClr val="1F497D"/>
              </a:buClr>
              <a:buFont typeface="Arial" panose="020B0604020202020204" pitchFamily="34" charset="0"/>
              <a:buChar char="•"/>
            </a:pPr>
            <a:endParaRPr lang="en-US" sz="1600" dirty="0">
              <a:solidFill>
                <a:srgbClr val="595959"/>
              </a:solidFill>
              <a:latin typeface="+mj-lt"/>
            </a:endParaRPr>
          </a:p>
        </p:txBody>
      </p:sp>
      <p:pic>
        <p:nvPicPr>
          <p:cNvPr id="8" name="Picture 7">
            <a:extLst>
              <a:ext uri="{FF2B5EF4-FFF2-40B4-BE49-F238E27FC236}">
                <a16:creationId xmlns:a16="http://schemas.microsoft.com/office/drawing/2014/main" id="{51ECB133-EA6C-87C2-7BEA-F523F7A8C45A}"/>
              </a:ext>
            </a:extLst>
          </p:cNvPr>
          <p:cNvPicPr>
            <a:picLocks noChangeAspect="1"/>
          </p:cNvPicPr>
          <p:nvPr/>
        </p:nvPicPr>
        <p:blipFill>
          <a:blip r:embed="rId3"/>
          <a:stretch>
            <a:fillRect/>
          </a:stretch>
        </p:blipFill>
        <p:spPr>
          <a:xfrm>
            <a:off x="1624012" y="1052736"/>
            <a:ext cx="6657975" cy="2154661"/>
          </a:xfrm>
          <a:prstGeom prst="rect">
            <a:avLst/>
          </a:prstGeom>
        </p:spPr>
      </p:pic>
      <p:pic>
        <p:nvPicPr>
          <p:cNvPr id="9" name="Picture 8">
            <a:extLst>
              <a:ext uri="{FF2B5EF4-FFF2-40B4-BE49-F238E27FC236}">
                <a16:creationId xmlns:a16="http://schemas.microsoft.com/office/drawing/2014/main" id="{0A791278-8CA1-51EC-8FF6-68EC3421E2ED}"/>
              </a:ext>
            </a:extLst>
          </p:cNvPr>
          <p:cNvPicPr>
            <a:picLocks noChangeAspect="1"/>
          </p:cNvPicPr>
          <p:nvPr/>
        </p:nvPicPr>
        <p:blipFill>
          <a:blip r:embed="rId4"/>
          <a:stretch>
            <a:fillRect/>
          </a:stretch>
        </p:blipFill>
        <p:spPr>
          <a:xfrm>
            <a:off x="1624012" y="4581128"/>
            <a:ext cx="6680441" cy="1405677"/>
          </a:xfrm>
          <a:prstGeom prst="rect">
            <a:avLst/>
          </a:prstGeom>
        </p:spPr>
      </p:pic>
    </p:spTree>
    <p:extLst>
      <p:ext uri="{BB962C8B-B14F-4D97-AF65-F5344CB8AC3E}">
        <p14:creationId xmlns:p14="http://schemas.microsoft.com/office/powerpoint/2010/main" val="19507680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a:t>1. Introduction</a:t>
            </a:r>
          </a:p>
        </p:txBody>
      </p:sp>
      <p:sp>
        <p:nvSpPr>
          <p:cNvPr id="15" name="Text Placeholder 5">
            <a:extLst>
              <a:ext uri="{FF2B5EF4-FFF2-40B4-BE49-F238E27FC236}">
                <a16:creationId xmlns:a16="http://schemas.microsoft.com/office/drawing/2014/main" id="{6ECE80BD-44BA-4FB4-B913-655627A2F712}"/>
              </a:ext>
            </a:extLst>
          </p:cNvPr>
          <p:cNvSpPr>
            <a:spLocks noGrp="1"/>
          </p:cNvSpPr>
          <p:nvPr>
            <p:ph type="body" sz="quarter" idx="13"/>
          </p:nvPr>
        </p:nvSpPr>
        <p:spPr>
          <a:xfrm>
            <a:off x="323528" y="597717"/>
            <a:ext cx="8496944" cy="360362"/>
          </a:xfrm>
        </p:spPr>
        <p:txBody>
          <a:bodyPr/>
          <a:lstStyle/>
          <a:p>
            <a:r>
              <a:rPr lang="en-GB" dirty="0">
                <a:latin typeface="Calibri" panose="020F0502020204030204" pitchFamily="34" charset="0"/>
                <a:ea typeface="Calibri" panose="020F0502020204030204" pitchFamily="34" charset="0"/>
              </a:rPr>
              <a:t>Conclusion and ti</a:t>
            </a:r>
            <a:r>
              <a:rPr lang="en-GB" sz="1800" b="1" dirty="0">
                <a:effectLst/>
                <a:latin typeface="Calibri" panose="020F0502020204030204" pitchFamily="34" charset="0"/>
                <a:ea typeface="Calibri" panose="020F0502020204030204" pitchFamily="34" charset="0"/>
              </a:rPr>
              <a:t>meline</a:t>
            </a:r>
            <a:endParaRPr lang="en-GB" dirty="0"/>
          </a:p>
        </p:txBody>
      </p:sp>
      <p:graphicFrame>
        <p:nvGraphicFramePr>
          <p:cNvPr id="4" name="Table 3">
            <a:extLst>
              <a:ext uri="{FF2B5EF4-FFF2-40B4-BE49-F238E27FC236}">
                <a16:creationId xmlns:a16="http://schemas.microsoft.com/office/drawing/2014/main" id="{C834404C-AEA4-5C69-23E4-227D891A12EC}"/>
              </a:ext>
            </a:extLst>
          </p:cNvPr>
          <p:cNvGraphicFramePr>
            <a:graphicFrameLocks noGrp="1"/>
          </p:cNvGraphicFramePr>
          <p:nvPr>
            <p:extLst>
              <p:ext uri="{D42A27DB-BD31-4B8C-83A1-F6EECF244321}">
                <p14:modId xmlns:p14="http://schemas.microsoft.com/office/powerpoint/2010/main" val="3688155561"/>
              </p:ext>
            </p:extLst>
          </p:nvPr>
        </p:nvGraphicFramePr>
        <p:xfrm>
          <a:off x="665242" y="1811946"/>
          <a:ext cx="7427168" cy="1545046"/>
        </p:xfrm>
        <a:graphic>
          <a:graphicData uri="http://schemas.openxmlformats.org/drawingml/2006/table">
            <a:tbl>
              <a:tblPr firstRow="1" firstCol="1" bandRow="1">
                <a:tableStyleId>{5C22544A-7EE6-4342-B048-85BDC9FD1C3A}</a:tableStyleId>
              </a:tblPr>
              <a:tblGrid>
                <a:gridCol w="1856402">
                  <a:extLst>
                    <a:ext uri="{9D8B030D-6E8A-4147-A177-3AD203B41FA5}">
                      <a16:colId xmlns:a16="http://schemas.microsoft.com/office/drawing/2014/main" val="3473243351"/>
                    </a:ext>
                  </a:extLst>
                </a:gridCol>
                <a:gridCol w="1856402">
                  <a:extLst>
                    <a:ext uri="{9D8B030D-6E8A-4147-A177-3AD203B41FA5}">
                      <a16:colId xmlns:a16="http://schemas.microsoft.com/office/drawing/2014/main" val="3089142201"/>
                    </a:ext>
                  </a:extLst>
                </a:gridCol>
                <a:gridCol w="1857182">
                  <a:extLst>
                    <a:ext uri="{9D8B030D-6E8A-4147-A177-3AD203B41FA5}">
                      <a16:colId xmlns:a16="http://schemas.microsoft.com/office/drawing/2014/main" val="3854522328"/>
                    </a:ext>
                  </a:extLst>
                </a:gridCol>
                <a:gridCol w="1857182">
                  <a:extLst>
                    <a:ext uri="{9D8B030D-6E8A-4147-A177-3AD203B41FA5}">
                      <a16:colId xmlns:a16="http://schemas.microsoft.com/office/drawing/2014/main" val="3430908656"/>
                    </a:ext>
                  </a:extLst>
                </a:gridCol>
              </a:tblGrid>
              <a:tr h="361043">
                <a:tc>
                  <a:txBody>
                    <a:bodyPr/>
                    <a:lstStyle/>
                    <a:p>
                      <a:pPr algn="just">
                        <a:spcAft>
                          <a:spcPts val="600"/>
                        </a:spcAft>
                      </a:pPr>
                      <a:r>
                        <a:rPr lang="en-US" sz="1800">
                          <a:effectLst/>
                        </a:rPr>
                        <a:t> </a:t>
                      </a:r>
                      <a:endParaRPr lang="fr-FR"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spcAft>
                          <a:spcPts val="600"/>
                        </a:spcAft>
                      </a:pPr>
                      <a:r>
                        <a:rPr lang="en-US" sz="1800">
                          <a:effectLst/>
                        </a:rPr>
                        <a:t>24 RR gates</a:t>
                      </a:r>
                      <a:endParaRPr lang="fr-FR"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spcAft>
                          <a:spcPts val="600"/>
                        </a:spcAft>
                      </a:pPr>
                      <a:r>
                        <a:rPr lang="en-US" sz="1800">
                          <a:effectLst/>
                        </a:rPr>
                        <a:t>48 RR gates</a:t>
                      </a:r>
                      <a:endParaRPr lang="fr-FR"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spcAft>
                          <a:spcPts val="600"/>
                        </a:spcAft>
                      </a:pPr>
                      <a:r>
                        <a:rPr lang="en-US" sz="1800">
                          <a:effectLst/>
                        </a:rPr>
                        <a:t>96 RR gates</a:t>
                      </a:r>
                      <a:endParaRPr lang="fr-FR"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98018837"/>
                  </a:ext>
                </a:extLst>
              </a:tr>
              <a:tr h="361043">
                <a:tc>
                  <a:txBody>
                    <a:bodyPr/>
                    <a:lstStyle/>
                    <a:p>
                      <a:pPr algn="just">
                        <a:spcAft>
                          <a:spcPts val="600"/>
                        </a:spcAft>
                      </a:pPr>
                      <a:r>
                        <a:rPr lang="en-US" sz="1800">
                          <a:effectLst/>
                        </a:rPr>
                        <a:t>24 CZ ID gates</a:t>
                      </a:r>
                      <a:endParaRPr lang="fr-FR"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spcAft>
                          <a:spcPts val="600"/>
                        </a:spcAft>
                      </a:pPr>
                      <a:r>
                        <a:rPr lang="en-US" sz="1800" dirty="0">
                          <a:effectLst/>
                        </a:rPr>
                        <a:t>Compatible</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just">
                        <a:spcAft>
                          <a:spcPts val="600"/>
                        </a:spcAft>
                      </a:pPr>
                      <a:r>
                        <a:rPr lang="en-US" sz="1800" dirty="0">
                          <a:effectLst/>
                        </a:rPr>
                        <a:t>Compatible</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just">
                        <a:spcAft>
                          <a:spcPts val="600"/>
                        </a:spcAft>
                      </a:pPr>
                      <a:r>
                        <a:rPr lang="en-US" sz="1800" dirty="0">
                          <a:effectLst/>
                        </a:rPr>
                        <a:t>Compatible</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40000"/>
                        <a:lumOff val="60000"/>
                      </a:schemeClr>
                    </a:solidFill>
                  </a:tcPr>
                </a:tc>
                <a:extLst>
                  <a:ext uri="{0D108BD9-81ED-4DB2-BD59-A6C34878D82A}">
                    <a16:rowId xmlns:a16="http://schemas.microsoft.com/office/drawing/2014/main" val="3593026781"/>
                  </a:ext>
                </a:extLst>
              </a:tr>
              <a:tr h="722085">
                <a:tc>
                  <a:txBody>
                    <a:bodyPr/>
                    <a:lstStyle/>
                    <a:p>
                      <a:pPr algn="just">
                        <a:spcAft>
                          <a:spcPts val="600"/>
                        </a:spcAft>
                      </a:pPr>
                      <a:r>
                        <a:rPr lang="en-US" sz="1800" dirty="0">
                          <a:effectLst/>
                        </a:rPr>
                        <a:t>96 CZ ID gates</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spcAft>
                          <a:spcPts val="600"/>
                        </a:spcAft>
                      </a:pPr>
                      <a:r>
                        <a:rPr lang="en-US" sz="1800" dirty="0">
                          <a:effectLst/>
                        </a:rPr>
                        <a:t>Not compatible</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2">
                        <a:lumMod val="60000"/>
                        <a:lumOff val="40000"/>
                      </a:schemeClr>
                    </a:solidFill>
                  </a:tcPr>
                </a:tc>
                <a:tc>
                  <a:txBody>
                    <a:bodyPr/>
                    <a:lstStyle/>
                    <a:p>
                      <a:pPr algn="just">
                        <a:spcAft>
                          <a:spcPts val="600"/>
                        </a:spcAft>
                      </a:pPr>
                      <a:r>
                        <a:rPr lang="en-US" sz="1800" dirty="0">
                          <a:effectLst/>
                        </a:rPr>
                        <a:t>Not compatible with CZ ID or conflict with MARI</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6">
                        <a:lumMod val="40000"/>
                        <a:lumOff val="60000"/>
                      </a:schemeClr>
                    </a:solidFill>
                  </a:tcPr>
                </a:tc>
                <a:tc>
                  <a:txBody>
                    <a:bodyPr/>
                    <a:lstStyle/>
                    <a:p>
                      <a:pPr algn="just">
                        <a:spcAft>
                          <a:spcPts val="600"/>
                        </a:spcAft>
                      </a:pPr>
                      <a:r>
                        <a:rPr lang="en-US" sz="1800" dirty="0">
                          <a:effectLst/>
                        </a:rPr>
                        <a:t>Compatible</a:t>
                      </a:r>
                      <a:endParaRPr lang="fr-FR"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40000"/>
                        <a:lumOff val="60000"/>
                      </a:schemeClr>
                    </a:solidFill>
                  </a:tcPr>
                </a:tc>
                <a:extLst>
                  <a:ext uri="{0D108BD9-81ED-4DB2-BD59-A6C34878D82A}">
                    <a16:rowId xmlns:a16="http://schemas.microsoft.com/office/drawing/2014/main" val="3422520622"/>
                  </a:ext>
                </a:extLst>
              </a:tr>
            </a:tbl>
          </a:graphicData>
        </a:graphic>
      </p:graphicFrame>
      <p:sp>
        <p:nvSpPr>
          <p:cNvPr id="6" name="TextBox 5">
            <a:extLst>
              <a:ext uri="{FF2B5EF4-FFF2-40B4-BE49-F238E27FC236}">
                <a16:creationId xmlns:a16="http://schemas.microsoft.com/office/drawing/2014/main" id="{691B54C5-2F95-593B-D594-A946B4B90516}"/>
              </a:ext>
            </a:extLst>
          </p:cNvPr>
          <p:cNvSpPr txBox="1"/>
          <p:nvPr/>
        </p:nvSpPr>
        <p:spPr>
          <a:xfrm>
            <a:off x="467544" y="1124744"/>
            <a:ext cx="1633781" cy="400110"/>
          </a:xfrm>
          <a:prstGeom prst="rect">
            <a:avLst/>
          </a:prstGeom>
          <a:noFill/>
        </p:spPr>
        <p:txBody>
          <a:bodyPr wrap="none" rtlCol="0">
            <a:spAutoFit/>
          </a:bodyPr>
          <a:lstStyle/>
          <a:p>
            <a:pPr marL="285750" indent="-285750">
              <a:buFont typeface="Wingdings" panose="05000000000000000000" pitchFamily="2" charset="2"/>
              <a:buChar char="§"/>
            </a:pPr>
            <a:r>
              <a:rPr lang="en-GB" sz="2000" b="1" dirty="0">
                <a:solidFill>
                  <a:srgbClr val="002060"/>
                </a:solidFill>
              </a:rPr>
              <a:t>Conclusion</a:t>
            </a:r>
          </a:p>
        </p:txBody>
      </p:sp>
      <p:sp>
        <p:nvSpPr>
          <p:cNvPr id="3" name="TextBox 2">
            <a:extLst>
              <a:ext uri="{FF2B5EF4-FFF2-40B4-BE49-F238E27FC236}">
                <a16:creationId xmlns:a16="http://schemas.microsoft.com/office/drawing/2014/main" id="{785CC3D0-74AD-445E-775A-A937A17B64F7}"/>
              </a:ext>
            </a:extLst>
          </p:cNvPr>
          <p:cNvSpPr txBox="1"/>
          <p:nvPr/>
        </p:nvSpPr>
        <p:spPr>
          <a:xfrm>
            <a:off x="611560" y="3861048"/>
            <a:ext cx="7992888" cy="584775"/>
          </a:xfrm>
          <a:prstGeom prst="rect">
            <a:avLst/>
          </a:prstGeom>
          <a:noFill/>
        </p:spPr>
        <p:txBody>
          <a:bodyPr wrap="square" rtlCol="0">
            <a:spAutoFit/>
          </a:bodyPr>
          <a:lstStyle/>
          <a:p>
            <a:r>
              <a:rPr lang="en-US" sz="1600" b="1" dirty="0">
                <a:latin typeface="Arial" panose="020B0604020202020204" pitchFamily="34" charset="0"/>
                <a:ea typeface="Times New Roman" panose="02020603050405020304" pitchFamily="18" charset="0"/>
                <a:cs typeface="Times New Roman" panose="02020603050405020304" pitchFamily="18" charset="0"/>
              </a:rPr>
              <a:t>Only </a:t>
            </a:r>
            <a:r>
              <a:rPr lang="en-US" sz="1600" b="1" dirty="0">
                <a:effectLst/>
                <a:latin typeface="Arial" panose="020B0604020202020204" pitchFamily="34" charset="0"/>
                <a:ea typeface="Times New Roman" panose="02020603050405020304" pitchFamily="18" charset="0"/>
                <a:cs typeface="Times New Roman" panose="02020603050405020304" pitchFamily="18" charset="0"/>
              </a:rPr>
              <a:t>an RR process with 96 clearings is compatible with 96 gates on the cross zonal intraday market. </a:t>
            </a:r>
            <a:endParaRPr lang="fr-FR" sz="1600" b="1"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6BC3EC3F-6F6C-395D-FA66-1D24A774BFB4}"/>
              </a:ext>
            </a:extLst>
          </p:cNvPr>
          <p:cNvSpPr/>
          <p:nvPr/>
        </p:nvSpPr>
        <p:spPr>
          <a:xfrm>
            <a:off x="467544" y="3717032"/>
            <a:ext cx="8280920" cy="86409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40888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DF4B218F-2544-29AA-4AC0-61C0C268B7A9}"/>
              </a:ext>
            </a:extLst>
          </p:cNvPr>
          <p:cNvSpPr txBox="1"/>
          <p:nvPr/>
        </p:nvSpPr>
        <p:spPr>
          <a:xfrm>
            <a:off x="4355981" y="2212344"/>
            <a:ext cx="1705339" cy="738664"/>
          </a:xfrm>
          <a:prstGeom prst="rect">
            <a:avLst/>
          </a:prstGeom>
          <a:solidFill>
            <a:schemeClr val="accent1">
              <a:lumMod val="20000"/>
              <a:lumOff val="80000"/>
            </a:schemeClr>
          </a:solidFill>
        </p:spPr>
        <p:txBody>
          <a:bodyPr wrap="square" rtlCol="0">
            <a:spAutoFit/>
          </a:bodyPr>
          <a:lstStyle/>
          <a:p>
            <a:pPr algn="ctr"/>
            <a:r>
              <a:rPr lang="en-GB" sz="1400" i="1" dirty="0">
                <a:solidFill>
                  <a:srgbClr val="1F497D"/>
                </a:solidFill>
              </a:rPr>
              <a:t>Public consultation for RR IF amendment</a:t>
            </a:r>
          </a:p>
          <a:p>
            <a:pPr algn="ctr"/>
            <a:endParaRPr lang="en-GB" sz="1400" i="1" dirty="0">
              <a:solidFill>
                <a:srgbClr val="1F497D"/>
              </a:solidFill>
            </a:endParaRPr>
          </a:p>
        </p:txBody>
      </p:sp>
      <p:sp>
        <p:nvSpPr>
          <p:cNvPr id="31" name="TextBox 30">
            <a:extLst>
              <a:ext uri="{FF2B5EF4-FFF2-40B4-BE49-F238E27FC236}">
                <a16:creationId xmlns:a16="http://schemas.microsoft.com/office/drawing/2014/main" id="{80EB22A6-C1A6-70DD-55B2-F60327C994E3}"/>
              </a:ext>
            </a:extLst>
          </p:cNvPr>
          <p:cNvSpPr txBox="1"/>
          <p:nvPr/>
        </p:nvSpPr>
        <p:spPr>
          <a:xfrm>
            <a:off x="2393161" y="2215829"/>
            <a:ext cx="1939972" cy="523220"/>
          </a:xfrm>
          <a:prstGeom prst="rect">
            <a:avLst/>
          </a:prstGeom>
          <a:solidFill>
            <a:schemeClr val="bg1"/>
          </a:solidFill>
        </p:spPr>
        <p:txBody>
          <a:bodyPr wrap="square" rtlCol="0">
            <a:spAutoFit/>
          </a:bodyPr>
          <a:lstStyle/>
          <a:p>
            <a:pPr algn="ctr"/>
            <a:r>
              <a:rPr lang="en-GB" sz="1400" i="1" dirty="0">
                <a:solidFill>
                  <a:srgbClr val="1F497D"/>
                </a:solidFill>
              </a:rPr>
              <a:t>Deliberation phase (with RR NRAs)</a:t>
            </a:r>
          </a:p>
        </p:txBody>
      </p:sp>
      <p:sp>
        <p:nvSpPr>
          <p:cNvPr id="23" name="TextBox 22">
            <a:extLst>
              <a:ext uri="{FF2B5EF4-FFF2-40B4-BE49-F238E27FC236}">
                <a16:creationId xmlns:a16="http://schemas.microsoft.com/office/drawing/2014/main" id="{203A8577-5302-FE02-26F8-F2B6FFD6F79C}"/>
              </a:ext>
            </a:extLst>
          </p:cNvPr>
          <p:cNvSpPr txBox="1"/>
          <p:nvPr/>
        </p:nvSpPr>
        <p:spPr>
          <a:xfrm>
            <a:off x="804740" y="2217056"/>
            <a:ext cx="1588420" cy="523220"/>
          </a:xfrm>
          <a:prstGeom prst="rect">
            <a:avLst/>
          </a:prstGeom>
          <a:solidFill>
            <a:schemeClr val="accent1">
              <a:lumMod val="20000"/>
              <a:lumOff val="80000"/>
            </a:schemeClr>
          </a:solidFill>
        </p:spPr>
        <p:txBody>
          <a:bodyPr wrap="square" rtlCol="0">
            <a:spAutoFit/>
          </a:bodyPr>
          <a:lstStyle/>
          <a:p>
            <a:pPr algn="ctr"/>
            <a:r>
              <a:rPr lang="en-GB" sz="1400" i="1" dirty="0">
                <a:solidFill>
                  <a:srgbClr val="1F497D"/>
                </a:solidFill>
              </a:rPr>
              <a:t>Public survey</a:t>
            </a:r>
          </a:p>
          <a:p>
            <a:pPr algn="ctr"/>
            <a:endParaRPr lang="en-GB" sz="1400" i="1" dirty="0">
              <a:solidFill>
                <a:srgbClr val="1F497D"/>
              </a:solidFill>
            </a:endParaRPr>
          </a:p>
        </p:txBody>
      </p:sp>
      <p:sp>
        <p:nvSpPr>
          <p:cNvPr id="2" name="Titre 1"/>
          <p:cNvSpPr>
            <a:spLocks noGrp="1"/>
          </p:cNvSpPr>
          <p:nvPr>
            <p:ph type="title"/>
          </p:nvPr>
        </p:nvSpPr>
        <p:spPr/>
        <p:txBody>
          <a:bodyPr/>
          <a:lstStyle/>
          <a:p>
            <a:r>
              <a:rPr lang="en-GB" dirty="0"/>
              <a:t>1. Introduction</a:t>
            </a:r>
          </a:p>
        </p:txBody>
      </p:sp>
      <p:sp>
        <p:nvSpPr>
          <p:cNvPr id="5" name="Espace réservé du numéro de diapositive 4"/>
          <p:cNvSpPr>
            <a:spLocks noGrp="1"/>
          </p:cNvSpPr>
          <p:nvPr>
            <p:ph type="sldNum" sz="quarter" idx="12"/>
          </p:nvPr>
        </p:nvSpPr>
        <p:spPr>
          <a:xfrm>
            <a:off x="6530356" y="6448251"/>
            <a:ext cx="2133600" cy="365125"/>
          </a:xfrm>
        </p:spPr>
        <p:txBody>
          <a:bodyPr/>
          <a:lstStyle/>
          <a:p>
            <a:fld id="{6CA6A39B-2923-4814-8F57-BD84643AD2B4}" type="slidenum">
              <a:rPr lang="en-GB" smtClean="0"/>
              <a:pPr/>
              <a:t>8</a:t>
            </a:fld>
            <a:endParaRPr lang="en-GB" dirty="0"/>
          </a:p>
        </p:txBody>
      </p:sp>
      <p:sp>
        <p:nvSpPr>
          <p:cNvPr id="15" name="Text Placeholder 5">
            <a:extLst>
              <a:ext uri="{FF2B5EF4-FFF2-40B4-BE49-F238E27FC236}">
                <a16:creationId xmlns:a16="http://schemas.microsoft.com/office/drawing/2014/main" id="{6ECE80BD-44BA-4FB4-B913-655627A2F712}"/>
              </a:ext>
            </a:extLst>
          </p:cNvPr>
          <p:cNvSpPr>
            <a:spLocks noGrp="1"/>
          </p:cNvSpPr>
          <p:nvPr>
            <p:ph type="body" sz="quarter" idx="13"/>
          </p:nvPr>
        </p:nvSpPr>
        <p:spPr>
          <a:xfrm>
            <a:off x="323528" y="597717"/>
            <a:ext cx="8496944" cy="360362"/>
          </a:xfrm>
        </p:spPr>
        <p:txBody>
          <a:bodyPr/>
          <a:lstStyle/>
          <a:p>
            <a:r>
              <a:rPr lang="en-GB" dirty="0">
                <a:latin typeface="Calibri" panose="020F0502020204030204" pitchFamily="34" charset="0"/>
                <a:ea typeface="Calibri" panose="020F0502020204030204" pitchFamily="34" charset="0"/>
              </a:rPr>
              <a:t>Conclusion and ti</a:t>
            </a:r>
            <a:r>
              <a:rPr lang="en-GB" sz="1800" b="1" dirty="0">
                <a:effectLst/>
                <a:latin typeface="Calibri" panose="020F0502020204030204" pitchFamily="34" charset="0"/>
                <a:ea typeface="Calibri" panose="020F0502020204030204" pitchFamily="34" charset="0"/>
              </a:rPr>
              <a:t>meline</a:t>
            </a:r>
            <a:endParaRPr lang="en-GB" dirty="0"/>
          </a:p>
        </p:txBody>
      </p:sp>
      <p:sp>
        <p:nvSpPr>
          <p:cNvPr id="3" name="Arrow: Right 2">
            <a:extLst>
              <a:ext uri="{FF2B5EF4-FFF2-40B4-BE49-F238E27FC236}">
                <a16:creationId xmlns:a16="http://schemas.microsoft.com/office/drawing/2014/main" id="{AC0673EE-905E-799F-D663-BB5487C5545A}"/>
              </a:ext>
            </a:extLst>
          </p:cNvPr>
          <p:cNvSpPr/>
          <p:nvPr/>
        </p:nvSpPr>
        <p:spPr>
          <a:xfrm>
            <a:off x="654628" y="2661956"/>
            <a:ext cx="7859216"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Box 9">
            <a:extLst>
              <a:ext uri="{FF2B5EF4-FFF2-40B4-BE49-F238E27FC236}">
                <a16:creationId xmlns:a16="http://schemas.microsoft.com/office/drawing/2014/main" id="{185094D7-955B-209E-BEFB-89F67FD43C65}"/>
              </a:ext>
            </a:extLst>
          </p:cNvPr>
          <p:cNvSpPr txBox="1"/>
          <p:nvPr/>
        </p:nvSpPr>
        <p:spPr>
          <a:xfrm>
            <a:off x="514374" y="1124744"/>
            <a:ext cx="1393330" cy="400110"/>
          </a:xfrm>
          <a:prstGeom prst="rect">
            <a:avLst/>
          </a:prstGeom>
          <a:noFill/>
        </p:spPr>
        <p:txBody>
          <a:bodyPr wrap="none" rtlCol="0">
            <a:spAutoFit/>
          </a:bodyPr>
          <a:lstStyle/>
          <a:p>
            <a:pPr marL="285750" indent="-285750">
              <a:buFont typeface="Wingdings" panose="05000000000000000000" pitchFamily="2" charset="2"/>
              <a:buChar char="§"/>
            </a:pPr>
            <a:r>
              <a:rPr lang="en-GB" sz="2000" b="1" dirty="0">
                <a:solidFill>
                  <a:srgbClr val="002060"/>
                </a:solidFill>
              </a:rPr>
              <a:t>Timeline</a:t>
            </a:r>
          </a:p>
        </p:txBody>
      </p:sp>
      <p:cxnSp>
        <p:nvCxnSpPr>
          <p:cNvPr id="12" name="Straight Connector 11">
            <a:extLst>
              <a:ext uri="{FF2B5EF4-FFF2-40B4-BE49-F238E27FC236}">
                <a16:creationId xmlns:a16="http://schemas.microsoft.com/office/drawing/2014/main" id="{796D359C-FD28-7E52-8B5A-778CEBA8455D}"/>
              </a:ext>
            </a:extLst>
          </p:cNvPr>
          <p:cNvCxnSpPr>
            <a:cxnSpLocks/>
          </p:cNvCxnSpPr>
          <p:nvPr/>
        </p:nvCxnSpPr>
        <p:spPr>
          <a:xfrm>
            <a:off x="1380804" y="2739049"/>
            <a:ext cx="0" cy="653157"/>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E5BC9E-D4FA-D8CD-169D-59A69A856C6A}"/>
              </a:ext>
            </a:extLst>
          </p:cNvPr>
          <p:cNvCxnSpPr>
            <a:cxnSpLocks/>
          </p:cNvCxnSpPr>
          <p:nvPr/>
        </p:nvCxnSpPr>
        <p:spPr>
          <a:xfrm>
            <a:off x="4355976" y="2551401"/>
            <a:ext cx="0" cy="653157"/>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CE6A59-39F8-DCC5-F875-C5FC8CFC2FB4}"/>
              </a:ext>
            </a:extLst>
          </p:cNvPr>
          <p:cNvCxnSpPr>
            <a:cxnSpLocks/>
          </p:cNvCxnSpPr>
          <p:nvPr/>
        </p:nvCxnSpPr>
        <p:spPr>
          <a:xfrm>
            <a:off x="2393163" y="2480261"/>
            <a:ext cx="0" cy="669659"/>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5DFF24B-52C8-BCBB-1F21-A861961FACE3}"/>
              </a:ext>
            </a:extLst>
          </p:cNvPr>
          <p:cNvCxnSpPr>
            <a:cxnSpLocks/>
          </p:cNvCxnSpPr>
          <p:nvPr/>
        </p:nvCxnSpPr>
        <p:spPr>
          <a:xfrm>
            <a:off x="8149556" y="2595033"/>
            <a:ext cx="0" cy="653157"/>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FA360AB-D0F6-E5F4-1AE9-C8C2BFA563E2}"/>
              </a:ext>
            </a:extLst>
          </p:cNvPr>
          <p:cNvSpPr txBox="1"/>
          <p:nvPr/>
        </p:nvSpPr>
        <p:spPr>
          <a:xfrm>
            <a:off x="516708" y="3583981"/>
            <a:ext cx="1656183" cy="523220"/>
          </a:xfrm>
          <a:prstGeom prst="rect">
            <a:avLst/>
          </a:prstGeom>
          <a:noFill/>
        </p:spPr>
        <p:txBody>
          <a:bodyPr wrap="square" rtlCol="0">
            <a:spAutoFit/>
          </a:bodyPr>
          <a:lstStyle/>
          <a:p>
            <a:pPr algn="ctr"/>
            <a:r>
              <a:rPr lang="en-GB" sz="1400" i="1" dirty="0">
                <a:solidFill>
                  <a:srgbClr val="1F497D"/>
                </a:solidFill>
              </a:rPr>
              <a:t>Public stakeholder workshop</a:t>
            </a:r>
          </a:p>
        </p:txBody>
      </p:sp>
      <p:sp>
        <p:nvSpPr>
          <p:cNvPr id="22" name="TextBox 21">
            <a:extLst>
              <a:ext uri="{FF2B5EF4-FFF2-40B4-BE49-F238E27FC236}">
                <a16:creationId xmlns:a16="http://schemas.microsoft.com/office/drawing/2014/main" id="{279B4446-0ADA-FCC9-A019-8776FEF503C0}"/>
              </a:ext>
            </a:extLst>
          </p:cNvPr>
          <p:cNvSpPr txBox="1"/>
          <p:nvPr/>
        </p:nvSpPr>
        <p:spPr>
          <a:xfrm>
            <a:off x="876748" y="3372461"/>
            <a:ext cx="989856" cy="307777"/>
          </a:xfrm>
          <a:prstGeom prst="rect">
            <a:avLst/>
          </a:prstGeom>
          <a:noFill/>
        </p:spPr>
        <p:txBody>
          <a:bodyPr wrap="square">
            <a:spAutoFit/>
          </a:bodyPr>
          <a:lstStyle/>
          <a:p>
            <a:pPr algn="ctr"/>
            <a:r>
              <a:rPr lang="en-GB" sz="1400" b="1" i="1" dirty="0">
                <a:solidFill>
                  <a:srgbClr val="1F497D"/>
                </a:solidFill>
              </a:rPr>
              <a:t>7/06</a:t>
            </a:r>
          </a:p>
        </p:txBody>
      </p:sp>
      <p:cxnSp>
        <p:nvCxnSpPr>
          <p:cNvPr id="27" name="Straight Connector 26">
            <a:extLst>
              <a:ext uri="{FF2B5EF4-FFF2-40B4-BE49-F238E27FC236}">
                <a16:creationId xmlns:a16="http://schemas.microsoft.com/office/drawing/2014/main" id="{925B0405-C665-DB41-CA32-9C7023EFEF9C}"/>
              </a:ext>
            </a:extLst>
          </p:cNvPr>
          <p:cNvCxnSpPr>
            <a:cxnSpLocks/>
          </p:cNvCxnSpPr>
          <p:nvPr/>
        </p:nvCxnSpPr>
        <p:spPr>
          <a:xfrm>
            <a:off x="804740" y="2517939"/>
            <a:ext cx="0" cy="653157"/>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60A734B-450D-0005-3F59-1F8DF59A52F6}"/>
              </a:ext>
            </a:extLst>
          </p:cNvPr>
          <p:cNvSpPr txBox="1"/>
          <p:nvPr/>
        </p:nvSpPr>
        <p:spPr>
          <a:xfrm>
            <a:off x="300684" y="3149920"/>
            <a:ext cx="989856" cy="307777"/>
          </a:xfrm>
          <a:prstGeom prst="rect">
            <a:avLst/>
          </a:prstGeom>
          <a:noFill/>
        </p:spPr>
        <p:txBody>
          <a:bodyPr wrap="square">
            <a:spAutoFit/>
          </a:bodyPr>
          <a:lstStyle/>
          <a:p>
            <a:pPr algn="ctr"/>
            <a:r>
              <a:rPr lang="en-GB" sz="1400" b="1" i="1" dirty="0">
                <a:solidFill>
                  <a:srgbClr val="1F497D"/>
                </a:solidFill>
              </a:rPr>
              <a:t>29/05</a:t>
            </a:r>
          </a:p>
        </p:txBody>
      </p:sp>
      <p:sp>
        <p:nvSpPr>
          <p:cNvPr id="30" name="TextBox 29">
            <a:extLst>
              <a:ext uri="{FF2B5EF4-FFF2-40B4-BE49-F238E27FC236}">
                <a16:creationId xmlns:a16="http://schemas.microsoft.com/office/drawing/2014/main" id="{AB0E81D4-E919-9BE6-D99A-65B5E2BB5234}"/>
              </a:ext>
            </a:extLst>
          </p:cNvPr>
          <p:cNvSpPr txBox="1"/>
          <p:nvPr/>
        </p:nvSpPr>
        <p:spPr>
          <a:xfrm>
            <a:off x="1903116" y="3158795"/>
            <a:ext cx="989856" cy="307777"/>
          </a:xfrm>
          <a:prstGeom prst="rect">
            <a:avLst/>
          </a:prstGeom>
          <a:noFill/>
        </p:spPr>
        <p:txBody>
          <a:bodyPr wrap="square">
            <a:spAutoFit/>
          </a:bodyPr>
          <a:lstStyle/>
          <a:p>
            <a:pPr algn="ctr"/>
            <a:r>
              <a:rPr lang="en-GB" sz="1400" b="1" i="1" dirty="0">
                <a:solidFill>
                  <a:srgbClr val="1F497D"/>
                </a:solidFill>
              </a:rPr>
              <a:t>30/06</a:t>
            </a:r>
          </a:p>
        </p:txBody>
      </p:sp>
      <p:sp>
        <p:nvSpPr>
          <p:cNvPr id="32" name="TextBox 31">
            <a:extLst>
              <a:ext uri="{FF2B5EF4-FFF2-40B4-BE49-F238E27FC236}">
                <a16:creationId xmlns:a16="http://schemas.microsoft.com/office/drawing/2014/main" id="{95DFF575-756B-56D8-9B84-6668690E8588}"/>
              </a:ext>
            </a:extLst>
          </p:cNvPr>
          <p:cNvSpPr txBox="1"/>
          <p:nvPr/>
        </p:nvSpPr>
        <p:spPr>
          <a:xfrm>
            <a:off x="3617617" y="3199972"/>
            <a:ext cx="1431029" cy="523220"/>
          </a:xfrm>
          <a:prstGeom prst="rect">
            <a:avLst/>
          </a:prstGeom>
          <a:noFill/>
        </p:spPr>
        <p:txBody>
          <a:bodyPr wrap="square">
            <a:spAutoFit/>
          </a:bodyPr>
          <a:lstStyle/>
          <a:p>
            <a:pPr algn="ctr"/>
            <a:r>
              <a:rPr lang="en-GB" sz="1400" b="1" i="1" dirty="0">
                <a:solidFill>
                  <a:srgbClr val="1F497D"/>
                </a:solidFill>
              </a:rPr>
              <a:t>≈ End of Sept/Oct</a:t>
            </a:r>
          </a:p>
        </p:txBody>
      </p:sp>
      <p:cxnSp>
        <p:nvCxnSpPr>
          <p:cNvPr id="35" name="Straight Connector 34">
            <a:extLst>
              <a:ext uri="{FF2B5EF4-FFF2-40B4-BE49-F238E27FC236}">
                <a16:creationId xmlns:a16="http://schemas.microsoft.com/office/drawing/2014/main" id="{39F89D9C-8E50-8BB1-EB90-299F2F34774F}"/>
              </a:ext>
            </a:extLst>
          </p:cNvPr>
          <p:cNvCxnSpPr>
            <a:cxnSpLocks/>
          </p:cNvCxnSpPr>
          <p:nvPr/>
        </p:nvCxnSpPr>
        <p:spPr>
          <a:xfrm>
            <a:off x="6061320" y="2507618"/>
            <a:ext cx="0" cy="653157"/>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E3D3F9A-A055-4AC2-1E0C-9EB84BB0B1E1}"/>
              </a:ext>
            </a:extLst>
          </p:cNvPr>
          <p:cNvSpPr txBox="1"/>
          <p:nvPr/>
        </p:nvSpPr>
        <p:spPr>
          <a:xfrm>
            <a:off x="5260112" y="3160651"/>
            <a:ext cx="1728188" cy="307777"/>
          </a:xfrm>
          <a:prstGeom prst="rect">
            <a:avLst/>
          </a:prstGeom>
          <a:noFill/>
        </p:spPr>
        <p:txBody>
          <a:bodyPr wrap="square">
            <a:spAutoFit/>
          </a:bodyPr>
          <a:lstStyle/>
          <a:p>
            <a:pPr algn="ctr"/>
            <a:r>
              <a:rPr lang="en-GB" sz="1400" b="1" i="1" dirty="0">
                <a:solidFill>
                  <a:srgbClr val="1F497D"/>
                </a:solidFill>
              </a:rPr>
              <a:t>≈ End 2023/Q1 2024</a:t>
            </a:r>
          </a:p>
        </p:txBody>
      </p:sp>
      <p:sp>
        <p:nvSpPr>
          <p:cNvPr id="37" name="TextBox 36">
            <a:extLst>
              <a:ext uri="{FF2B5EF4-FFF2-40B4-BE49-F238E27FC236}">
                <a16:creationId xmlns:a16="http://schemas.microsoft.com/office/drawing/2014/main" id="{7393B33A-5D26-8BEC-9F88-E7AEBF1D8FD1}"/>
              </a:ext>
            </a:extLst>
          </p:cNvPr>
          <p:cNvSpPr txBox="1"/>
          <p:nvPr/>
        </p:nvSpPr>
        <p:spPr>
          <a:xfrm>
            <a:off x="6084168" y="2204864"/>
            <a:ext cx="2065383" cy="523220"/>
          </a:xfrm>
          <a:prstGeom prst="rect">
            <a:avLst/>
          </a:prstGeom>
          <a:solidFill>
            <a:schemeClr val="bg1"/>
          </a:solidFill>
        </p:spPr>
        <p:txBody>
          <a:bodyPr wrap="square" rtlCol="0">
            <a:spAutoFit/>
          </a:bodyPr>
          <a:lstStyle/>
          <a:p>
            <a:pPr algn="ctr"/>
            <a:r>
              <a:rPr lang="en-GB" sz="1400" i="1" dirty="0">
                <a:solidFill>
                  <a:srgbClr val="1F497D"/>
                </a:solidFill>
              </a:rPr>
              <a:t>Work on technical implementation</a:t>
            </a:r>
          </a:p>
        </p:txBody>
      </p:sp>
      <p:sp>
        <p:nvSpPr>
          <p:cNvPr id="38" name="TextBox 37">
            <a:extLst>
              <a:ext uri="{FF2B5EF4-FFF2-40B4-BE49-F238E27FC236}">
                <a16:creationId xmlns:a16="http://schemas.microsoft.com/office/drawing/2014/main" id="{32D154B5-139D-F1DA-D67B-250A039B1E58}"/>
              </a:ext>
            </a:extLst>
          </p:cNvPr>
          <p:cNvSpPr txBox="1"/>
          <p:nvPr/>
        </p:nvSpPr>
        <p:spPr>
          <a:xfrm>
            <a:off x="7256300" y="3243105"/>
            <a:ext cx="1786512" cy="307777"/>
          </a:xfrm>
          <a:prstGeom prst="rect">
            <a:avLst/>
          </a:prstGeom>
          <a:noFill/>
        </p:spPr>
        <p:txBody>
          <a:bodyPr wrap="square">
            <a:spAutoFit/>
          </a:bodyPr>
          <a:lstStyle/>
          <a:p>
            <a:pPr algn="ctr"/>
            <a:r>
              <a:rPr lang="en-GB" sz="1400" b="1" i="1" dirty="0">
                <a:solidFill>
                  <a:srgbClr val="1F497D"/>
                </a:solidFill>
              </a:rPr>
              <a:t>≈ End 2024/Q1 2025</a:t>
            </a:r>
          </a:p>
        </p:txBody>
      </p:sp>
      <p:cxnSp>
        <p:nvCxnSpPr>
          <p:cNvPr id="39" name="Straight Connector 38">
            <a:extLst>
              <a:ext uri="{FF2B5EF4-FFF2-40B4-BE49-F238E27FC236}">
                <a16:creationId xmlns:a16="http://schemas.microsoft.com/office/drawing/2014/main" id="{4CE73712-7EE1-918D-3F3C-2643CCA99009}"/>
              </a:ext>
            </a:extLst>
          </p:cNvPr>
          <p:cNvCxnSpPr>
            <a:cxnSpLocks/>
            <a:endCxn id="41" idx="0"/>
          </p:cNvCxnSpPr>
          <p:nvPr/>
        </p:nvCxnSpPr>
        <p:spPr>
          <a:xfrm flipH="1">
            <a:off x="7294587" y="2739049"/>
            <a:ext cx="9128" cy="993452"/>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8AA74F1-ACFE-7598-CA42-E5DF49B87765}"/>
              </a:ext>
            </a:extLst>
          </p:cNvPr>
          <p:cNvSpPr txBox="1"/>
          <p:nvPr/>
        </p:nvSpPr>
        <p:spPr>
          <a:xfrm>
            <a:off x="6439619" y="3944021"/>
            <a:ext cx="1656183" cy="523220"/>
          </a:xfrm>
          <a:prstGeom prst="rect">
            <a:avLst/>
          </a:prstGeom>
          <a:noFill/>
        </p:spPr>
        <p:txBody>
          <a:bodyPr wrap="square" rtlCol="0">
            <a:spAutoFit/>
          </a:bodyPr>
          <a:lstStyle/>
          <a:p>
            <a:pPr algn="ctr"/>
            <a:r>
              <a:rPr lang="en-GB" sz="1400" i="1" dirty="0">
                <a:solidFill>
                  <a:srgbClr val="C00000"/>
                </a:solidFill>
              </a:rPr>
              <a:t>Deadline for CB SS to 15min</a:t>
            </a:r>
          </a:p>
        </p:txBody>
      </p:sp>
      <p:sp>
        <p:nvSpPr>
          <p:cNvPr id="41" name="TextBox 40">
            <a:extLst>
              <a:ext uri="{FF2B5EF4-FFF2-40B4-BE49-F238E27FC236}">
                <a16:creationId xmlns:a16="http://schemas.microsoft.com/office/drawing/2014/main" id="{BFF9B63E-6095-AAEC-064A-C2026C3272AB}"/>
              </a:ext>
            </a:extLst>
          </p:cNvPr>
          <p:cNvSpPr txBox="1"/>
          <p:nvPr/>
        </p:nvSpPr>
        <p:spPr>
          <a:xfrm>
            <a:off x="6799659" y="3732501"/>
            <a:ext cx="989856" cy="307777"/>
          </a:xfrm>
          <a:prstGeom prst="rect">
            <a:avLst/>
          </a:prstGeom>
          <a:noFill/>
        </p:spPr>
        <p:txBody>
          <a:bodyPr wrap="square">
            <a:spAutoFit/>
          </a:bodyPr>
          <a:lstStyle/>
          <a:p>
            <a:pPr algn="ctr"/>
            <a:r>
              <a:rPr lang="en-GB" sz="1400" b="1" i="1" dirty="0">
                <a:solidFill>
                  <a:srgbClr val="C00000"/>
                </a:solidFill>
              </a:rPr>
              <a:t>July 2024</a:t>
            </a:r>
          </a:p>
        </p:txBody>
      </p:sp>
      <p:sp>
        <p:nvSpPr>
          <p:cNvPr id="4" name="TextBox 3">
            <a:extLst>
              <a:ext uri="{FF2B5EF4-FFF2-40B4-BE49-F238E27FC236}">
                <a16:creationId xmlns:a16="http://schemas.microsoft.com/office/drawing/2014/main" id="{EB6722B2-4E4C-3DD6-E7CF-1A99AAC18297}"/>
              </a:ext>
            </a:extLst>
          </p:cNvPr>
          <p:cNvSpPr txBox="1"/>
          <p:nvPr/>
        </p:nvSpPr>
        <p:spPr>
          <a:xfrm>
            <a:off x="516708" y="4875595"/>
            <a:ext cx="7992888" cy="584775"/>
          </a:xfrm>
          <a:prstGeom prst="rect">
            <a:avLst/>
          </a:prstGeom>
          <a:noFill/>
        </p:spPr>
        <p:txBody>
          <a:bodyPr wrap="square" rtlCol="0">
            <a:spAutoFit/>
          </a:bodyPr>
          <a:lstStyle/>
          <a:p>
            <a:r>
              <a:rPr lang="en-US" sz="1600" b="1" dirty="0">
                <a:latin typeface="Arial" panose="020B0604020202020204" pitchFamily="34" charset="0"/>
                <a:ea typeface="Times New Roman" panose="02020603050405020304" pitchFamily="18" charset="0"/>
                <a:cs typeface="Times New Roman" panose="02020603050405020304" pitchFamily="18" charset="0"/>
              </a:rPr>
              <a:t>The timeline is an estimation, the aim to select the preferred option and work on the IF amendment by the end of the year</a:t>
            </a:r>
            <a:endParaRPr lang="fr-FR" sz="1600" b="1"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55545B45-82F3-088E-4079-857D697260CF}"/>
              </a:ext>
            </a:extLst>
          </p:cNvPr>
          <p:cNvSpPr/>
          <p:nvPr/>
        </p:nvSpPr>
        <p:spPr>
          <a:xfrm>
            <a:off x="443776" y="4743285"/>
            <a:ext cx="8280920" cy="86409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51126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CA6A39B-2923-4814-8F57-BD84643AD2B4}" type="slidenum">
              <a:rPr lang="fr-FR" smtClean="0"/>
              <a:pPr/>
              <a:t>9</a:t>
            </a:fld>
            <a:endParaRPr lang="fr-FR"/>
          </a:p>
        </p:txBody>
      </p:sp>
      <p:sp>
        <p:nvSpPr>
          <p:cNvPr id="4" name="Title 3"/>
          <p:cNvSpPr>
            <a:spLocks noGrp="1"/>
          </p:cNvSpPr>
          <p:nvPr>
            <p:ph type="ctrTitle"/>
          </p:nvPr>
        </p:nvSpPr>
        <p:spPr/>
        <p:txBody>
          <a:bodyPr/>
          <a:lstStyle/>
          <a:p>
            <a:r>
              <a:rPr lang="en-US" dirty="0"/>
              <a:t>2. Comparison of possible future design of RR process</a:t>
            </a:r>
            <a:endParaRPr lang="en-GB" dirty="0"/>
          </a:p>
        </p:txBody>
      </p:sp>
    </p:spTree>
    <p:extLst>
      <p:ext uri="{BB962C8B-B14F-4D97-AF65-F5344CB8AC3E}">
        <p14:creationId xmlns:p14="http://schemas.microsoft.com/office/powerpoint/2010/main" val="3442278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9.AYRgav7l2XjJqfnvJ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2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3.xml><?xml version="1.0" encoding="utf-8"?>
<a:theme xmlns:a="http://schemas.openxmlformats.org/drawingml/2006/main" name="Unicorn">
  <a:themeElements>
    <a:clrScheme name="Unicorn">
      <a:dk1>
        <a:srgbClr val="FFFFFF"/>
      </a:dk1>
      <a:lt1>
        <a:srgbClr val="FFFFFF"/>
      </a:lt1>
      <a:dk2>
        <a:srgbClr val="001E6E"/>
      </a:dk2>
      <a:lt2>
        <a:srgbClr val="FFFFFF"/>
      </a:lt2>
      <a:accent1>
        <a:srgbClr val="D21428"/>
      </a:accent1>
      <a:accent2>
        <a:srgbClr val="3EDBFF"/>
      </a:accent2>
      <a:accent3>
        <a:srgbClr val="FFFFFF"/>
      </a:accent3>
      <a:accent4>
        <a:srgbClr val="BDC5D1"/>
      </a:accent4>
      <a:accent5>
        <a:srgbClr val="8993A3"/>
      </a:accent5>
      <a:accent6>
        <a:srgbClr val="5D6C82"/>
      </a:accent6>
      <a:hlink>
        <a:srgbClr val="3EDBFF"/>
      </a:hlink>
      <a:folHlink>
        <a:srgbClr val="5D6C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Y-UNI_sablona prezentace_16ku9_EN_005_final.potx" id="{8440FAAA-8624-45EF-9568-9B8B084D628E}" vid="{E1AE9AAB-51E6-4142-A9F6-EF26D574F29B}"/>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6BA906296274A4EBA33AD590DCEFA74" ma:contentTypeVersion="2" ma:contentTypeDescription="Create a new document." ma:contentTypeScope="" ma:versionID="8e900dba2f39d518e17eb1d97f9511e2">
  <xsd:schema xmlns:xsd="http://www.w3.org/2001/XMLSchema" xmlns:xs="http://www.w3.org/2001/XMLSchema" xmlns:p="http://schemas.microsoft.com/office/2006/metadata/properties" targetNamespace="http://schemas.microsoft.com/office/2006/metadata/properties" ma:root="true" ma:fieldsID="2666914d067f913ab42d9fbd2248f72c">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B0FD0FE-9176-454C-ACF8-66CF2DD5E47B}">
  <ds:schemaRefs>
    <ds:schemaRef ds:uri="http://schemas.microsoft.com/sharepoint/v3/contenttype/forms"/>
  </ds:schemaRefs>
</ds:datastoreItem>
</file>

<file path=customXml/itemProps2.xml><?xml version="1.0" encoding="utf-8"?>
<ds:datastoreItem xmlns:ds="http://schemas.openxmlformats.org/officeDocument/2006/customXml" ds:itemID="{BB46A007-9D7E-4676-A54A-A3F25237DA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A1ABF33-A6D7-43E5-A11C-F26F64E6942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461</TotalTime>
  <Words>1961</Words>
  <Application>Microsoft Office PowerPoint</Application>
  <PresentationFormat>On-screen Show (4:3)</PresentationFormat>
  <Paragraphs>254</Paragraphs>
  <Slides>22</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Courier New</vt:lpstr>
      <vt:lpstr>Symbol</vt:lpstr>
      <vt:lpstr>Wingdings</vt:lpstr>
      <vt:lpstr>Thème Office</vt:lpstr>
      <vt:lpstr>12_Magnus Red 4ENERGY</vt:lpstr>
      <vt:lpstr>Unicorn</vt:lpstr>
      <vt:lpstr>think-cell Folie</vt:lpstr>
      <vt:lpstr>TERRE  Trans European Replacement Reserves Exchange</vt:lpstr>
      <vt:lpstr>Agenda</vt:lpstr>
      <vt:lpstr>1. Introduction</vt:lpstr>
      <vt:lpstr>Introduction</vt:lpstr>
      <vt:lpstr>1. Introduction</vt:lpstr>
      <vt:lpstr>1. Introduction</vt:lpstr>
      <vt:lpstr>1. Introduction</vt:lpstr>
      <vt:lpstr>1. Introduction</vt:lpstr>
      <vt:lpstr>2. Comparison of possible future design of RR process</vt:lpstr>
      <vt:lpstr>2. Comparison of possible future design of RR process</vt:lpstr>
      <vt:lpstr>2. Comparison of possible future design of RR process</vt:lpstr>
      <vt:lpstr>2. Comparison of possible future design of RR process</vt:lpstr>
      <vt:lpstr>2. Comparison of possible future design of RR process</vt:lpstr>
      <vt:lpstr>2. Comparison of possible future design of RR process</vt:lpstr>
      <vt:lpstr>3. Conclusion and questions to answer</vt:lpstr>
      <vt:lpstr>3. Conclusion and questions</vt:lpstr>
      <vt:lpstr>3. Conclusion and questions</vt:lpstr>
      <vt:lpstr>3. Conclusion and questions</vt:lpstr>
      <vt:lpstr>Any questions?</vt:lpstr>
      <vt:lpstr>Thanks for your participation</vt:lpstr>
      <vt:lpstr>Back-up slides</vt:lpstr>
      <vt:lpstr>Back-up slides</vt:lpstr>
    </vt:vector>
  </TitlesOfParts>
  <Company>R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PEYRAC Aurelien Ext</dc:creator>
  <cp:lastModifiedBy>Cyprien DE CHAMBURE</cp:lastModifiedBy>
  <cp:revision>2923</cp:revision>
  <cp:lastPrinted>2016-07-26T07:12:08Z</cp:lastPrinted>
  <dcterms:created xsi:type="dcterms:W3CDTF">2015-03-04T15:02:46Z</dcterms:created>
  <dcterms:modified xsi:type="dcterms:W3CDTF">2023-06-07T09: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BA906296274A4EBA33AD590DCEFA74</vt:lpwstr>
  </property>
</Properties>
</file>